
<file path=[Content_Types].xml><?xml version="1.0" encoding="utf-8"?>
<Types xmlns="http://schemas.openxmlformats.org/package/2006/content-types">
  <Override PartName="/customXml/itemProps35.xml" ContentType="application/vnd.openxmlformats-officedocument.customXmlProperties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3.xml" ContentType="application/vnd.openxmlformats-officedocument.customXmlProperties+xml"/>
  <Override PartName="/customXml/itemProps24.xml" ContentType="application/vnd.openxmlformats-officedocument.customXmlPropertie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notesSlides/notesSlide12.xml" ContentType="application/vnd.openxmlformats-officedocument.presentationml.notesSlide+xml"/>
  <Override PartName="/customXml/itemProps6.xml" ContentType="application/vnd.openxmlformats-officedocument.customXmlProperties+xml"/>
  <Override PartName="/customXml/itemProps29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notesSlides/notesSlide7.xml" ContentType="application/vnd.openxmlformats-officedocument.presentationml.notesSlide+xml"/>
  <Override PartName="/customXml/itemProps18.xml" ContentType="application/vnd.openxmlformats-officedocument.customXmlProperties+xml"/>
  <Override PartName="/customXml/itemProps36.xml" ContentType="application/vnd.openxmlformats-officedocument.customXmlProperti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customXml/itemProps2.xml" ContentType="application/vnd.openxmlformats-officedocument.customXmlProperties+xml"/>
  <Override PartName="/customXml/itemProps25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customXml/itemProps14.xml" ContentType="application/vnd.openxmlformats-officedocument.customXmlProperties+xml"/>
  <Override PartName="/customXml/itemProps32.xml" ContentType="application/vnd.openxmlformats-officedocument.customXmlProperties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heme/theme2.xml" ContentType="application/vnd.openxmlformats-officedocument.theme+xml"/>
  <Override PartName="/customXml/itemProps21.xml" ContentType="application/vnd.openxmlformats-officedocument.customXmlProperti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Default Extension="vml" ContentType="application/vnd.openxmlformats-officedocument.vmlDrawing"/>
  <Override PartName="/ppt/notesSlides/notesSlide8.xml" ContentType="application/vnd.openxmlformats-officedocument.presentationml.notesSlide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customXml/itemProps19.xml" ContentType="application/vnd.openxmlformats-officedocument.customXmlProperties+xml"/>
  <Override PartName="/customXml/itemProps37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customXml/itemProps33.xml" ContentType="application/vnd.openxmlformats-officedocument.customXmlPropertie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customXml/itemProps4.xml" ContentType="application/vnd.openxmlformats-officedocument.customXmlProperties+xml"/>
  <Override PartName="/customXml/itemProps27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notesSlides/notesSlide5.xml" ContentType="application/vnd.openxmlformats-officedocument.presentationml.notesSlide+xml"/>
  <Override PartName="/customXml/itemProps16.xml" ContentType="application/vnd.openxmlformats-officedocument.customXmlProperties+xml"/>
  <Override PartName="/customXml/itemProps34.xml" ContentType="application/vnd.openxmlformats-officedocument.customXmlPropertie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notesSlides/notesSlide1.xml" ContentType="application/vnd.openxmlformats-officedocument.presentationml.notesSlide+xml"/>
  <Override PartName="/customXml/itemProps23.xml" ContentType="application/vnd.openxmlformats-officedocument.customXmlPropertie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customXml/itemProps12.xml" ContentType="application/vnd.openxmlformats-officedocument.customXmlProperties+xml"/>
  <Override PartName="/customXml/itemProps30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customXml/itemProps5.xml" ContentType="application/vnd.openxmlformats-officedocument.customXmlPropertie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customXml/itemProps31.xml" ContentType="application/vnd.openxmlformats-officedocument.customXmlPropertie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customXml/itemProps20.xml" ContentType="application/vnd.openxmlformats-officedocument.customXmlPropertie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8"/>
  </p:sldMasterIdLst>
  <p:notesMasterIdLst>
    <p:notesMasterId r:id="rId52"/>
  </p:notesMasterIdLst>
  <p:handoutMasterIdLst>
    <p:handoutMasterId r:id="rId53"/>
  </p:handoutMasterIdLst>
  <p:sldIdLst>
    <p:sldId id="981" r:id="rId39"/>
    <p:sldId id="1000" r:id="rId40"/>
    <p:sldId id="1005" r:id="rId41"/>
    <p:sldId id="956" r:id="rId42"/>
    <p:sldId id="998" r:id="rId43"/>
    <p:sldId id="1006" r:id="rId44"/>
    <p:sldId id="1004" r:id="rId45"/>
    <p:sldId id="997" r:id="rId46"/>
    <p:sldId id="1003" r:id="rId47"/>
    <p:sldId id="973" r:id="rId48"/>
    <p:sldId id="975" r:id="rId49"/>
    <p:sldId id="1002" r:id="rId50"/>
    <p:sldId id="1007" r:id="rId51"/>
  </p:sldIdLst>
  <p:sldSz cx="12198350" cy="6858000"/>
  <p:notesSz cx="7102475" cy="10234613"/>
  <p:custDataLst>
    <p:custData r:id="rId19"/>
    <p:tags r:id="rId54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C0D6C1"/>
    <a:srgbClr val="FFCC66"/>
    <a:srgbClr val="808080"/>
    <a:srgbClr val="006487"/>
    <a:srgbClr val="505A64"/>
    <a:srgbClr val="233746"/>
    <a:srgbClr val="55A0B9"/>
    <a:srgbClr val="AF235F"/>
    <a:srgbClr val="FFB900"/>
    <a:srgbClr val="AAAA96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3" autoAdjust="0"/>
    <p:restoredTop sz="38214" autoAdjust="0"/>
  </p:normalViewPr>
  <p:slideViewPr>
    <p:cSldViewPr snapToGrid="0" snapToObjects="1" showGuides="1">
      <p:cViewPr varScale="1">
        <p:scale>
          <a:sx n="36" d="100"/>
          <a:sy n="36" d="100"/>
        </p:scale>
        <p:origin x="-2196" y="-90"/>
      </p:cViewPr>
      <p:guideLst>
        <p:guide orient="horz" pos="702"/>
        <p:guide orient="horz" pos="618"/>
        <p:guide orient="horz" pos="2432"/>
        <p:guide orient="horz" pos="2341"/>
        <p:guide orient="horz" pos="1453"/>
        <p:guide orient="horz" pos="4282"/>
        <p:guide pos="395"/>
        <p:guide pos="213"/>
        <p:guide pos="3842"/>
        <p:guide pos="3933"/>
        <p:guide pos="7380"/>
        <p:guide pos="5566"/>
        <p:guide pos="2532"/>
        <p:guide pos="27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8" d="100"/>
          <a:sy n="88" d="100"/>
        </p:scale>
        <p:origin x="-3720" y="-120"/>
      </p:cViewPr>
      <p:guideLst>
        <p:guide orient="horz" pos="3224"/>
        <p:guide pos="223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" Target="slides/slide1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" Target="slides/slide4.xml"/><Relationship Id="rId47" Type="http://schemas.openxmlformats.org/officeDocument/2006/relationships/slide" Target="slides/slide9.xml"/><Relationship Id="rId50" Type="http://schemas.openxmlformats.org/officeDocument/2006/relationships/slide" Target="slides/slide12.xml"/><Relationship Id="rId55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Master" Target="slideMasters/slideMaster1.xml"/><Relationship Id="rId46" Type="http://schemas.openxmlformats.org/officeDocument/2006/relationships/slide" Target="slides/slide8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slide" Target="slides/slide3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slide" Target="slides/slide2.xml"/><Relationship Id="rId45" Type="http://schemas.openxmlformats.org/officeDocument/2006/relationships/slide" Target="slides/slide7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11.xml"/><Relationship Id="rId57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slide" Target="slides/slide6.xml"/><Relationship Id="rId52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5.xml"/><Relationship Id="rId48" Type="http://schemas.openxmlformats.org/officeDocument/2006/relationships/slide" Target="slides/slide10.xml"/><Relationship Id="rId56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slide" Target="slides/slide13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5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endParaRPr lang="de-DE" sz="11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DE" sz="1000" b="1" dirty="0" smtClean="0"/>
              <a:t>Installation</a:t>
            </a:r>
            <a:r>
              <a:rPr lang="de-DE" sz="1000" b="1" dirty="0" smtClean="0"/>
              <a:t>, Wartung</a:t>
            </a:r>
            <a:r>
              <a:rPr lang="de-DE" sz="1000" b="1" baseline="0" dirty="0" smtClean="0"/>
              <a:t> und Management als neues Geschäftsmodell. </a:t>
            </a:r>
            <a:endParaRPr lang="de-DE" sz="1000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0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1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endParaRPr lang="de-DE" sz="1100" b="0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2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3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de-DE" b="1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>
              <a:buFont typeface="Arial" pitchFamily="34" charset="0"/>
              <a:buNone/>
            </a:pPr>
            <a:endParaRPr lang="de-DE" sz="1000" b="1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438186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sz="1000" b="0" baseline="0" dirty="0" smtClean="0"/>
              <a:t>Kundenbindung </a:t>
            </a:r>
            <a:r>
              <a:rPr lang="de-DE" sz="1000" b="0" baseline="0" dirty="0" smtClean="0"/>
              <a:t>durch bspw. Verbrauchsberatung</a:t>
            </a:r>
            <a:endParaRPr lang="de-DE" sz="10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DE" baseline="0" dirty="0" smtClean="0"/>
              <a:t>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customXml" Target="../../customXml/item28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10" Type="http://schemas.openxmlformats.org/officeDocument/2006/relationships/image" Target="../media/image1.wmf"/><Relationship Id="rId4" Type="http://schemas.openxmlformats.org/officeDocument/2006/relationships/tags" Target="../tags/tag32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11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1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customXml" Target="../../customXml/item3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customXml" Target="../../customXml/item3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customXml" Target="../../customXml/item21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customXml" Target="../../customXml/item1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customXml" Target="../../customXml/item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customXml" Target="../../customXml/item2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customXml" Target="../../customXml/item1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8.xml"/><Relationship Id="rId1" Type="http://schemas.openxmlformats.org/officeDocument/2006/relationships/customXml" Target="../../customXml/item23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customXml" Target="../../customXml/item6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1.wmf"/><Relationship Id="rId4" Type="http://schemas.openxmlformats.org/officeDocument/2006/relationships/tags" Target="../tags/tag38.xml"/><Relationship Id="rId9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customXml" Target="../../customXml/item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customXml" Target="../../customXml/item4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customXml" Target="../../customXml/item7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image" Target="../media/image1.wmf"/><Relationship Id="rId4" Type="http://schemas.openxmlformats.org/officeDocument/2006/relationships/tags" Target="../tags/tag44.xml"/><Relationship Id="rId9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customXml" Target="../../customXml/item22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1.wmf"/><Relationship Id="rId4" Type="http://schemas.openxmlformats.org/officeDocument/2006/relationships/tags" Target="../tags/tag50.xml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customXml" Target="../../customXml/item24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customXml" Target="../../customXml/item3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customXml" Target="../../customXml/item1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customXml" Target="../../customXml/item1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26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5 Id1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11" name="cdtRectangle 2 Id1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16" name="Picture 2" descr="C:\Users\FEEDBA~1\AppData\Local\Temp\VMwareDnD\8c279ed9\5961_GMC-Summit_KV_Blue_140128-1.png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90" t="25937" b="40432"/>
          <a:stretch/>
        </p:blipFill>
        <p:spPr bwMode="auto">
          <a:xfrm>
            <a:off x="0" y="1589"/>
            <a:ext cx="12198349" cy="414750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338137" y="4149090"/>
            <a:ext cx="11860212" cy="870014"/>
          </a:xfrm>
          <a:solidFill>
            <a:srgbClr val="AAB414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338137" y="3756008"/>
            <a:ext cx="11860212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2" name="cdtText Box 101 Id1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60708594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6"/>
            <a:ext cx="5472112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0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0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255767227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403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5"/>
            <a:ext cx="403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259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5"/>
            <a:ext cx="2736775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5"/>
            <a:ext cx="2592387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1_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5 Id1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11" name="cdtRectangle 2 Id1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1027" name="Picture 3" descr="C:\Users\FEEDBA~1\AppData\Local\Temp\VMwareDnD\8cbc9f34\5961_GMC-Summit_KV_green_131204-1.png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3" t="8339" r="968" b="58309"/>
          <a:stretch/>
        </p:blipFill>
        <p:spPr bwMode="auto">
          <a:xfrm>
            <a:off x="0" y="1589"/>
            <a:ext cx="12198349" cy="414750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338137" y="4149090"/>
            <a:ext cx="11860212" cy="870014"/>
          </a:xfrm>
          <a:solidFill>
            <a:srgbClr val="55A0B9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338137" y="3756008"/>
            <a:ext cx="11860212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2" name="cdtText Box 101 Id1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="" xmlns:p14="http://schemas.microsoft.com/office/powerpoint/2010/main" val="24053448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515721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13" name="cdtRectangle 1 Id13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5157216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18" name="Picture 2" descr="C:\Users\FEEDBA~1\AppData\Local\Temp\VMwareDnD\8c279ed9\5961_GMC-Summit_KV_Blue_140128-1.png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90" t="25937" b="32258"/>
          <a:stretch/>
        </p:blipFill>
        <p:spPr bwMode="auto">
          <a:xfrm>
            <a:off x="0" y="1588"/>
            <a:ext cx="12198349" cy="51556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338137" y="4287202"/>
            <a:ext cx="11860212" cy="870014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338137" y="5157216"/>
            <a:ext cx="11860212" cy="393082"/>
          </a:xfrm>
          <a:solidFill>
            <a:srgbClr val="AAB414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14" name="cdtPicture 10 Id14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1_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5157216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13" name="cdtRectangle 1 Id13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5157216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19" name="Picture 3" descr="C:\Users\FEEDBA~1\AppData\Local\Temp\VMwareDnD\8cbc9f34\5961_GMC-Summit_KV_green_131204-1.png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43" t="8338" r="968" b="50203"/>
          <a:stretch/>
        </p:blipFill>
        <p:spPr bwMode="auto">
          <a:xfrm>
            <a:off x="0" y="1588"/>
            <a:ext cx="12198349" cy="51556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338137" y="4287202"/>
            <a:ext cx="11860212" cy="870014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338137" y="5157216"/>
            <a:ext cx="11860212" cy="393082"/>
          </a:xfrm>
          <a:solidFill>
            <a:srgbClr val="55A0B9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14" name="cdtPicture 10 Id14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0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="" xmlns:p14="http://schemas.microsoft.com/office/powerpoint/2010/main" val="375834083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0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gray">
          <a:xfrm>
            <a:off x="338138" y="4149090"/>
            <a:ext cx="11860212" cy="870014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338138" y="3756008"/>
            <a:ext cx="11860212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cdtPicture 7 Id8" descr="sie_logo_layer_petrol_rgb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8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5887" y="0"/>
            <a:ext cx="1439863" cy="804863"/>
          </a:xfrm>
          <a:prstGeom prst="rect">
            <a:avLst/>
          </a:prstGeom>
          <a:noFill/>
        </p:spPr>
      </p:pic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Rectangle 2 Id5"/>
          <p:cNvSpPr/>
          <p:nvPr userDrawn="1">
            <p:custDataLst>
              <p:tags r:id="rId2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5"/>
            <a:ext cx="3887914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5"/>
            <a:ext cx="7539355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6603495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9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3.xml"/><Relationship Id="rId42" Type="http://schemas.openxmlformats.org/officeDocument/2006/relationships/tags" Target="../tags/tag21.xml"/><Relationship Id="rId47" Type="http://schemas.openxmlformats.org/officeDocument/2006/relationships/tags" Target="../tags/tag26.xml"/><Relationship Id="rId50" Type="http://schemas.openxmlformats.org/officeDocument/2006/relationships/tags" Target="../tags/tag2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46" Type="http://schemas.openxmlformats.org/officeDocument/2006/relationships/tags" Target="../tags/tag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8.xml"/><Relationship Id="rId41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49" Type="http://schemas.openxmlformats.org/officeDocument/2006/relationships/tags" Target="../tags/tag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0.xml"/><Relationship Id="rId44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4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627063" y="1412875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0" name="cdtPicture 10 Id10" descr="SIE_Logo_Layer_Petrol_RGB_A3_76mm.wmf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5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20" name="cdtText Box 101 Id20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cxnSp>
        <p:nvCxnSpPr>
          <p:cNvPr id="3072" name="cdtMasterTags_CL1 Id3072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Gerade Verbindung 33"/>
          <p:cNvCxnSpPr/>
          <p:nvPr userDrawn="1"/>
        </p:nvCxnSpPr>
        <p:spPr bwMode="auto">
          <a:xfrm flipH="1">
            <a:off x="-360000" y="978542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 Verbindung 34"/>
          <p:cNvCxnSpPr/>
          <p:nvPr userDrawn="1"/>
        </p:nvCxnSpPr>
        <p:spPr bwMode="auto">
          <a:xfrm flipV="1">
            <a:off x="624214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35"/>
          <p:cNvCxnSpPr/>
          <p:nvPr userDrawn="1"/>
        </p:nvCxnSpPr>
        <p:spPr bwMode="auto">
          <a:xfrm flipV="1">
            <a:off x="4224664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 Verbindung 36"/>
          <p:cNvCxnSpPr/>
          <p:nvPr userDrawn="1"/>
        </p:nvCxnSpPr>
        <p:spPr bwMode="auto">
          <a:xfrm flipV="1">
            <a:off x="4367539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 Verbindung 37"/>
          <p:cNvCxnSpPr/>
          <p:nvPr userDrawn="1"/>
        </p:nvCxnSpPr>
        <p:spPr bwMode="auto">
          <a:xfrm flipV="1">
            <a:off x="6096326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 Verbindung 38"/>
          <p:cNvCxnSpPr/>
          <p:nvPr userDrawn="1"/>
        </p:nvCxnSpPr>
        <p:spPr bwMode="auto">
          <a:xfrm flipV="1">
            <a:off x="6240789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/>
          <p:cNvCxnSpPr/>
          <p:nvPr userDrawn="1"/>
        </p:nvCxnSpPr>
        <p:spPr bwMode="auto">
          <a:xfrm flipV="1">
            <a:off x="8833176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/>
          <p:cNvCxnSpPr/>
          <p:nvPr userDrawn="1"/>
        </p:nvCxnSpPr>
        <p:spPr bwMode="auto">
          <a:xfrm flipV="1">
            <a:off x="11712901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41"/>
          <p:cNvCxnSpPr/>
          <p:nvPr userDrawn="1"/>
        </p:nvCxnSpPr>
        <p:spPr bwMode="auto">
          <a:xfrm flipV="1">
            <a:off x="335289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 Verbindung 42"/>
          <p:cNvCxnSpPr/>
          <p:nvPr userDrawn="1"/>
        </p:nvCxnSpPr>
        <p:spPr bwMode="auto">
          <a:xfrm flipH="1">
            <a:off x="-360000" y="1265880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Gerade Verbindung 43"/>
          <p:cNvCxnSpPr/>
          <p:nvPr userDrawn="1"/>
        </p:nvCxnSpPr>
        <p:spPr bwMode="auto">
          <a:xfrm flipH="1">
            <a:off x="-360000" y="1410342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44"/>
          <p:cNvCxnSpPr/>
          <p:nvPr userDrawn="1"/>
        </p:nvCxnSpPr>
        <p:spPr bwMode="auto">
          <a:xfrm flipH="1">
            <a:off x="-360000" y="3713805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 Verbindung 45"/>
          <p:cNvCxnSpPr/>
          <p:nvPr userDrawn="1"/>
        </p:nvCxnSpPr>
        <p:spPr bwMode="auto">
          <a:xfrm flipH="1">
            <a:off x="-360000" y="3858267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46"/>
          <p:cNvCxnSpPr/>
          <p:nvPr userDrawn="1"/>
        </p:nvCxnSpPr>
        <p:spPr bwMode="auto">
          <a:xfrm flipH="1">
            <a:off x="-360000" y="6163317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98" r:id="rId2"/>
    <p:sldLayoutId id="2147483672" r:id="rId3"/>
    <p:sldLayoutId id="2147483699" r:id="rId4"/>
    <p:sldLayoutId id="2147483676" r:id="rId5"/>
    <p:sldLayoutId id="2147483678" r:id="rId6"/>
    <p:sldLayoutId id="2147483679" r:id="rId7"/>
    <p:sldLayoutId id="2147483695" r:id="rId8"/>
    <p:sldLayoutId id="2147483670" r:id="rId9"/>
    <p:sldLayoutId id="2147483692" r:id="rId10"/>
    <p:sldLayoutId id="2147483696" r:id="rId11"/>
    <p:sldLayoutId id="2147483683" r:id="rId12"/>
    <p:sldLayoutId id="2147483681" r:id="rId13"/>
    <p:sldLayoutId id="2147483697" r:id="rId14"/>
    <p:sldLayoutId id="2147483691" r:id="rId15"/>
    <p:sldLayoutId id="2147483693" r:id="rId16"/>
    <p:sldLayoutId id="2147483684" r:id="rId17"/>
    <p:sldLayoutId id="2147483685" r:id="rId18"/>
    <p:sldLayoutId id="2147483694" r:id="rId19"/>
    <p:sldLayoutId id="2147483686" r:id="rId20"/>
    <p:sldLayoutId id="2147483688" r:id="rId21"/>
  </p:sldLayoutIdLst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8.jpeg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5.png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8" name="Weltkarte"/>
          <p:cNvGrpSpPr/>
          <p:nvPr/>
        </p:nvGrpSpPr>
        <p:grpSpPr>
          <a:xfrm>
            <a:off x="2163111" y="2287532"/>
            <a:ext cx="7670409" cy="3523138"/>
            <a:chOff x="2082901" y="2391805"/>
            <a:chExt cx="7670409" cy="3523138"/>
          </a:xfrm>
        </p:grpSpPr>
        <p:sp>
          <p:nvSpPr>
            <p:cNvPr id="335" name="Freeform 5"/>
            <p:cNvSpPr>
              <a:spLocks/>
            </p:cNvSpPr>
            <p:nvPr/>
          </p:nvSpPr>
          <p:spPr bwMode="auto">
            <a:xfrm>
              <a:off x="9477202" y="5005984"/>
              <a:ext cx="33672" cy="36950"/>
            </a:xfrm>
            <a:custGeom>
              <a:avLst/>
              <a:gdLst>
                <a:gd name="T0" fmla="*/ 35903 w 12"/>
                <a:gd name="T1" fmla="*/ 971 h 14"/>
                <a:gd name="T2" fmla="*/ 35903 w 12"/>
                <a:gd name="T3" fmla="*/ 3400 h 14"/>
                <a:gd name="T4" fmla="*/ 15175 w 12"/>
                <a:gd name="T5" fmla="*/ 4244 h 14"/>
                <a:gd name="T6" fmla="*/ 0 w 12"/>
                <a:gd name="T7" fmla="*/ 2830 h 14"/>
                <a:gd name="T8" fmla="*/ 15175 w 12"/>
                <a:gd name="T9" fmla="*/ 1456 h 14"/>
                <a:gd name="T10" fmla="*/ 35903 w 12"/>
                <a:gd name="T11" fmla="*/ 971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12" y="6"/>
                    <a:pt x="10" y="9"/>
                    <a:pt x="10" y="11"/>
                  </a:cubicBezTo>
                  <a:cubicBezTo>
                    <a:pt x="10" y="13"/>
                    <a:pt x="7" y="14"/>
                    <a:pt x="4" y="14"/>
                  </a:cubicBezTo>
                  <a:cubicBezTo>
                    <a:pt x="1" y="14"/>
                    <a:pt x="0" y="11"/>
                    <a:pt x="0" y="9"/>
                  </a:cubicBezTo>
                  <a:cubicBezTo>
                    <a:pt x="0" y="8"/>
                    <a:pt x="2" y="6"/>
                    <a:pt x="4" y="5"/>
                  </a:cubicBezTo>
                  <a:cubicBezTo>
                    <a:pt x="4" y="5"/>
                    <a:pt x="10" y="0"/>
                    <a:pt x="10" y="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337" name="Group 6"/>
            <p:cNvGrpSpPr>
              <a:grpSpLocks/>
            </p:cNvGrpSpPr>
            <p:nvPr/>
          </p:nvGrpSpPr>
          <p:grpSpPr bwMode="auto">
            <a:xfrm>
              <a:off x="9239817" y="5395802"/>
              <a:ext cx="262639" cy="290054"/>
              <a:chOff x="5290" y="3119"/>
              <a:chExt cx="191" cy="223"/>
            </a:xfrm>
            <a:solidFill>
              <a:srgbClr val="EBEBE3"/>
            </a:solidFill>
          </p:grpSpPr>
          <p:sp>
            <p:nvSpPr>
              <p:cNvPr id="628" name="Freeform 7"/>
              <p:cNvSpPr>
                <a:spLocks/>
              </p:cNvSpPr>
              <p:nvPr/>
            </p:nvSpPr>
            <p:spPr bwMode="auto">
              <a:xfrm>
                <a:off x="5388" y="3119"/>
                <a:ext cx="93" cy="126"/>
              </a:xfrm>
              <a:custGeom>
                <a:avLst/>
                <a:gdLst>
                  <a:gd name="T0" fmla="*/ 690335 w 46"/>
                  <a:gd name="T1" fmla="*/ 3548510 h 62"/>
                  <a:gd name="T2" fmla="*/ 1237060 w 46"/>
                  <a:gd name="T3" fmla="*/ 3196409 h 62"/>
                  <a:gd name="T4" fmla="*/ 1318940 w 46"/>
                  <a:gd name="T5" fmla="*/ 2462097 h 62"/>
                  <a:gd name="T6" fmla="*/ 228103 w 46"/>
                  <a:gd name="T7" fmla="*/ 496101 h 62"/>
                  <a:gd name="T8" fmla="*/ 149698 w 46"/>
                  <a:gd name="T9" fmla="*/ 0 h 62"/>
                  <a:gd name="T10" fmla="*/ 1008553 w 46"/>
                  <a:gd name="T11" fmla="*/ 412057 h 62"/>
                  <a:gd name="T12" fmla="*/ 1548662 w 46"/>
                  <a:gd name="T13" fmla="*/ 1533318 h 62"/>
                  <a:gd name="T14" fmla="*/ 1963384 w 46"/>
                  <a:gd name="T15" fmla="*/ 1452715 h 62"/>
                  <a:gd name="T16" fmla="*/ 2196446 w 46"/>
                  <a:gd name="T17" fmla="*/ 2297746 h 62"/>
                  <a:gd name="T18" fmla="*/ 2821695 w 46"/>
                  <a:gd name="T19" fmla="*/ 2380595 h 62"/>
                  <a:gd name="T20" fmla="*/ 3431516 w 46"/>
                  <a:gd name="T21" fmla="*/ 2129237 h 62"/>
                  <a:gd name="T22" fmla="*/ 3431516 w 46"/>
                  <a:gd name="T23" fmla="*/ 2874444 h 62"/>
                  <a:gd name="T24" fmla="*/ 3130991 w 46"/>
                  <a:gd name="T25" fmla="*/ 3380424 h 62"/>
                  <a:gd name="T26" fmla="*/ 2501013 w 46"/>
                  <a:gd name="T27" fmla="*/ 3380424 h 62"/>
                  <a:gd name="T28" fmla="*/ 2666553 w 46"/>
                  <a:gd name="T29" fmla="*/ 3995411 h 62"/>
                  <a:gd name="T30" fmla="*/ 1963384 w 46"/>
                  <a:gd name="T31" fmla="*/ 5081552 h 62"/>
                  <a:gd name="T32" fmla="*/ 1548662 w 46"/>
                  <a:gd name="T33" fmla="*/ 4923296 h 62"/>
                  <a:gd name="T34" fmla="*/ 1318940 w 46"/>
                  <a:gd name="T35" fmla="*/ 4837983 h 62"/>
                  <a:gd name="T36" fmla="*/ 1548662 w 46"/>
                  <a:gd name="T37" fmla="*/ 4249131 h 62"/>
                  <a:gd name="T38" fmla="*/ 690335 w 46"/>
                  <a:gd name="T39" fmla="*/ 3548510 h 6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6" h="62">
                    <a:moveTo>
                      <a:pt x="9" y="42"/>
                    </a:moveTo>
                    <a:cubicBezTo>
                      <a:pt x="9" y="39"/>
                      <a:pt x="16" y="39"/>
                      <a:pt x="16" y="38"/>
                    </a:cubicBezTo>
                    <a:cubicBezTo>
                      <a:pt x="16" y="37"/>
                      <a:pt x="18" y="30"/>
                      <a:pt x="17" y="29"/>
                    </a:cubicBezTo>
                    <a:cubicBezTo>
                      <a:pt x="17" y="28"/>
                      <a:pt x="4" y="7"/>
                      <a:pt x="3" y="6"/>
                    </a:cubicBezTo>
                    <a:cubicBezTo>
                      <a:pt x="2" y="4"/>
                      <a:pt x="0" y="0"/>
                      <a:pt x="2" y="0"/>
                    </a:cubicBezTo>
                    <a:cubicBezTo>
                      <a:pt x="5" y="0"/>
                      <a:pt x="11" y="4"/>
                      <a:pt x="13" y="5"/>
                    </a:cubicBezTo>
                    <a:cubicBezTo>
                      <a:pt x="14" y="7"/>
                      <a:pt x="19" y="18"/>
                      <a:pt x="20" y="18"/>
                    </a:cubicBezTo>
                    <a:cubicBezTo>
                      <a:pt x="20" y="18"/>
                      <a:pt x="24" y="15"/>
                      <a:pt x="25" y="17"/>
                    </a:cubicBezTo>
                    <a:cubicBezTo>
                      <a:pt x="27" y="19"/>
                      <a:pt x="26" y="26"/>
                      <a:pt x="28" y="27"/>
                    </a:cubicBezTo>
                    <a:cubicBezTo>
                      <a:pt x="30" y="27"/>
                      <a:pt x="35" y="30"/>
                      <a:pt x="36" y="28"/>
                    </a:cubicBezTo>
                    <a:cubicBezTo>
                      <a:pt x="37" y="27"/>
                      <a:pt x="42" y="24"/>
                      <a:pt x="44" y="25"/>
                    </a:cubicBezTo>
                    <a:cubicBezTo>
                      <a:pt x="46" y="26"/>
                      <a:pt x="45" y="32"/>
                      <a:pt x="44" y="34"/>
                    </a:cubicBezTo>
                    <a:cubicBezTo>
                      <a:pt x="43" y="35"/>
                      <a:pt x="43" y="41"/>
                      <a:pt x="40" y="40"/>
                    </a:cubicBezTo>
                    <a:cubicBezTo>
                      <a:pt x="38" y="39"/>
                      <a:pt x="35" y="38"/>
                      <a:pt x="32" y="40"/>
                    </a:cubicBezTo>
                    <a:cubicBezTo>
                      <a:pt x="30" y="43"/>
                      <a:pt x="35" y="45"/>
                      <a:pt x="34" y="47"/>
                    </a:cubicBezTo>
                    <a:cubicBezTo>
                      <a:pt x="33" y="48"/>
                      <a:pt x="28" y="58"/>
                      <a:pt x="25" y="60"/>
                    </a:cubicBezTo>
                    <a:cubicBezTo>
                      <a:pt x="23" y="62"/>
                      <a:pt x="23" y="61"/>
                      <a:pt x="20" y="58"/>
                    </a:cubicBezTo>
                    <a:cubicBezTo>
                      <a:pt x="19" y="57"/>
                      <a:pt x="17" y="58"/>
                      <a:pt x="17" y="57"/>
                    </a:cubicBezTo>
                    <a:cubicBezTo>
                      <a:pt x="17" y="56"/>
                      <a:pt x="22" y="54"/>
                      <a:pt x="20" y="50"/>
                    </a:cubicBezTo>
                    <a:cubicBezTo>
                      <a:pt x="18" y="46"/>
                      <a:pt x="10" y="45"/>
                      <a:pt x="9" y="4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9" name="Freeform 8"/>
              <p:cNvSpPr>
                <a:spLocks/>
              </p:cNvSpPr>
              <p:nvPr/>
            </p:nvSpPr>
            <p:spPr bwMode="auto">
              <a:xfrm>
                <a:off x="5290" y="3224"/>
                <a:ext cx="126" cy="118"/>
              </a:xfrm>
              <a:custGeom>
                <a:avLst/>
                <a:gdLst>
                  <a:gd name="T0" fmla="*/ 918292 w 62"/>
                  <a:gd name="T1" fmla="*/ 4665984 h 58"/>
                  <a:gd name="T2" fmla="*/ 163241 w 62"/>
                  <a:gd name="T3" fmla="*/ 4491115 h 58"/>
                  <a:gd name="T4" fmla="*/ 1251168 w 62"/>
                  <a:gd name="T5" fmla="*/ 2835383 h 58"/>
                  <a:gd name="T6" fmla="*/ 1701825 w 62"/>
                  <a:gd name="T7" fmla="*/ 2750474 h 58"/>
                  <a:gd name="T8" fmla="*/ 3038234 w 62"/>
                  <a:gd name="T9" fmla="*/ 1808539 h 58"/>
                  <a:gd name="T10" fmla="*/ 3196409 w 62"/>
                  <a:gd name="T11" fmla="*/ 1020570 h 58"/>
                  <a:gd name="T12" fmla="*/ 3712383 w 62"/>
                  <a:gd name="T13" fmla="*/ 768986 h 58"/>
                  <a:gd name="T14" fmla="*/ 3792612 w 62"/>
                  <a:gd name="T15" fmla="*/ 81347 h 58"/>
                  <a:gd name="T16" fmla="*/ 4327159 w 62"/>
                  <a:gd name="T17" fmla="*/ 81347 h 58"/>
                  <a:gd name="T18" fmla="*/ 4485681 w 62"/>
                  <a:gd name="T19" fmla="*/ 685021 h 58"/>
                  <a:gd name="T20" fmla="*/ 5003616 w 62"/>
                  <a:gd name="T21" fmla="*/ 336705 h 58"/>
                  <a:gd name="T22" fmla="*/ 5167414 w 62"/>
                  <a:gd name="T23" fmla="*/ 1106523 h 58"/>
                  <a:gd name="T24" fmla="*/ 4249131 w 62"/>
                  <a:gd name="T25" fmla="*/ 2167650 h 58"/>
                  <a:gd name="T26" fmla="*/ 4485681 w 62"/>
                  <a:gd name="T27" fmla="*/ 2750474 h 58"/>
                  <a:gd name="T28" fmla="*/ 3380424 w 62"/>
                  <a:gd name="T29" fmla="*/ 2916982 h 58"/>
                  <a:gd name="T30" fmla="*/ 2706494 w 62"/>
                  <a:gd name="T31" fmla="*/ 4410047 h 58"/>
                  <a:gd name="T32" fmla="*/ 1788210 w 62"/>
                  <a:gd name="T33" fmla="*/ 4993314 h 58"/>
                  <a:gd name="T34" fmla="*/ 918292 w 62"/>
                  <a:gd name="T35" fmla="*/ 4665984 h 5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62" h="58">
                    <a:moveTo>
                      <a:pt x="11" y="54"/>
                    </a:moveTo>
                    <a:cubicBezTo>
                      <a:pt x="9" y="54"/>
                      <a:pt x="2" y="55"/>
                      <a:pt x="2" y="52"/>
                    </a:cubicBezTo>
                    <a:cubicBezTo>
                      <a:pt x="0" y="47"/>
                      <a:pt x="13" y="34"/>
                      <a:pt x="15" y="33"/>
                    </a:cubicBezTo>
                    <a:cubicBezTo>
                      <a:pt x="16" y="32"/>
                      <a:pt x="18" y="33"/>
                      <a:pt x="20" y="32"/>
                    </a:cubicBezTo>
                    <a:cubicBezTo>
                      <a:pt x="21" y="32"/>
                      <a:pt x="35" y="23"/>
                      <a:pt x="36" y="21"/>
                    </a:cubicBezTo>
                    <a:cubicBezTo>
                      <a:pt x="37" y="19"/>
                      <a:pt x="38" y="13"/>
                      <a:pt x="38" y="12"/>
                    </a:cubicBezTo>
                    <a:cubicBezTo>
                      <a:pt x="39" y="11"/>
                      <a:pt x="43" y="11"/>
                      <a:pt x="44" y="9"/>
                    </a:cubicBezTo>
                    <a:cubicBezTo>
                      <a:pt x="44" y="8"/>
                      <a:pt x="44" y="2"/>
                      <a:pt x="45" y="1"/>
                    </a:cubicBezTo>
                    <a:cubicBezTo>
                      <a:pt x="46" y="1"/>
                      <a:pt x="49" y="1"/>
                      <a:pt x="51" y="1"/>
                    </a:cubicBezTo>
                    <a:cubicBezTo>
                      <a:pt x="53" y="0"/>
                      <a:pt x="50" y="8"/>
                      <a:pt x="53" y="8"/>
                    </a:cubicBezTo>
                    <a:cubicBezTo>
                      <a:pt x="55" y="8"/>
                      <a:pt x="58" y="4"/>
                      <a:pt x="59" y="4"/>
                    </a:cubicBezTo>
                    <a:cubicBezTo>
                      <a:pt x="60" y="4"/>
                      <a:pt x="61" y="11"/>
                      <a:pt x="61" y="13"/>
                    </a:cubicBezTo>
                    <a:cubicBezTo>
                      <a:pt x="62" y="14"/>
                      <a:pt x="50" y="23"/>
                      <a:pt x="50" y="25"/>
                    </a:cubicBezTo>
                    <a:cubicBezTo>
                      <a:pt x="49" y="26"/>
                      <a:pt x="54" y="31"/>
                      <a:pt x="53" y="32"/>
                    </a:cubicBezTo>
                    <a:cubicBezTo>
                      <a:pt x="51" y="34"/>
                      <a:pt x="43" y="32"/>
                      <a:pt x="40" y="34"/>
                    </a:cubicBezTo>
                    <a:cubicBezTo>
                      <a:pt x="38" y="37"/>
                      <a:pt x="35" y="49"/>
                      <a:pt x="32" y="51"/>
                    </a:cubicBezTo>
                    <a:cubicBezTo>
                      <a:pt x="30" y="54"/>
                      <a:pt x="25" y="58"/>
                      <a:pt x="21" y="58"/>
                    </a:cubicBezTo>
                    <a:cubicBezTo>
                      <a:pt x="17" y="57"/>
                      <a:pt x="12" y="54"/>
                      <a:pt x="11" y="5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45" name="Freeform 9"/>
            <p:cNvSpPr>
              <a:spLocks/>
            </p:cNvSpPr>
            <p:nvPr/>
          </p:nvSpPr>
          <p:spPr bwMode="auto">
            <a:xfrm>
              <a:off x="9172473" y="5076189"/>
              <a:ext cx="92597" cy="64662"/>
            </a:xfrm>
            <a:custGeom>
              <a:avLst/>
              <a:gdLst>
                <a:gd name="T0" fmla="*/ 63297 w 33"/>
                <a:gd name="T1" fmla="*/ 3003 h 24"/>
                <a:gd name="T2" fmla="*/ 112422 w 33"/>
                <a:gd name="T3" fmla="*/ 8142 h 24"/>
                <a:gd name="T4" fmla="*/ 99730 w 33"/>
                <a:gd name="T5" fmla="*/ 10006 h 24"/>
                <a:gd name="T6" fmla="*/ 35903 w 33"/>
                <a:gd name="T7" fmla="*/ 5583 h 24"/>
                <a:gd name="T8" fmla="*/ 15175 w 33"/>
                <a:gd name="T9" fmla="*/ 0 h 24"/>
                <a:gd name="T10" fmla="*/ 63297 w 33"/>
                <a:gd name="T11" fmla="*/ 3003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3" h="24">
                  <a:moveTo>
                    <a:pt x="18" y="7"/>
                  </a:moveTo>
                  <a:cubicBezTo>
                    <a:pt x="18" y="7"/>
                    <a:pt x="30" y="17"/>
                    <a:pt x="32" y="19"/>
                  </a:cubicBezTo>
                  <a:cubicBezTo>
                    <a:pt x="33" y="21"/>
                    <a:pt x="31" y="24"/>
                    <a:pt x="28" y="24"/>
                  </a:cubicBezTo>
                  <a:cubicBezTo>
                    <a:pt x="26" y="24"/>
                    <a:pt x="14" y="16"/>
                    <a:pt x="10" y="13"/>
                  </a:cubicBezTo>
                  <a:cubicBezTo>
                    <a:pt x="6" y="10"/>
                    <a:pt x="0" y="0"/>
                    <a:pt x="4" y="0"/>
                  </a:cubicBezTo>
                  <a:cubicBezTo>
                    <a:pt x="8" y="0"/>
                    <a:pt x="14" y="5"/>
                    <a:pt x="18" y="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347" name="Group 10"/>
            <p:cNvGrpSpPr>
              <a:grpSpLocks/>
            </p:cNvGrpSpPr>
            <p:nvPr/>
          </p:nvGrpSpPr>
          <p:grpSpPr bwMode="auto">
            <a:xfrm>
              <a:off x="8701070" y="4725168"/>
              <a:ext cx="335033" cy="169968"/>
              <a:chOff x="4900" y="2601"/>
              <a:chExt cx="243" cy="130"/>
            </a:xfrm>
            <a:solidFill>
              <a:srgbClr val="EBEBE3"/>
            </a:solidFill>
          </p:grpSpPr>
          <p:sp>
            <p:nvSpPr>
              <p:cNvPr id="625" name="Freeform 11"/>
              <p:cNvSpPr>
                <a:spLocks/>
              </p:cNvSpPr>
              <p:nvPr/>
            </p:nvSpPr>
            <p:spPr bwMode="auto">
              <a:xfrm>
                <a:off x="5110" y="2639"/>
                <a:ext cx="33" cy="37"/>
              </a:xfrm>
              <a:custGeom>
                <a:avLst/>
                <a:gdLst>
                  <a:gd name="T0" fmla="*/ 427676 w 16"/>
                  <a:gd name="T1" fmla="*/ 91820 h 18"/>
                  <a:gd name="T2" fmla="*/ 1310760 w 16"/>
                  <a:gd name="T3" fmla="*/ 932974 h 18"/>
                  <a:gd name="T4" fmla="*/ 1711980 w 16"/>
                  <a:gd name="T5" fmla="*/ 1439448 h 18"/>
                  <a:gd name="T6" fmla="*/ 1310760 w 16"/>
                  <a:gd name="T7" fmla="*/ 1827278 h 18"/>
                  <a:gd name="T8" fmla="*/ 427676 w 16"/>
                  <a:gd name="T9" fmla="*/ 1229699 h 18"/>
                  <a:gd name="T10" fmla="*/ 207358 w 16"/>
                  <a:gd name="T11" fmla="*/ 291032 h 18"/>
                  <a:gd name="T12" fmla="*/ 427676 w 16"/>
                  <a:gd name="T13" fmla="*/ 9182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" h="18">
                    <a:moveTo>
                      <a:pt x="4" y="1"/>
                    </a:moveTo>
                    <a:cubicBezTo>
                      <a:pt x="6" y="2"/>
                      <a:pt x="8" y="5"/>
                      <a:pt x="12" y="9"/>
                    </a:cubicBezTo>
                    <a:cubicBezTo>
                      <a:pt x="14" y="12"/>
                      <a:pt x="16" y="10"/>
                      <a:pt x="16" y="14"/>
                    </a:cubicBezTo>
                    <a:cubicBezTo>
                      <a:pt x="16" y="17"/>
                      <a:pt x="14" y="18"/>
                      <a:pt x="12" y="18"/>
                    </a:cubicBezTo>
                    <a:cubicBezTo>
                      <a:pt x="10" y="18"/>
                      <a:pt x="5" y="14"/>
                      <a:pt x="4" y="12"/>
                    </a:cubicBezTo>
                    <a:cubicBezTo>
                      <a:pt x="4" y="9"/>
                      <a:pt x="0" y="4"/>
                      <a:pt x="2" y="3"/>
                    </a:cubicBezTo>
                    <a:cubicBezTo>
                      <a:pt x="2" y="3"/>
                      <a:pt x="2" y="0"/>
                      <a:pt x="4" y="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6" name="Freeform 12"/>
              <p:cNvSpPr>
                <a:spLocks/>
              </p:cNvSpPr>
              <p:nvPr/>
            </p:nvSpPr>
            <p:spPr bwMode="auto">
              <a:xfrm>
                <a:off x="5013" y="2613"/>
                <a:ext cx="61" cy="49"/>
              </a:xfrm>
              <a:custGeom>
                <a:avLst/>
                <a:gdLst>
                  <a:gd name="T0" fmla="*/ 933959 w 30"/>
                  <a:gd name="T1" fmla="*/ 2098882 h 24"/>
                  <a:gd name="T2" fmla="*/ 0 w 30"/>
                  <a:gd name="T3" fmla="*/ 1470025 h 24"/>
                  <a:gd name="T4" fmla="*/ 680294 w 30"/>
                  <a:gd name="T5" fmla="*/ 1379415 h 24"/>
                  <a:gd name="T6" fmla="*/ 1716373 w 30"/>
                  <a:gd name="T7" fmla="*/ 1112643 h 24"/>
                  <a:gd name="T8" fmla="*/ 2063427 w 30"/>
                  <a:gd name="T9" fmla="*/ 266923 h 24"/>
                  <a:gd name="T10" fmla="*/ 2232687 w 30"/>
                  <a:gd name="T11" fmla="*/ 0 h 24"/>
                  <a:gd name="T12" fmla="*/ 2557840 w 30"/>
                  <a:gd name="T13" fmla="*/ 352659 h 24"/>
                  <a:gd name="T14" fmla="*/ 2232687 w 30"/>
                  <a:gd name="T15" fmla="*/ 1657545 h 24"/>
                  <a:gd name="T16" fmla="*/ 933959 w 30"/>
                  <a:gd name="T17" fmla="*/ 2098882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0" h="24">
                    <a:moveTo>
                      <a:pt x="11" y="23"/>
                    </a:moveTo>
                    <a:cubicBezTo>
                      <a:pt x="5" y="22"/>
                      <a:pt x="0" y="18"/>
                      <a:pt x="0" y="16"/>
                    </a:cubicBezTo>
                    <a:cubicBezTo>
                      <a:pt x="2" y="14"/>
                      <a:pt x="8" y="15"/>
                      <a:pt x="8" y="15"/>
                    </a:cubicBezTo>
                    <a:cubicBezTo>
                      <a:pt x="11" y="15"/>
                      <a:pt x="20" y="12"/>
                      <a:pt x="20" y="12"/>
                    </a:cubicBezTo>
                    <a:cubicBezTo>
                      <a:pt x="20" y="12"/>
                      <a:pt x="26" y="7"/>
                      <a:pt x="24" y="3"/>
                    </a:cubicBezTo>
                    <a:cubicBezTo>
                      <a:pt x="22" y="0"/>
                      <a:pt x="25" y="0"/>
                      <a:pt x="26" y="0"/>
                    </a:cubicBezTo>
                    <a:cubicBezTo>
                      <a:pt x="28" y="0"/>
                      <a:pt x="30" y="2"/>
                      <a:pt x="30" y="4"/>
                    </a:cubicBezTo>
                    <a:cubicBezTo>
                      <a:pt x="30" y="7"/>
                      <a:pt x="30" y="17"/>
                      <a:pt x="26" y="18"/>
                    </a:cubicBezTo>
                    <a:cubicBezTo>
                      <a:pt x="22" y="19"/>
                      <a:pt x="17" y="24"/>
                      <a:pt x="11" y="2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7" name="Freeform 13"/>
              <p:cNvSpPr>
                <a:spLocks/>
              </p:cNvSpPr>
              <p:nvPr/>
            </p:nvSpPr>
            <p:spPr bwMode="auto">
              <a:xfrm>
                <a:off x="4900" y="2601"/>
                <a:ext cx="156" cy="130"/>
              </a:xfrm>
              <a:custGeom>
                <a:avLst/>
                <a:gdLst>
                  <a:gd name="T0" fmla="*/ 0 w 77"/>
                  <a:gd name="T1" fmla="*/ 4208900 h 64"/>
                  <a:gd name="T2" fmla="*/ 0 w 77"/>
                  <a:gd name="T3" fmla="*/ 0 h 64"/>
                  <a:gd name="T4" fmla="*/ 1113755 w 77"/>
                  <a:gd name="T5" fmla="*/ 410353 h 64"/>
                  <a:gd name="T6" fmla="*/ 2511705 w 77"/>
                  <a:gd name="T7" fmla="*/ 1080783 h 64"/>
                  <a:gd name="T8" fmla="*/ 2983974 w 77"/>
                  <a:gd name="T9" fmla="*/ 1603475 h 64"/>
                  <a:gd name="T10" fmla="*/ 3061492 w 77"/>
                  <a:gd name="T11" fmla="*/ 1933957 h 64"/>
                  <a:gd name="T12" fmla="*/ 4097249 w 77"/>
                  <a:gd name="T13" fmla="*/ 2282788 h 64"/>
                  <a:gd name="T14" fmla="*/ 4260425 w 77"/>
                  <a:gd name="T15" fmla="*/ 2769191 h 64"/>
                  <a:gd name="T16" fmla="*/ 3691876 w 77"/>
                  <a:gd name="T17" fmla="*/ 2846821 h 64"/>
                  <a:gd name="T18" fmla="*/ 4260425 w 77"/>
                  <a:gd name="T19" fmla="*/ 3516756 h 64"/>
                  <a:gd name="T20" fmla="*/ 4690715 w 77"/>
                  <a:gd name="T21" fmla="*/ 4208900 h 64"/>
                  <a:gd name="T22" fmla="*/ 5164465 w 77"/>
                  <a:gd name="T23" fmla="*/ 4128802 h 64"/>
                  <a:gd name="T24" fmla="*/ 5318609 w 77"/>
                  <a:gd name="T25" fmla="*/ 4459284 h 64"/>
                  <a:gd name="T26" fmla="*/ 5648095 w 77"/>
                  <a:gd name="T27" fmla="*/ 4799500 h 64"/>
                  <a:gd name="T28" fmla="*/ 6202503 w 77"/>
                  <a:gd name="T29" fmla="*/ 5131819 h 64"/>
                  <a:gd name="T30" fmla="*/ 5648095 w 77"/>
                  <a:gd name="T31" fmla="*/ 5294520 h 64"/>
                  <a:gd name="T32" fmla="*/ 4843103 w 77"/>
                  <a:gd name="T33" fmla="*/ 5051983 h 64"/>
                  <a:gd name="T34" fmla="*/ 4022024 w 77"/>
                  <a:gd name="T35" fmla="*/ 4889562 h 64"/>
                  <a:gd name="T36" fmla="*/ 3137543 w 77"/>
                  <a:gd name="T37" fmla="*/ 3606078 h 64"/>
                  <a:gd name="T38" fmla="*/ 2102902 w 77"/>
                  <a:gd name="T39" fmla="*/ 3257059 h 64"/>
                  <a:gd name="T40" fmla="*/ 1435307 w 77"/>
                  <a:gd name="T41" fmla="*/ 3606078 h 64"/>
                  <a:gd name="T42" fmla="*/ 1626103 w 77"/>
                  <a:gd name="T43" fmla="*/ 4128802 h 64"/>
                  <a:gd name="T44" fmla="*/ 881054 w 77"/>
                  <a:gd name="T45" fmla="*/ 4381518 h 64"/>
                  <a:gd name="T46" fmla="*/ 0 w 77"/>
                  <a:gd name="T47" fmla="*/ 4208900 h 6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7" h="64">
                    <a:moveTo>
                      <a:pt x="0" y="5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"/>
                      <a:pt x="12" y="4"/>
                      <a:pt x="14" y="5"/>
                    </a:cubicBezTo>
                    <a:cubicBezTo>
                      <a:pt x="18" y="7"/>
                      <a:pt x="28" y="12"/>
                      <a:pt x="31" y="13"/>
                    </a:cubicBezTo>
                    <a:cubicBezTo>
                      <a:pt x="34" y="13"/>
                      <a:pt x="37" y="17"/>
                      <a:pt x="37" y="19"/>
                    </a:cubicBezTo>
                    <a:cubicBezTo>
                      <a:pt x="37" y="20"/>
                      <a:pt x="34" y="22"/>
                      <a:pt x="38" y="23"/>
                    </a:cubicBezTo>
                    <a:cubicBezTo>
                      <a:pt x="42" y="23"/>
                      <a:pt x="48" y="24"/>
                      <a:pt x="51" y="27"/>
                    </a:cubicBezTo>
                    <a:cubicBezTo>
                      <a:pt x="53" y="30"/>
                      <a:pt x="53" y="32"/>
                      <a:pt x="53" y="33"/>
                    </a:cubicBezTo>
                    <a:cubicBezTo>
                      <a:pt x="53" y="34"/>
                      <a:pt x="46" y="32"/>
                      <a:pt x="46" y="34"/>
                    </a:cubicBezTo>
                    <a:cubicBezTo>
                      <a:pt x="46" y="36"/>
                      <a:pt x="51" y="40"/>
                      <a:pt x="53" y="42"/>
                    </a:cubicBezTo>
                    <a:cubicBezTo>
                      <a:pt x="55" y="44"/>
                      <a:pt x="57" y="50"/>
                      <a:pt x="58" y="50"/>
                    </a:cubicBezTo>
                    <a:cubicBezTo>
                      <a:pt x="60" y="50"/>
                      <a:pt x="63" y="49"/>
                      <a:pt x="64" y="49"/>
                    </a:cubicBezTo>
                    <a:cubicBezTo>
                      <a:pt x="66" y="50"/>
                      <a:pt x="64" y="52"/>
                      <a:pt x="66" y="53"/>
                    </a:cubicBezTo>
                    <a:cubicBezTo>
                      <a:pt x="68" y="54"/>
                      <a:pt x="67" y="57"/>
                      <a:pt x="70" y="57"/>
                    </a:cubicBezTo>
                    <a:cubicBezTo>
                      <a:pt x="74" y="57"/>
                      <a:pt x="76" y="59"/>
                      <a:pt x="77" y="61"/>
                    </a:cubicBezTo>
                    <a:cubicBezTo>
                      <a:pt x="77" y="62"/>
                      <a:pt x="74" y="64"/>
                      <a:pt x="70" y="63"/>
                    </a:cubicBezTo>
                    <a:cubicBezTo>
                      <a:pt x="66" y="63"/>
                      <a:pt x="64" y="60"/>
                      <a:pt x="60" y="60"/>
                    </a:cubicBezTo>
                    <a:cubicBezTo>
                      <a:pt x="56" y="60"/>
                      <a:pt x="53" y="62"/>
                      <a:pt x="50" y="58"/>
                    </a:cubicBezTo>
                    <a:cubicBezTo>
                      <a:pt x="47" y="54"/>
                      <a:pt x="43" y="45"/>
                      <a:pt x="39" y="43"/>
                    </a:cubicBezTo>
                    <a:cubicBezTo>
                      <a:pt x="36" y="41"/>
                      <a:pt x="30" y="39"/>
                      <a:pt x="26" y="39"/>
                    </a:cubicBezTo>
                    <a:cubicBezTo>
                      <a:pt x="23" y="39"/>
                      <a:pt x="19" y="42"/>
                      <a:pt x="18" y="43"/>
                    </a:cubicBezTo>
                    <a:cubicBezTo>
                      <a:pt x="17" y="44"/>
                      <a:pt x="22" y="48"/>
                      <a:pt x="20" y="49"/>
                    </a:cubicBezTo>
                    <a:cubicBezTo>
                      <a:pt x="17" y="50"/>
                      <a:pt x="13" y="52"/>
                      <a:pt x="11" y="52"/>
                    </a:cubicBezTo>
                    <a:cubicBezTo>
                      <a:pt x="8" y="51"/>
                      <a:pt x="3" y="52"/>
                      <a:pt x="0" y="5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57" name="Freeform 14"/>
            <p:cNvSpPr>
              <a:spLocks/>
            </p:cNvSpPr>
            <p:nvPr/>
          </p:nvSpPr>
          <p:spPr bwMode="auto">
            <a:xfrm>
              <a:off x="8381189" y="3860549"/>
              <a:ext cx="77445" cy="103459"/>
            </a:xfrm>
            <a:custGeom>
              <a:avLst/>
              <a:gdLst>
                <a:gd name="T0" fmla="*/ 20892 w 28"/>
                <a:gd name="T1" fmla="*/ 3763 h 39"/>
                <a:gd name="T2" fmla="*/ 12717 w 28"/>
                <a:gd name="T3" fmla="*/ 2076 h 39"/>
                <a:gd name="T4" fmla="*/ 25913 w 28"/>
                <a:gd name="T5" fmla="*/ 701 h 39"/>
                <a:gd name="T6" fmla="*/ 53426 w 28"/>
                <a:gd name="T7" fmla="*/ 0 h 39"/>
                <a:gd name="T8" fmla="*/ 61436 w 28"/>
                <a:gd name="T9" fmla="*/ 1446 h 39"/>
                <a:gd name="T10" fmla="*/ 79334 w 28"/>
                <a:gd name="T11" fmla="*/ 5060 h 39"/>
                <a:gd name="T12" fmla="*/ 74200 w 28"/>
                <a:gd name="T13" fmla="*/ 8825 h 39"/>
                <a:gd name="T14" fmla="*/ 66864 w 28"/>
                <a:gd name="T15" fmla="*/ 10278 h 39"/>
                <a:gd name="T16" fmla="*/ 36728 w 28"/>
                <a:gd name="T17" fmla="*/ 11140 h 39"/>
                <a:gd name="T18" fmla="*/ 13608 w 28"/>
                <a:gd name="T19" fmla="*/ 12672 h 39"/>
                <a:gd name="T20" fmla="*/ 3069 w 28"/>
                <a:gd name="T21" fmla="*/ 10590 h 39"/>
                <a:gd name="T22" fmla="*/ 13608 w 28"/>
                <a:gd name="T23" fmla="*/ 7758 h 39"/>
                <a:gd name="T24" fmla="*/ 5042 w 28"/>
                <a:gd name="T25" fmla="*/ 5136 h 39"/>
                <a:gd name="T26" fmla="*/ 20892 w 28"/>
                <a:gd name="T27" fmla="*/ 3763 h 3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8" h="39">
                  <a:moveTo>
                    <a:pt x="7" y="12"/>
                  </a:moveTo>
                  <a:cubicBezTo>
                    <a:pt x="6" y="11"/>
                    <a:pt x="4" y="6"/>
                    <a:pt x="4" y="6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4" y="6"/>
                    <a:pt x="28" y="12"/>
                    <a:pt x="28" y="15"/>
                  </a:cubicBezTo>
                  <a:cubicBezTo>
                    <a:pt x="28" y="18"/>
                    <a:pt x="27" y="26"/>
                    <a:pt x="26" y="27"/>
                  </a:cubicBezTo>
                  <a:cubicBezTo>
                    <a:pt x="26" y="28"/>
                    <a:pt x="26" y="31"/>
                    <a:pt x="24" y="31"/>
                  </a:cubicBezTo>
                  <a:cubicBezTo>
                    <a:pt x="21" y="31"/>
                    <a:pt x="15" y="33"/>
                    <a:pt x="13" y="34"/>
                  </a:cubicBezTo>
                  <a:cubicBezTo>
                    <a:pt x="10" y="35"/>
                    <a:pt x="7" y="39"/>
                    <a:pt x="5" y="39"/>
                  </a:cubicBezTo>
                  <a:cubicBezTo>
                    <a:pt x="3" y="38"/>
                    <a:pt x="2" y="36"/>
                    <a:pt x="1" y="33"/>
                  </a:cubicBezTo>
                  <a:cubicBezTo>
                    <a:pt x="0" y="31"/>
                    <a:pt x="5" y="26"/>
                    <a:pt x="5" y="24"/>
                  </a:cubicBezTo>
                  <a:cubicBezTo>
                    <a:pt x="5" y="23"/>
                    <a:pt x="1" y="18"/>
                    <a:pt x="2" y="16"/>
                  </a:cubicBezTo>
                  <a:cubicBezTo>
                    <a:pt x="3" y="14"/>
                    <a:pt x="7" y="13"/>
                    <a:pt x="7" y="12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15"/>
            <p:cNvSpPr>
              <a:spLocks/>
            </p:cNvSpPr>
            <p:nvPr/>
          </p:nvSpPr>
          <p:spPr bwMode="auto">
            <a:xfrm>
              <a:off x="8344150" y="3753395"/>
              <a:ext cx="136370" cy="123781"/>
            </a:xfrm>
            <a:custGeom>
              <a:avLst/>
              <a:gdLst>
                <a:gd name="T0" fmla="*/ 0 w 49"/>
                <a:gd name="T1" fmla="*/ 8287 h 47"/>
                <a:gd name="T2" fmla="*/ 5369 w 49"/>
                <a:gd name="T3" fmla="*/ 7647 h 47"/>
                <a:gd name="T4" fmla="*/ 31750 w 49"/>
                <a:gd name="T5" fmla="*/ 6127 h 47"/>
                <a:gd name="T6" fmla="*/ 52485 w 49"/>
                <a:gd name="T7" fmla="*/ 3820 h 47"/>
                <a:gd name="T8" fmla="*/ 84088 w 49"/>
                <a:gd name="T9" fmla="*/ 4078 h 47"/>
                <a:gd name="T10" fmla="*/ 90330 w 49"/>
                <a:gd name="T11" fmla="*/ 2861 h 47"/>
                <a:gd name="T12" fmla="*/ 114856 w 49"/>
                <a:gd name="T13" fmla="*/ 2007 h 47"/>
                <a:gd name="T14" fmla="*/ 132693 w 49"/>
                <a:gd name="T15" fmla="*/ 0 h 47"/>
                <a:gd name="T16" fmla="*/ 143421 w 49"/>
                <a:gd name="T17" fmla="*/ 0 h 47"/>
                <a:gd name="T18" fmla="*/ 152829 w 49"/>
                <a:gd name="T19" fmla="*/ 2007 h 47"/>
                <a:gd name="T20" fmla="*/ 146527 w 49"/>
                <a:gd name="T21" fmla="*/ 2334 h 47"/>
                <a:gd name="T22" fmla="*/ 127411 w 49"/>
                <a:gd name="T23" fmla="*/ 4298 h 47"/>
                <a:gd name="T24" fmla="*/ 129534 w 49"/>
                <a:gd name="T25" fmla="*/ 5813 h 47"/>
                <a:gd name="T26" fmla="*/ 106394 w 49"/>
                <a:gd name="T27" fmla="*/ 7647 h 47"/>
                <a:gd name="T28" fmla="*/ 80271 w 49"/>
                <a:gd name="T29" fmla="*/ 8974 h 47"/>
                <a:gd name="T30" fmla="*/ 86761 w 49"/>
                <a:gd name="T31" fmla="*/ 10431 h 47"/>
                <a:gd name="T32" fmla="*/ 99896 w 49"/>
                <a:gd name="T33" fmla="*/ 11813 h 47"/>
                <a:gd name="T34" fmla="*/ 68296 w 49"/>
                <a:gd name="T35" fmla="*/ 12451 h 47"/>
                <a:gd name="T36" fmla="*/ 52485 w 49"/>
                <a:gd name="T37" fmla="*/ 13739 h 47"/>
                <a:gd name="T38" fmla="*/ 14671 w 49"/>
                <a:gd name="T39" fmla="*/ 13022 h 47"/>
                <a:gd name="T40" fmla="*/ 24252 w 49"/>
                <a:gd name="T41" fmla="*/ 11471 h 47"/>
                <a:gd name="T42" fmla="*/ 22868 w 49"/>
                <a:gd name="T43" fmla="*/ 9423 h 47"/>
                <a:gd name="T44" fmla="*/ 0 w 49"/>
                <a:gd name="T45" fmla="*/ 8287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9" h="47">
                  <a:moveTo>
                    <a:pt x="0" y="29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8" y="22"/>
                    <a:pt x="10" y="21"/>
                  </a:cubicBezTo>
                  <a:cubicBezTo>
                    <a:pt x="12" y="20"/>
                    <a:pt x="14" y="15"/>
                    <a:pt x="17" y="13"/>
                  </a:cubicBezTo>
                  <a:cubicBezTo>
                    <a:pt x="20" y="11"/>
                    <a:pt x="25" y="14"/>
                    <a:pt x="27" y="14"/>
                  </a:cubicBezTo>
                  <a:cubicBezTo>
                    <a:pt x="30" y="14"/>
                    <a:pt x="28" y="11"/>
                    <a:pt x="29" y="10"/>
                  </a:cubicBezTo>
                  <a:cubicBezTo>
                    <a:pt x="30" y="9"/>
                    <a:pt x="35" y="7"/>
                    <a:pt x="37" y="7"/>
                  </a:cubicBezTo>
                  <a:cubicBezTo>
                    <a:pt x="38" y="6"/>
                    <a:pt x="40" y="1"/>
                    <a:pt x="43" y="0"/>
                  </a:cubicBezTo>
                  <a:cubicBezTo>
                    <a:pt x="44" y="0"/>
                    <a:pt x="45" y="0"/>
                    <a:pt x="46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9"/>
                    <a:pt x="41" y="13"/>
                    <a:pt x="41" y="15"/>
                  </a:cubicBezTo>
                  <a:cubicBezTo>
                    <a:pt x="41" y="17"/>
                    <a:pt x="44" y="18"/>
                    <a:pt x="42" y="20"/>
                  </a:cubicBezTo>
                  <a:cubicBezTo>
                    <a:pt x="39" y="21"/>
                    <a:pt x="35" y="25"/>
                    <a:pt x="34" y="26"/>
                  </a:cubicBezTo>
                  <a:cubicBezTo>
                    <a:pt x="32" y="27"/>
                    <a:pt x="27" y="28"/>
                    <a:pt x="26" y="31"/>
                  </a:cubicBezTo>
                  <a:cubicBezTo>
                    <a:pt x="26" y="33"/>
                    <a:pt x="25" y="35"/>
                    <a:pt x="28" y="36"/>
                  </a:cubicBezTo>
                  <a:cubicBezTo>
                    <a:pt x="29" y="37"/>
                    <a:pt x="30" y="39"/>
                    <a:pt x="32" y="41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8" y="46"/>
                    <a:pt x="5" y="45"/>
                  </a:cubicBezTo>
                  <a:cubicBezTo>
                    <a:pt x="1" y="44"/>
                    <a:pt x="8" y="41"/>
                    <a:pt x="8" y="39"/>
                  </a:cubicBezTo>
                  <a:cubicBezTo>
                    <a:pt x="8" y="38"/>
                    <a:pt x="10" y="33"/>
                    <a:pt x="7" y="32"/>
                  </a:cubicBezTo>
                  <a:cubicBezTo>
                    <a:pt x="6" y="31"/>
                    <a:pt x="3" y="30"/>
                    <a:pt x="0" y="29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16"/>
            <p:cNvSpPr>
              <a:spLocks/>
            </p:cNvSpPr>
            <p:nvPr/>
          </p:nvSpPr>
          <p:spPr bwMode="auto">
            <a:xfrm>
              <a:off x="8254920" y="4159840"/>
              <a:ext cx="42090" cy="70204"/>
            </a:xfrm>
            <a:custGeom>
              <a:avLst/>
              <a:gdLst>
                <a:gd name="T0" fmla="*/ 0 w 15"/>
                <a:gd name="T1" fmla="*/ 4114 h 27"/>
                <a:gd name="T2" fmla="*/ 32255 w 15"/>
                <a:gd name="T3" fmla="*/ 0 h 27"/>
                <a:gd name="T4" fmla="*/ 48325 w 15"/>
                <a:gd name="T5" fmla="*/ 460 h 27"/>
                <a:gd name="T6" fmla="*/ 32255 w 15"/>
                <a:gd name="T7" fmla="*/ 4114 h 27"/>
                <a:gd name="T8" fmla="*/ 21542 w 15"/>
                <a:gd name="T9" fmla="*/ 6423 h 27"/>
                <a:gd name="T10" fmla="*/ 0 w 15"/>
                <a:gd name="T11" fmla="*/ 4114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27">
                  <a:moveTo>
                    <a:pt x="0" y="17"/>
                  </a:moveTo>
                  <a:cubicBezTo>
                    <a:pt x="0" y="14"/>
                    <a:pt x="6" y="2"/>
                    <a:pt x="9" y="0"/>
                  </a:cubicBezTo>
                  <a:cubicBezTo>
                    <a:pt x="9" y="0"/>
                    <a:pt x="14" y="0"/>
                    <a:pt x="14" y="2"/>
                  </a:cubicBezTo>
                  <a:cubicBezTo>
                    <a:pt x="15" y="4"/>
                    <a:pt x="12" y="15"/>
                    <a:pt x="9" y="17"/>
                  </a:cubicBezTo>
                  <a:cubicBezTo>
                    <a:pt x="7" y="19"/>
                    <a:pt x="8" y="26"/>
                    <a:pt x="6" y="27"/>
                  </a:cubicBezTo>
                  <a:cubicBezTo>
                    <a:pt x="4" y="27"/>
                    <a:pt x="1" y="19"/>
                    <a:pt x="0" y="1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360" name="Group 17"/>
            <p:cNvGrpSpPr>
              <a:grpSpLocks/>
            </p:cNvGrpSpPr>
            <p:nvPr/>
          </p:nvGrpSpPr>
          <p:grpSpPr bwMode="auto">
            <a:xfrm>
              <a:off x="8106765" y="4884051"/>
              <a:ext cx="865362" cy="726058"/>
              <a:chOff x="4469" y="2724"/>
              <a:chExt cx="627" cy="559"/>
            </a:xfrm>
          </p:grpSpPr>
          <p:sp>
            <p:nvSpPr>
              <p:cNvPr id="623" name="Freeform 18"/>
              <p:cNvSpPr>
                <a:spLocks/>
              </p:cNvSpPr>
              <p:nvPr/>
            </p:nvSpPr>
            <p:spPr bwMode="auto">
              <a:xfrm>
                <a:off x="4954" y="3227"/>
                <a:ext cx="61" cy="56"/>
              </a:xfrm>
              <a:custGeom>
                <a:avLst/>
                <a:gdLst>
                  <a:gd name="T0" fmla="*/ 80923 w 30"/>
                  <a:gd name="T1" fmla="*/ 458752 h 28"/>
                  <a:gd name="T2" fmla="*/ 80923 w 30"/>
                  <a:gd name="T3" fmla="*/ 65536 h 28"/>
                  <a:gd name="T4" fmla="*/ 499082 w 30"/>
                  <a:gd name="T5" fmla="*/ 131072 h 28"/>
                  <a:gd name="T6" fmla="*/ 1299953 w 30"/>
                  <a:gd name="T7" fmla="*/ 327680 h 28"/>
                  <a:gd name="T8" fmla="*/ 2141724 w 30"/>
                  <a:gd name="T9" fmla="*/ 65536 h 28"/>
                  <a:gd name="T10" fmla="*/ 2478698 w 30"/>
                  <a:gd name="T11" fmla="*/ 131072 h 28"/>
                  <a:gd name="T12" fmla="*/ 2478698 w 30"/>
                  <a:gd name="T13" fmla="*/ 917504 h 28"/>
                  <a:gd name="T14" fmla="*/ 2232687 w 30"/>
                  <a:gd name="T15" fmla="*/ 1179648 h 28"/>
                  <a:gd name="T16" fmla="*/ 2141724 w 30"/>
                  <a:gd name="T17" fmla="*/ 1507328 h 28"/>
                  <a:gd name="T18" fmla="*/ 1797843 w 30"/>
                  <a:gd name="T19" fmla="*/ 1507328 h 28"/>
                  <a:gd name="T20" fmla="*/ 1463904 w 30"/>
                  <a:gd name="T21" fmla="*/ 1835008 h 28"/>
                  <a:gd name="T22" fmla="*/ 933959 w 30"/>
                  <a:gd name="T23" fmla="*/ 1703936 h 28"/>
                  <a:gd name="T24" fmla="*/ 415140 w 30"/>
                  <a:gd name="T25" fmla="*/ 1114112 h 28"/>
                  <a:gd name="T26" fmla="*/ 499082 w 30"/>
                  <a:gd name="T27" fmla="*/ 786432 h 28"/>
                  <a:gd name="T28" fmla="*/ 80923 w 30"/>
                  <a:gd name="T29" fmla="*/ 458752 h 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0" h="28">
                    <a:moveTo>
                      <a:pt x="1" y="7"/>
                    </a:moveTo>
                    <a:cubicBezTo>
                      <a:pt x="1" y="5"/>
                      <a:pt x="0" y="2"/>
                      <a:pt x="1" y="1"/>
                    </a:cubicBezTo>
                    <a:cubicBezTo>
                      <a:pt x="2" y="0"/>
                      <a:pt x="5" y="1"/>
                      <a:pt x="6" y="2"/>
                    </a:cubicBezTo>
                    <a:cubicBezTo>
                      <a:pt x="8" y="3"/>
                      <a:pt x="12" y="5"/>
                      <a:pt x="15" y="5"/>
                    </a:cubicBezTo>
                    <a:cubicBezTo>
                      <a:pt x="18" y="5"/>
                      <a:pt x="24" y="1"/>
                      <a:pt x="25" y="1"/>
                    </a:cubicBezTo>
                    <a:cubicBezTo>
                      <a:pt x="26" y="1"/>
                      <a:pt x="28" y="1"/>
                      <a:pt x="29" y="2"/>
                    </a:cubicBezTo>
                    <a:cubicBezTo>
                      <a:pt x="30" y="3"/>
                      <a:pt x="30" y="13"/>
                      <a:pt x="29" y="14"/>
                    </a:cubicBezTo>
                    <a:cubicBezTo>
                      <a:pt x="28" y="15"/>
                      <a:pt x="26" y="17"/>
                      <a:pt x="26" y="18"/>
                    </a:cubicBezTo>
                    <a:cubicBezTo>
                      <a:pt x="26" y="20"/>
                      <a:pt x="26" y="23"/>
                      <a:pt x="25" y="23"/>
                    </a:cubicBezTo>
                    <a:cubicBezTo>
                      <a:pt x="23" y="24"/>
                      <a:pt x="22" y="22"/>
                      <a:pt x="21" y="23"/>
                    </a:cubicBezTo>
                    <a:cubicBezTo>
                      <a:pt x="20" y="24"/>
                      <a:pt x="19" y="28"/>
                      <a:pt x="17" y="28"/>
                    </a:cubicBezTo>
                    <a:cubicBezTo>
                      <a:pt x="15" y="28"/>
                      <a:pt x="12" y="27"/>
                      <a:pt x="11" y="26"/>
                    </a:cubicBezTo>
                    <a:cubicBezTo>
                      <a:pt x="9" y="24"/>
                      <a:pt x="5" y="18"/>
                      <a:pt x="5" y="17"/>
                    </a:cubicBezTo>
                    <a:cubicBezTo>
                      <a:pt x="5" y="15"/>
                      <a:pt x="8" y="14"/>
                      <a:pt x="6" y="12"/>
                    </a:cubicBezTo>
                    <a:cubicBezTo>
                      <a:pt x="5" y="10"/>
                      <a:pt x="2" y="9"/>
                      <a:pt x="1" y="7"/>
                    </a:cubicBezTo>
                    <a:close/>
                  </a:path>
                </a:pathLst>
              </a:custGeom>
              <a:pattFill prst="dkUpDiag">
                <a:fgClr>
                  <a:srgbClr val="969696"/>
                </a:fgClr>
                <a:bgClr>
                  <a:schemeClr val="bg1"/>
                </a:bgClr>
              </a:patt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4" name="Freeform 19"/>
              <p:cNvSpPr>
                <a:spLocks/>
              </p:cNvSpPr>
              <p:nvPr/>
            </p:nvSpPr>
            <p:spPr bwMode="auto">
              <a:xfrm>
                <a:off x="4469" y="2724"/>
                <a:ext cx="627" cy="474"/>
              </a:xfrm>
              <a:custGeom>
                <a:avLst/>
                <a:gdLst>
                  <a:gd name="T0" fmla="*/ 1402550 w 310"/>
                  <a:gd name="T1" fmla="*/ 15583793 h 234"/>
                  <a:gd name="T2" fmla="*/ 1092208 w 310"/>
                  <a:gd name="T3" fmla="*/ 14876316 h 234"/>
                  <a:gd name="T4" fmla="*/ 1554857 w 310"/>
                  <a:gd name="T5" fmla="*/ 14393498 h 234"/>
                  <a:gd name="T6" fmla="*/ 1092208 w 310"/>
                  <a:gd name="T7" fmla="*/ 12613914 h 234"/>
                  <a:gd name="T8" fmla="*/ 150039 w 310"/>
                  <a:gd name="T9" fmla="*/ 10199439 h 234"/>
                  <a:gd name="T10" fmla="*/ 74182 w 310"/>
                  <a:gd name="T11" fmla="*/ 8692161 h 234"/>
                  <a:gd name="T12" fmla="*/ 613784 w 310"/>
                  <a:gd name="T13" fmla="*/ 7143577 h 234"/>
                  <a:gd name="T14" fmla="*/ 2282185 w 310"/>
                  <a:gd name="T15" fmla="*/ 6266855 h 234"/>
                  <a:gd name="T16" fmla="*/ 4701889 w 310"/>
                  <a:gd name="T17" fmla="*/ 5798177 h 234"/>
                  <a:gd name="T18" fmla="*/ 5496634 w 310"/>
                  <a:gd name="T19" fmla="*/ 4090715 h 234"/>
                  <a:gd name="T20" fmla="*/ 6444468 w 310"/>
                  <a:gd name="T21" fmla="*/ 4410438 h 234"/>
                  <a:gd name="T22" fmla="*/ 7443621 w 310"/>
                  <a:gd name="T23" fmla="*/ 2423605 h 234"/>
                  <a:gd name="T24" fmla="*/ 9410273 w 310"/>
                  <a:gd name="T25" fmla="*/ 2820484 h 234"/>
                  <a:gd name="T26" fmla="*/ 9818571 w 310"/>
                  <a:gd name="T27" fmla="*/ 2177305 h 234"/>
                  <a:gd name="T28" fmla="*/ 10890842 w 310"/>
                  <a:gd name="T29" fmla="*/ 1036395 h 234"/>
                  <a:gd name="T30" fmla="*/ 11829087 w 310"/>
                  <a:gd name="T31" fmla="*/ 395792 h 234"/>
                  <a:gd name="T32" fmla="*/ 13877654 w 310"/>
                  <a:gd name="T33" fmla="*/ 707573 h 234"/>
                  <a:gd name="T34" fmla="*/ 13804008 w 310"/>
                  <a:gd name="T35" fmla="*/ 1941547 h 234"/>
                  <a:gd name="T36" fmla="*/ 14266950 w 310"/>
                  <a:gd name="T37" fmla="*/ 3364723 h 234"/>
                  <a:gd name="T38" fmla="*/ 15583151 w 310"/>
                  <a:gd name="T39" fmla="*/ 3760434 h 234"/>
                  <a:gd name="T40" fmla="*/ 16482778 w 310"/>
                  <a:gd name="T41" fmla="*/ 4486151 h 234"/>
                  <a:gd name="T42" fmla="*/ 17027219 w 310"/>
                  <a:gd name="T43" fmla="*/ 2253289 h 234"/>
                  <a:gd name="T44" fmla="*/ 17101455 w 310"/>
                  <a:gd name="T45" fmla="*/ 1112383 h 234"/>
                  <a:gd name="T46" fmla="*/ 17411703 w 310"/>
                  <a:gd name="T47" fmla="*/ 0 h 234"/>
                  <a:gd name="T48" fmla="*/ 17944661 w 310"/>
                  <a:gd name="T49" fmla="*/ 879082 h 234"/>
                  <a:gd name="T50" fmla="*/ 18352743 w 310"/>
                  <a:gd name="T51" fmla="*/ 2504201 h 234"/>
                  <a:gd name="T52" fmla="*/ 19309403 w 310"/>
                  <a:gd name="T53" fmla="*/ 2820484 h 234"/>
                  <a:gd name="T54" fmla="*/ 19689471 w 310"/>
                  <a:gd name="T55" fmla="*/ 4165263 h 234"/>
                  <a:gd name="T56" fmla="*/ 20097102 w 310"/>
                  <a:gd name="T57" fmla="*/ 5483082 h 234"/>
                  <a:gd name="T58" fmla="*/ 21489630 w 310"/>
                  <a:gd name="T59" fmla="*/ 6580919 h 234"/>
                  <a:gd name="T60" fmla="*/ 22182261 w 310"/>
                  <a:gd name="T61" fmla="*/ 7221497 h 234"/>
                  <a:gd name="T62" fmla="*/ 22608742 w 310"/>
                  <a:gd name="T63" fmla="*/ 8286320 h 234"/>
                  <a:gd name="T64" fmla="*/ 23544663 w 310"/>
                  <a:gd name="T65" fmla="*/ 9245745 h 234"/>
                  <a:gd name="T66" fmla="*/ 24001712 w 310"/>
                  <a:gd name="T67" fmla="*/ 10519421 h 234"/>
                  <a:gd name="T68" fmla="*/ 24076452 w 310"/>
                  <a:gd name="T69" fmla="*/ 12374607 h 234"/>
                  <a:gd name="T70" fmla="*/ 23310606 w 310"/>
                  <a:gd name="T71" fmla="*/ 14393498 h 234"/>
                  <a:gd name="T72" fmla="*/ 22333459 w 310"/>
                  <a:gd name="T73" fmla="*/ 16383733 h 234"/>
                  <a:gd name="T74" fmla="*/ 21728509 w 310"/>
                  <a:gd name="T75" fmla="*/ 18021296 h 234"/>
                  <a:gd name="T76" fmla="*/ 19932532 w 310"/>
                  <a:gd name="T77" fmla="*/ 18804536 h 234"/>
                  <a:gd name="T78" fmla="*/ 18808704 w 310"/>
                  <a:gd name="T79" fmla="*/ 18329730 h 234"/>
                  <a:gd name="T80" fmla="*/ 17251503 w 310"/>
                  <a:gd name="T81" fmla="*/ 18329730 h 234"/>
                  <a:gd name="T82" fmla="*/ 15935027 w 310"/>
                  <a:gd name="T83" fmla="*/ 17449188 h 234"/>
                  <a:gd name="T84" fmla="*/ 15203199 w 310"/>
                  <a:gd name="T85" fmla="*/ 16308286 h 234"/>
                  <a:gd name="T86" fmla="*/ 15128442 w 310"/>
                  <a:gd name="T87" fmla="*/ 15583793 h 234"/>
                  <a:gd name="T88" fmla="*/ 14665708 w 310"/>
                  <a:gd name="T89" fmla="*/ 16059254 h 234"/>
                  <a:gd name="T90" fmla="*/ 14266950 w 310"/>
                  <a:gd name="T91" fmla="*/ 15749687 h 234"/>
                  <a:gd name="T92" fmla="*/ 14899557 w 310"/>
                  <a:gd name="T93" fmla="*/ 14965865 h 234"/>
                  <a:gd name="T94" fmla="*/ 14414813 w 310"/>
                  <a:gd name="T95" fmla="*/ 14876316 h 234"/>
                  <a:gd name="T96" fmla="*/ 13423924 w 310"/>
                  <a:gd name="T97" fmla="*/ 15901252 h 234"/>
                  <a:gd name="T98" fmla="*/ 12561389 w 310"/>
                  <a:gd name="T99" fmla="*/ 14550816 h 234"/>
                  <a:gd name="T100" fmla="*/ 12059528 w 310"/>
                  <a:gd name="T101" fmla="*/ 13959853 h 234"/>
                  <a:gd name="T102" fmla="*/ 10742963 w 310"/>
                  <a:gd name="T103" fmla="*/ 13498319 h 234"/>
                  <a:gd name="T104" fmla="*/ 8608657 w 310"/>
                  <a:gd name="T105" fmla="*/ 14164402 h 234"/>
                  <a:gd name="T106" fmla="*/ 6673715 w 310"/>
                  <a:gd name="T107" fmla="*/ 14550816 h 234"/>
                  <a:gd name="T108" fmla="*/ 5347675 w 310"/>
                  <a:gd name="T109" fmla="*/ 15276512 h 234"/>
                  <a:gd name="T110" fmla="*/ 3299604 w 310"/>
                  <a:gd name="T111" fmla="*/ 15825671 h 234"/>
                  <a:gd name="T112" fmla="*/ 1706156 w 310"/>
                  <a:gd name="T113" fmla="*/ 15825671 h 23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310" h="234">
                    <a:moveTo>
                      <a:pt x="22" y="197"/>
                    </a:moveTo>
                    <a:cubicBezTo>
                      <a:pt x="21" y="196"/>
                      <a:pt x="19" y="194"/>
                      <a:pt x="18" y="194"/>
                    </a:cubicBezTo>
                    <a:cubicBezTo>
                      <a:pt x="17" y="194"/>
                      <a:pt x="16" y="194"/>
                      <a:pt x="14" y="193"/>
                    </a:cubicBezTo>
                    <a:cubicBezTo>
                      <a:pt x="13" y="193"/>
                      <a:pt x="14" y="186"/>
                      <a:pt x="14" y="185"/>
                    </a:cubicBezTo>
                    <a:cubicBezTo>
                      <a:pt x="14" y="183"/>
                      <a:pt x="18" y="186"/>
                      <a:pt x="19" y="186"/>
                    </a:cubicBezTo>
                    <a:cubicBezTo>
                      <a:pt x="19" y="185"/>
                      <a:pt x="20" y="181"/>
                      <a:pt x="20" y="179"/>
                    </a:cubicBezTo>
                    <a:cubicBezTo>
                      <a:pt x="20" y="177"/>
                      <a:pt x="20" y="174"/>
                      <a:pt x="20" y="174"/>
                    </a:cubicBezTo>
                    <a:cubicBezTo>
                      <a:pt x="19" y="167"/>
                      <a:pt x="15" y="162"/>
                      <a:pt x="14" y="157"/>
                    </a:cubicBezTo>
                    <a:cubicBezTo>
                      <a:pt x="13" y="152"/>
                      <a:pt x="13" y="146"/>
                      <a:pt x="11" y="142"/>
                    </a:cubicBezTo>
                    <a:cubicBezTo>
                      <a:pt x="8" y="138"/>
                      <a:pt x="3" y="129"/>
                      <a:pt x="2" y="127"/>
                    </a:cubicBezTo>
                    <a:cubicBezTo>
                      <a:pt x="1" y="125"/>
                      <a:pt x="9" y="125"/>
                      <a:pt x="9" y="122"/>
                    </a:cubicBezTo>
                    <a:cubicBezTo>
                      <a:pt x="7" y="118"/>
                      <a:pt x="0" y="110"/>
                      <a:pt x="1" y="108"/>
                    </a:cubicBezTo>
                    <a:cubicBezTo>
                      <a:pt x="2" y="106"/>
                      <a:pt x="7" y="104"/>
                      <a:pt x="6" y="100"/>
                    </a:cubicBezTo>
                    <a:cubicBezTo>
                      <a:pt x="5" y="96"/>
                      <a:pt x="7" y="90"/>
                      <a:pt x="8" y="89"/>
                    </a:cubicBezTo>
                    <a:cubicBezTo>
                      <a:pt x="9" y="88"/>
                      <a:pt x="18" y="86"/>
                      <a:pt x="21" y="83"/>
                    </a:cubicBezTo>
                    <a:cubicBezTo>
                      <a:pt x="23" y="81"/>
                      <a:pt x="27" y="78"/>
                      <a:pt x="29" y="78"/>
                    </a:cubicBezTo>
                    <a:cubicBezTo>
                      <a:pt x="31" y="78"/>
                      <a:pt x="35" y="79"/>
                      <a:pt x="39" y="78"/>
                    </a:cubicBezTo>
                    <a:cubicBezTo>
                      <a:pt x="42" y="78"/>
                      <a:pt x="58" y="74"/>
                      <a:pt x="60" y="72"/>
                    </a:cubicBezTo>
                    <a:cubicBezTo>
                      <a:pt x="61" y="71"/>
                      <a:pt x="69" y="61"/>
                      <a:pt x="69" y="58"/>
                    </a:cubicBezTo>
                    <a:cubicBezTo>
                      <a:pt x="69" y="56"/>
                      <a:pt x="69" y="52"/>
                      <a:pt x="70" y="51"/>
                    </a:cubicBezTo>
                    <a:cubicBezTo>
                      <a:pt x="71" y="50"/>
                      <a:pt x="75" y="46"/>
                      <a:pt x="76" y="45"/>
                    </a:cubicBezTo>
                    <a:cubicBezTo>
                      <a:pt x="77" y="45"/>
                      <a:pt x="81" y="55"/>
                      <a:pt x="82" y="55"/>
                    </a:cubicBezTo>
                    <a:cubicBezTo>
                      <a:pt x="82" y="54"/>
                      <a:pt x="84" y="42"/>
                      <a:pt x="86" y="40"/>
                    </a:cubicBezTo>
                    <a:cubicBezTo>
                      <a:pt x="88" y="37"/>
                      <a:pt x="93" y="31"/>
                      <a:pt x="95" y="30"/>
                    </a:cubicBezTo>
                    <a:cubicBezTo>
                      <a:pt x="97" y="29"/>
                      <a:pt x="105" y="26"/>
                      <a:pt x="107" y="27"/>
                    </a:cubicBezTo>
                    <a:cubicBezTo>
                      <a:pt x="108" y="27"/>
                      <a:pt x="118" y="35"/>
                      <a:pt x="120" y="35"/>
                    </a:cubicBezTo>
                    <a:cubicBezTo>
                      <a:pt x="122" y="36"/>
                      <a:pt x="126" y="36"/>
                      <a:pt x="127" y="35"/>
                    </a:cubicBezTo>
                    <a:cubicBezTo>
                      <a:pt x="128" y="34"/>
                      <a:pt x="125" y="28"/>
                      <a:pt x="125" y="27"/>
                    </a:cubicBezTo>
                    <a:cubicBezTo>
                      <a:pt x="126" y="27"/>
                      <a:pt x="131" y="17"/>
                      <a:pt x="133" y="16"/>
                    </a:cubicBezTo>
                    <a:cubicBezTo>
                      <a:pt x="135" y="15"/>
                      <a:pt x="137" y="13"/>
                      <a:pt x="139" y="13"/>
                    </a:cubicBezTo>
                    <a:cubicBezTo>
                      <a:pt x="140" y="13"/>
                      <a:pt x="146" y="14"/>
                      <a:pt x="147" y="13"/>
                    </a:cubicBezTo>
                    <a:cubicBezTo>
                      <a:pt x="149" y="12"/>
                      <a:pt x="149" y="5"/>
                      <a:pt x="151" y="5"/>
                    </a:cubicBezTo>
                    <a:cubicBezTo>
                      <a:pt x="153" y="5"/>
                      <a:pt x="158" y="9"/>
                      <a:pt x="162" y="11"/>
                    </a:cubicBezTo>
                    <a:cubicBezTo>
                      <a:pt x="167" y="12"/>
                      <a:pt x="175" y="10"/>
                      <a:pt x="177" y="9"/>
                    </a:cubicBezTo>
                    <a:cubicBezTo>
                      <a:pt x="178" y="8"/>
                      <a:pt x="181" y="13"/>
                      <a:pt x="183" y="14"/>
                    </a:cubicBezTo>
                    <a:cubicBezTo>
                      <a:pt x="185" y="15"/>
                      <a:pt x="176" y="23"/>
                      <a:pt x="176" y="24"/>
                    </a:cubicBezTo>
                    <a:cubicBezTo>
                      <a:pt x="175" y="26"/>
                      <a:pt x="171" y="34"/>
                      <a:pt x="170" y="34"/>
                    </a:cubicBezTo>
                    <a:cubicBezTo>
                      <a:pt x="170" y="35"/>
                      <a:pt x="181" y="41"/>
                      <a:pt x="182" y="42"/>
                    </a:cubicBezTo>
                    <a:cubicBezTo>
                      <a:pt x="184" y="44"/>
                      <a:pt x="189" y="46"/>
                      <a:pt x="191" y="47"/>
                    </a:cubicBezTo>
                    <a:cubicBezTo>
                      <a:pt x="192" y="48"/>
                      <a:pt x="198" y="47"/>
                      <a:pt x="199" y="47"/>
                    </a:cubicBezTo>
                    <a:cubicBezTo>
                      <a:pt x="201" y="48"/>
                      <a:pt x="199" y="53"/>
                      <a:pt x="200" y="53"/>
                    </a:cubicBezTo>
                    <a:cubicBezTo>
                      <a:pt x="201" y="54"/>
                      <a:pt x="207" y="58"/>
                      <a:pt x="210" y="56"/>
                    </a:cubicBezTo>
                    <a:cubicBezTo>
                      <a:pt x="213" y="54"/>
                      <a:pt x="216" y="45"/>
                      <a:pt x="216" y="41"/>
                    </a:cubicBezTo>
                    <a:cubicBezTo>
                      <a:pt x="216" y="38"/>
                      <a:pt x="217" y="31"/>
                      <a:pt x="217" y="28"/>
                    </a:cubicBezTo>
                    <a:cubicBezTo>
                      <a:pt x="217" y="26"/>
                      <a:pt x="219" y="20"/>
                      <a:pt x="219" y="19"/>
                    </a:cubicBezTo>
                    <a:cubicBezTo>
                      <a:pt x="220" y="17"/>
                      <a:pt x="217" y="15"/>
                      <a:pt x="218" y="14"/>
                    </a:cubicBezTo>
                    <a:cubicBezTo>
                      <a:pt x="219" y="13"/>
                      <a:pt x="220" y="10"/>
                      <a:pt x="220" y="8"/>
                    </a:cubicBezTo>
                    <a:cubicBezTo>
                      <a:pt x="221" y="6"/>
                      <a:pt x="221" y="1"/>
                      <a:pt x="222" y="0"/>
                    </a:cubicBezTo>
                    <a:cubicBezTo>
                      <a:pt x="222" y="0"/>
                      <a:pt x="226" y="2"/>
                      <a:pt x="226" y="3"/>
                    </a:cubicBezTo>
                    <a:cubicBezTo>
                      <a:pt x="227" y="4"/>
                      <a:pt x="228" y="9"/>
                      <a:pt x="229" y="11"/>
                    </a:cubicBezTo>
                    <a:cubicBezTo>
                      <a:pt x="229" y="13"/>
                      <a:pt x="232" y="20"/>
                      <a:pt x="232" y="22"/>
                    </a:cubicBezTo>
                    <a:cubicBezTo>
                      <a:pt x="233" y="24"/>
                      <a:pt x="232" y="30"/>
                      <a:pt x="234" y="31"/>
                    </a:cubicBezTo>
                    <a:cubicBezTo>
                      <a:pt x="236" y="31"/>
                      <a:pt x="238" y="28"/>
                      <a:pt x="240" y="29"/>
                    </a:cubicBezTo>
                    <a:cubicBezTo>
                      <a:pt x="242" y="30"/>
                      <a:pt x="245" y="34"/>
                      <a:pt x="246" y="35"/>
                    </a:cubicBezTo>
                    <a:cubicBezTo>
                      <a:pt x="247" y="36"/>
                      <a:pt x="246" y="41"/>
                      <a:pt x="246" y="44"/>
                    </a:cubicBezTo>
                    <a:cubicBezTo>
                      <a:pt x="247" y="47"/>
                      <a:pt x="250" y="50"/>
                      <a:pt x="251" y="52"/>
                    </a:cubicBezTo>
                    <a:cubicBezTo>
                      <a:pt x="252" y="54"/>
                      <a:pt x="251" y="59"/>
                      <a:pt x="252" y="61"/>
                    </a:cubicBezTo>
                    <a:cubicBezTo>
                      <a:pt x="252" y="62"/>
                      <a:pt x="253" y="66"/>
                      <a:pt x="256" y="68"/>
                    </a:cubicBezTo>
                    <a:cubicBezTo>
                      <a:pt x="259" y="70"/>
                      <a:pt x="272" y="75"/>
                      <a:pt x="273" y="77"/>
                    </a:cubicBezTo>
                    <a:cubicBezTo>
                      <a:pt x="274" y="78"/>
                      <a:pt x="273" y="81"/>
                      <a:pt x="274" y="82"/>
                    </a:cubicBezTo>
                    <a:cubicBezTo>
                      <a:pt x="275" y="84"/>
                      <a:pt x="278" y="93"/>
                      <a:pt x="279" y="94"/>
                    </a:cubicBezTo>
                    <a:cubicBezTo>
                      <a:pt x="280" y="94"/>
                      <a:pt x="282" y="89"/>
                      <a:pt x="283" y="90"/>
                    </a:cubicBezTo>
                    <a:cubicBezTo>
                      <a:pt x="285" y="91"/>
                      <a:pt x="287" y="93"/>
                      <a:pt x="288" y="95"/>
                    </a:cubicBezTo>
                    <a:cubicBezTo>
                      <a:pt x="288" y="96"/>
                      <a:pt x="287" y="102"/>
                      <a:pt x="288" y="103"/>
                    </a:cubicBezTo>
                    <a:cubicBezTo>
                      <a:pt x="290" y="104"/>
                      <a:pt x="294" y="106"/>
                      <a:pt x="295" y="108"/>
                    </a:cubicBezTo>
                    <a:cubicBezTo>
                      <a:pt x="297" y="109"/>
                      <a:pt x="299" y="114"/>
                      <a:pt x="300" y="115"/>
                    </a:cubicBezTo>
                    <a:cubicBezTo>
                      <a:pt x="302" y="116"/>
                      <a:pt x="306" y="115"/>
                      <a:pt x="306" y="116"/>
                    </a:cubicBezTo>
                    <a:cubicBezTo>
                      <a:pt x="306" y="117"/>
                      <a:pt x="306" y="128"/>
                      <a:pt x="306" y="131"/>
                    </a:cubicBezTo>
                    <a:cubicBezTo>
                      <a:pt x="307" y="133"/>
                      <a:pt x="309" y="141"/>
                      <a:pt x="310" y="143"/>
                    </a:cubicBezTo>
                    <a:cubicBezTo>
                      <a:pt x="310" y="146"/>
                      <a:pt x="307" y="151"/>
                      <a:pt x="307" y="154"/>
                    </a:cubicBezTo>
                    <a:cubicBezTo>
                      <a:pt x="306" y="157"/>
                      <a:pt x="305" y="169"/>
                      <a:pt x="304" y="170"/>
                    </a:cubicBezTo>
                    <a:cubicBezTo>
                      <a:pt x="303" y="172"/>
                      <a:pt x="299" y="178"/>
                      <a:pt x="297" y="179"/>
                    </a:cubicBezTo>
                    <a:cubicBezTo>
                      <a:pt x="295" y="181"/>
                      <a:pt x="292" y="187"/>
                      <a:pt x="290" y="190"/>
                    </a:cubicBezTo>
                    <a:cubicBezTo>
                      <a:pt x="289" y="193"/>
                      <a:pt x="286" y="201"/>
                      <a:pt x="285" y="204"/>
                    </a:cubicBezTo>
                    <a:cubicBezTo>
                      <a:pt x="284" y="206"/>
                      <a:pt x="282" y="220"/>
                      <a:pt x="282" y="221"/>
                    </a:cubicBezTo>
                    <a:cubicBezTo>
                      <a:pt x="281" y="222"/>
                      <a:pt x="278" y="224"/>
                      <a:pt x="277" y="224"/>
                    </a:cubicBezTo>
                    <a:cubicBezTo>
                      <a:pt x="276" y="224"/>
                      <a:pt x="267" y="223"/>
                      <a:pt x="264" y="225"/>
                    </a:cubicBezTo>
                    <a:cubicBezTo>
                      <a:pt x="261" y="227"/>
                      <a:pt x="256" y="234"/>
                      <a:pt x="254" y="234"/>
                    </a:cubicBezTo>
                    <a:cubicBezTo>
                      <a:pt x="252" y="234"/>
                      <a:pt x="249" y="232"/>
                      <a:pt x="247" y="230"/>
                    </a:cubicBezTo>
                    <a:cubicBezTo>
                      <a:pt x="245" y="229"/>
                      <a:pt x="243" y="227"/>
                      <a:pt x="240" y="228"/>
                    </a:cubicBezTo>
                    <a:cubicBezTo>
                      <a:pt x="237" y="228"/>
                      <a:pt x="234" y="233"/>
                      <a:pt x="232" y="233"/>
                    </a:cubicBezTo>
                    <a:cubicBezTo>
                      <a:pt x="230" y="232"/>
                      <a:pt x="223" y="227"/>
                      <a:pt x="220" y="228"/>
                    </a:cubicBezTo>
                    <a:cubicBezTo>
                      <a:pt x="217" y="228"/>
                      <a:pt x="215" y="229"/>
                      <a:pt x="212" y="228"/>
                    </a:cubicBezTo>
                    <a:cubicBezTo>
                      <a:pt x="210" y="226"/>
                      <a:pt x="203" y="219"/>
                      <a:pt x="203" y="217"/>
                    </a:cubicBezTo>
                    <a:cubicBezTo>
                      <a:pt x="203" y="215"/>
                      <a:pt x="206" y="213"/>
                      <a:pt x="203" y="210"/>
                    </a:cubicBezTo>
                    <a:cubicBezTo>
                      <a:pt x="201" y="207"/>
                      <a:pt x="197" y="203"/>
                      <a:pt x="194" y="203"/>
                    </a:cubicBezTo>
                    <a:cubicBezTo>
                      <a:pt x="192" y="203"/>
                      <a:pt x="193" y="201"/>
                      <a:pt x="194" y="200"/>
                    </a:cubicBezTo>
                    <a:cubicBezTo>
                      <a:pt x="194" y="198"/>
                      <a:pt x="194" y="196"/>
                      <a:pt x="193" y="194"/>
                    </a:cubicBezTo>
                    <a:cubicBezTo>
                      <a:pt x="192" y="192"/>
                      <a:pt x="191" y="192"/>
                      <a:pt x="190" y="193"/>
                    </a:cubicBezTo>
                    <a:cubicBezTo>
                      <a:pt x="189" y="194"/>
                      <a:pt x="188" y="200"/>
                      <a:pt x="187" y="200"/>
                    </a:cubicBezTo>
                    <a:cubicBezTo>
                      <a:pt x="186" y="201"/>
                      <a:pt x="182" y="201"/>
                      <a:pt x="181" y="201"/>
                    </a:cubicBezTo>
                    <a:cubicBezTo>
                      <a:pt x="180" y="200"/>
                      <a:pt x="182" y="196"/>
                      <a:pt x="182" y="196"/>
                    </a:cubicBezTo>
                    <a:cubicBezTo>
                      <a:pt x="182" y="195"/>
                      <a:pt x="186" y="189"/>
                      <a:pt x="187" y="188"/>
                    </a:cubicBezTo>
                    <a:cubicBezTo>
                      <a:pt x="188" y="187"/>
                      <a:pt x="189" y="187"/>
                      <a:pt x="190" y="186"/>
                    </a:cubicBezTo>
                    <a:cubicBezTo>
                      <a:pt x="191" y="185"/>
                      <a:pt x="189" y="175"/>
                      <a:pt x="188" y="174"/>
                    </a:cubicBezTo>
                    <a:cubicBezTo>
                      <a:pt x="188" y="174"/>
                      <a:pt x="184" y="184"/>
                      <a:pt x="184" y="185"/>
                    </a:cubicBezTo>
                    <a:cubicBezTo>
                      <a:pt x="183" y="185"/>
                      <a:pt x="177" y="190"/>
                      <a:pt x="176" y="191"/>
                    </a:cubicBezTo>
                    <a:cubicBezTo>
                      <a:pt x="174" y="193"/>
                      <a:pt x="172" y="198"/>
                      <a:pt x="171" y="198"/>
                    </a:cubicBezTo>
                    <a:cubicBezTo>
                      <a:pt x="170" y="198"/>
                      <a:pt x="168" y="187"/>
                      <a:pt x="165" y="185"/>
                    </a:cubicBezTo>
                    <a:cubicBezTo>
                      <a:pt x="163" y="182"/>
                      <a:pt x="161" y="182"/>
                      <a:pt x="160" y="181"/>
                    </a:cubicBezTo>
                    <a:cubicBezTo>
                      <a:pt x="159" y="179"/>
                      <a:pt x="161" y="176"/>
                      <a:pt x="160" y="176"/>
                    </a:cubicBezTo>
                    <a:cubicBezTo>
                      <a:pt x="159" y="175"/>
                      <a:pt x="156" y="174"/>
                      <a:pt x="154" y="174"/>
                    </a:cubicBezTo>
                    <a:cubicBezTo>
                      <a:pt x="152" y="174"/>
                      <a:pt x="147" y="174"/>
                      <a:pt x="146" y="173"/>
                    </a:cubicBezTo>
                    <a:cubicBezTo>
                      <a:pt x="144" y="172"/>
                      <a:pt x="140" y="168"/>
                      <a:pt x="137" y="168"/>
                    </a:cubicBezTo>
                    <a:cubicBezTo>
                      <a:pt x="134" y="169"/>
                      <a:pt x="125" y="169"/>
                      <a:pt x="122" y="170"/>
                    </a:cubicBezTo>
                    <a:cubicBezTo>
                      <a:pt x="120" y="171"/>
                      <a:pt x="112" y="176"/>
                      <a:pt x="110" y="176"/>
                    </a:cubicBezTo>
                    <a:cubicBezTo>
                      <a:pt x="108" y="176"/>
                      <a:pt x="102" y="175"/>
                      <a:pt x="99" y="176"/>
                    </a:cubicBezTo>
                    <a:cubicBezTo>
                      <a:pt x="96" y="176"/>
                      <a:pt x="86" y="180"/>
                      <a:pt x="85" y="181"/>
                    </a:cubicBezTo>
                    <a:cubicBezTo>
                      <a:pt x="84" y="183"/>
                      <a:pt x="82" y="189"/>
                      <a:pt x="79" y="189"/>
                    </a:cubicBezTo>
                    <a:cubicBezTo>
                      <a:pt x="77" y="190"/>
                      <a:pt x="71" y="190"/>
                      <a:pt x="68" y="190"/>
                    </a:cubicBezTo>
                    <a:cubicBezTo>
                      <a:pt x="65" y="189"/>
                      <a:pt x="55" y="188"/>
                      <a:pt x="52" y="189"/>
                    </a:cubicBezTo>
                    <a:cubicBezTo>
                      <a:pt x="50" y="191"/>
                      <a:pt x="45" y="195"/>
                      <a:pt x="42" y="197"/>
                    </a:cubicBezTo>
                    <a:cubicBezTo>
                      <a:pt x="38" y="198"/>
                      <a:pt x="36" y="200"/>
                      <a:pt x="32" y="200"/>
                    </a:cubicBezTo>
                    <a:cubicBezTo>
                      <a:pt x="27" y="199"/>
                      <a:pt x="23" y="198"/>
                      <a:pt x="22" y="197"/>
                    </a:cubicBezTo>
                    <a:close/>
                  </a:path>
                </a:pathLst>
              </a:custGeom>
              <a:pattFill prst="dkUpDiag">
                <a:fgClr>
                  <a:srgbClr val="969696"/>
                </a:fgClr>
                <a:bgClr>
                  <a:schemeClr val="bg1"/>
                </a:bgClr>
              </a:patt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61" name="Group 20"/>
            <p:cNvGrpSpPr>
              <a:grpSpLocks/>
            </p:cNvGrpSpPr>
            <p:nvPr/>
          </p:nvGrpSpPr>
          <p:grpSpPr bwMode="auto">
            <a:xfrm>
              <a:off x="8187577" y="4296553"/>
              <a:ext cx="207081" cy="264189"/>
              <a:chOff x="4527" y="2271"/>
              <a:chExt cx="150" cy="204"/>
            </a:xfrm>
            <a:solidFill>
              <a:srgbClr val="EBEBE3"/>
            </a:solidFill>
          </p:grpSpPr>
          <p:sp>
            <p:nvSpPr>
              <p:cNvPr id="616" name="Freeform 21"/>
              <p:cNvSpPr>
                <a:spLocks/>
              </p:cNvSpPr>
              <p:nvPr/>
            </p:nvSpPr>
            <p:spPr bwMode="auto">
              <a:xfrm>
                <a:off x="4641" y="2364"/>
                <a:ext cx="26" cy="39"/>
              </a:xfrm>
              <a:custGeom>
                <a:avLst/>
                <a:gdLst>
                  <a:gd name="T0" fmla="*/ 196608 w 13"/>
                  <a:gd name="T1" fmla="*/ 1791141 h 19"/>
                  <a:gd name="T2" fmla="*/ 0 w 13"/>
                  <a:gd name="T3" fmla="*/ 1504413 h 19"/>
                  <a:gd name="T4" fmla="*/ 65536 w 13"/>
                  <a:gd name="T5" fmla="*/ 1101040 h 19"/>
                  <a:gd name="T6" fmla="*/ 196608 w 13"/>
                  <a:gd name="T7" fmla="*/ 782182 h 19"/>
                  <a:gd name="T8" fmla="*/ 65536 w 13"/>
                  <a:gd name="T9" fmla="*/ 185646 h 19"/>
                  <a:gd name="T10" fmla="*/ 262144 w 13"/>
                  <a:gd name="T11" fmla="*/ 185646 h 19"/>
                  <a:gd name="T12" fmla="*/ 524288 w 13"/>
                  <a:gd name="T13" fmla="*/ 90443 h 19"/>
                  <a:gd name="T14" fmla="*/ 655360 w 13"/>
                  <a:gd name="T15" fmla="*/ 588030 h 19"/>
                  <a:gd name="T16" fmla="*/ 786432 w 13"/>
                  <a:gd name="T17" fmla="*/ 1297165 h 19"/>
                  <a:gd name="T18" fmla="*/ 458752 w 13"/>
                  <a:gd name="T19" fmla="*/ 1207009 h 19"/>
                  <a:gd name="T20" fmla="*/ 458752 w 13"/>
                  <a:gd name="T21" fmla="*/ 1605531 h 19"/>
                  <a:gd name="T22" fmla="*/ 196608 w 13"/>
                  <a:gd name="T23" fmla="*/ 1791141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3" h="19">
                    <a:moveTo>
                      <a:pt x="3" y="18"/>
                    </a:moveTo>
                    <a:cubicBezTo>
                      <a:pt x="3" y="18"/>
                      <a:pt x="0" y="16"/>
                      <a:pt x="0" y="15"/>
                    </a:cubicBezTo>
                    <a:cubicBezTo>
                      <a:pt x="0" y="13"/>
                      <a:pt x="0" y="12"/>
                      <a:pt x="1" y="11"/>
                    </a:cubicBezTo>
                    <a:cubicBezTo>
                      <a:pt x="2" y="9"/>
                      <a:pt x="3" y="9"/>
                      <a:pt x="3" y="8"/>
                    </a:cubicBezTo>
                    <a:cubicBezTo>
                      <a:pt x="3" y="7"/>
                      <a:pt x="1" y="4"/>
                      <a:pt x="1" y="2"/>
                    </a:cubicBezTo>
                    <a:cubicBezTo>
                      <a:pt x="1" y="1"/>
                      <a:pt x="3" y="2"/>
                      <a:pt x="4" y="2"/>
                    </a:cubicBezTo>
                    <a:cubicBezTo>
                      <a:pt x="4" y="2"/>
                      <a:pt x="7" y="0"/>
                      <a:pt x="8" y="1"/>
                    </a:cubicBezTo>
                    <a:cubicBezTo>
                      <a:pt x="10" y="2"/>
                      <a:pt x="11" y="4"/>
                      <a:pt x="10" y="6"/>
                    </a:cubicBezTo>
                    <a:cubicBezTo>
                      <a:pt x="10" y="8"/>
                      <a:pt x="13" y="12"/>
                      <a:pt x="12" y="13"/>
                    </a:cubicBezTo>
                    <a:cubicBezTo>
                      <a:pt x="12" y="14"/>
                      <a:pt x="8" y="12"/>
                      <a:pt x="7" y="12"/>
                    </a:cubicBezTo>
                    <a:cubicBezTo>
                      <a:pt x="6" y="12"/>
                      <a:pt x="7" y="16"/>
                      <a:pt x="7" y="16"/>
                    </a:cubicBezTo>
                    <a:cubicBezTo>
                      <a:pt x="6" y="17"/>
                      <a:pt x="4" y="19"/>
                      <a:pt x="3" y="1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7" name="Freeform 22"/>
              <p:cNvSpPr>
                <a:spLocks/>
              </p:cNvSpPr>
              <p:nvPr/>
            </p:nvSpPr>
            <p:spPr bwMode="auto">
              <a:xfrm>
                <a:off x="4612" y="2388"/>
                <a:ext cx="21" cy="33"/>
              </a:xfrm>
              <a:custGeom>
                <a:avLst/>
                <a:gdLst>
                  <a:gd name="T0" fmla="*/ 0 w 10"/>
                  <a:gd name="T1" fmla="*/ 1310760 h 16"/>
                  <a:gd name="T2" fmla="*/ 127172 w 10"/>
                  <a:gd name="T3" fmla="*/ 976385 h 16"/>
                  <a:gd name="T4" fmla="*/ 420181 w 10"/>
                  <a:gd name="T5" fmla="*/ 308131 h 16"/>
                  <a:gd name="T6" fmla="*/ 1037436 w 10"/>
                  <a:gd name="T7" fmla="*/ 100537 h 16"/>
                  <a:gd name="T8" fmla="*/ 1419443 w 10"/>
                  <a:gd name="T9" fmla="*/ 100537 h 16"/>
                  <a:gd name="T10" fmla="*/ 1177739 w 10"/>
                  <a:gd name="T11" fmla="*/ 976385 h 16"/>
                  <a:gd name="T12" fmla="*/ 1037436 w 10"/>
                  <a:gd name="T13" fmla="*/ 1416845 h 16"/>
                  <a:gd name="T14" fmla="*/ 742741 w 10"/>
                  <a:gd name="T15" fmla="*/ 1711980 h 16"/>
                  <a:gd name="T16" fmla="*/ 0 w 10"/>
                  <a:gd name="T17" fmla="*/ 1310760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0" h="16">
                    <a:moveTo>
                      <a:pt x="0" y="12"/>
                    </a:moveTo>
                    <a:cubicBezTo>
                      <a:pt x="0" y="11"/>
                      <a:pt x="0" y="9"/>
                      <a:pt x="1" y="9"/>
                    </a:cubicBezTo>
                    <a:cubicBezTo>
                      <a:pt x="3" y="8"/>
                      <a:pt x="3" y="4"/>
                      <a:pt x="3" y="3"/>
                    </a:cubicBezTo>
                    <a:cubicBezTo>
                      <a:pt x="3" y="2"/>
                      <a:pt x="6" y="1"/>
                      <a:pt x="7" y="1"/>
                    </a:cubicBezTo>
                    <a:cubicBezTo>
                      <a:pt x="8" y="1"/>
                      <a:pt x="10" y="0"/>
                      <a:pt x="10" y="1"/>
                    </a:cubicBezTo>
                    <a:cubicBezTo>
                      <a:pt x="10" y="3"/>
                      <a:pt x="8" y="7"/>
                      <a:pt x="8" y="9"/>
                    </a:cubicBezTo>
                    <a:cubicBezTo>
                      <a:pt x="8" y="11"/>
                      <a:pt x="6" y="13"/>
                      <a:pt x="7" y="13"/>
                    </a:cubicBezTo>
                    <a:cubicBezTo>
                      <a:pt x="8" y="14"/>
                      <a:pt x="5" y="16"/>
                      <a:pt x="5" y="16"/>
                    </a:cubicBezTo>
                    <a:cubicBezTo>
                      <a:pt x="4" y="16"/>
                      <a:pt x="0" y="13"/>
                      <a:pt x="0" y="1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8" name="Freeform 23"/>
              <p:cNvSpPr>
                <a:spLocks/>
              </p:cNvSpPr>
              <p:nvPr/>
            </p:nvSpPr>
            <p:spPr bwMode="auto">
              <a:xfrm>
                <a:off x="4604" y="2401"/>
                <a:ext cx="73" cy="74"/>
              </a:xfrm>
              <a:custGeom>
                <a:avLst/>
                <a:gdLst>
                  <a:gd name="T0" fmla="*/ 76559 w 36"/>
                  <a:gd name="T1" fmla="*/ 1769472 h 37"/>
                  <a:gd name="T2" fmla="*/ 76559 w 36"/>
                  <a:gd name="T3" fmla="*/ 1441792 h 37"/>
                  <a:gd name="T4" fmla="*/ 314802 w 36"/>
                  <a:gd name="T5" fmla="*/ 1114112 h 37"/>
                  <a:gd name="T6" fmla="*/ 972186 w 36"/>
                  <a:gd name="T7" fmla="*/ 851968 h 37"/>
                  <a:gd name="T8" fmla="*/ 1372625 w 36"/>
                  <a:gd name="T9" fmla="*/ 1114112 h 37"/>
                  <a:gd name="T10" fmla="*/ 1811544 w 36"/>
                  <a:gd name="T11" fmla="*/ 851968 h 37"/>
                  <a:gd name="T12" fmla="*/ 2126346 w 36"/>
                  <a:gd name="T13" fmla="*/ 655360 h 37"/>
                  <a:gd name="T14" fmla="*/ 2304653 w 36"/>
                  <a:gd name="T15" fmla="*/ 131072 h 37"/>
                  <a:gd name="T16" fmla="*/ 2624816 w 36"/>
                  <a:gd name="T17" fmla="*/ 327680 h 37"/>
                  <a:gd name="T18" fmla="*/ 2783378 w 36"/>
                  <a:gd name="T19" fmla="*/ 1048576 h 37"/>
                  <a:gd name="T20" fmla="*/ 2860136 w 36"/>
                  <a:gd name="T21" fmla="*/ 1638400 h 37"/>
                  <a:gd name="T22" fmla="*/ 2624816 w 36"/>
                  <a:gd name="T23" fmla="*/ 1835008 h 37"/>
                  <a:gd name="T24" fmla="*/ 2304653 w 36"/>
                  <a:gd name="T25" fmla="*/ 1572864 h 37"/>
                  <a:gd name="T26" fmla="*/ 2126346 w 36"/>
                  <a:gd name="T27" fmla="*/ 1900544 h 37"/>
                  <a:gd name="T28" fmla="*/ 2383612 w 36"/>
                  <a:gd name="T29" fmla="*/ 2228224 h 37"/>
                  <a:gd name="T30" fmla="*/ 2049649 w 36"/>
                  <a:gd name="T31" fmla="*/ 2424832 h 37"/>
                  <a:gd name="T32" fmla="*/ 1372625 w 36"/>
                  <a:gd name="T33" fmla="*/ 2097152 h 37"/>
                  <a:gd name="T34" fmla="*/ 1372625 w 36"/>
                  <a:gd name="T35" fmla="*/ 1638400 h 37"/>
                  <a:gd name="T36" fmla="*/ 972186 w 36"/>
                  <a:gd name="T37" fmla="*/ 1376256 h 37"/>
                  <a:gd name="T38" fmla="*/ 638349 w 36"/>
                  <a:gd name="T39" fmla="*/ 1572864 h 37"/>
                  <a:gd name="T40" fmla="*/ 400523 w 36"/>
                  <a:gd name="T41" fmla="*/ 1572864 h 37"/>
                  <a:gd name="T42" fmla="*/ 76559 w 36"/>
                  <a:gd name="T43" fmla="*/ 1769472 h 3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6" h="37">
                    <a:moveTo>
                      <a:pt x="1" y="27"/>
                    </a:moveTo>
                    <a:cubicBezTo>
                      <a:pt x="0" y="26"/>
                      <a:pt x="1" y="22"/>
                      <a:pt x="1" y="22"/>
                    </a:cubicBezTo>
                    <a:cubicBezTo>
                      <a:pt x="2" y="20"/>
                      <a:pt x="3" y="17"/>
                      <a:pt x="4" y="17"/>
                    </a:cubicBezTo>
                    <a:cubicBezTo>
                      <a:pt x="6" y="17"/>
                      <a:pt x="11" y="13"/>
                      <a:pt x="12" y="13"/>
                    </a:cubicBezTo>
                    <a:cubicBezTo>
                      <a:pt x="14" y="13"/>
                      <a:pt x="15" y="18"/>
                      <a:pt x="17" y="17"/>
                    </a:cubicBezTo>
                    <a:cubicBezTo>
                      <a:pt x="19" y="17"/>
                      <a:pt x="21" y="14"/>
                      <a:pt x="22" y="13"/>
                    </a:cubicBezTo>
                    <a:cubicBezTo>
                      <a:pt x="23" y="12"/>
                      <a:pt x="26" y="11"/>
                      <a:pt x="26" y="10"/>
                    </a:cubicBezTo>
                    <a:cubicBezTo>
                      <a:pt x="26" y="9"/>
                      <a:pt x="27" y="4"/>
                      <a:pt x="28" y="2"/>
                    </a:cubicBezTo>
                    <a:cubicBezTo>
                      <a:pt x="29" y="0"/>
                      <a:pt x="31" y="3"/>
                      <a:pt x="32" y="5"/>
                    </a:cubicBezTo>
                    <a:cubicBezTo>
                      <a:pt x="32" y="7"/>
                      <a:pt x="34" y="14"/>
                      <a:pt x="34" y="16"/>
                    </a:cubicBezTo>
                    <a:cubicBezTo>
                      <a:pt x="34" y="19"/>
                      <a:pt x="36" y="24"/>
                      <a:pt x="35" y="25"/>
                    </a:cubicBezTo>
                    <a:cubicBezTo>
                      <a:pt x="34" y="26"/>
                      <a:pt x="34" y="29"/>
                      <a:pt x="32" y="28"/>
                    </a:cubicBezTo>
                    <a:cubicBezTo>
                      <a:pt x="31" y="28"/>
                      <a:pt x="28" y="23"/>
                      <a:pt x="28" y="24"/>
                    </a:cubicBezTo>
                    <a:cubicBezTo>
                      <a:pt x="27" y="25"/>
                      <a:pt x="26" y="29"/>
                      <a:pt x="26" y="29"/>
                    </a:cubicBezTo>
                    <a:cubicBezTo>
                      <a:pt x="27" y="30"/>
                      <a:pt x="29" y="34"/>
                      <a:pt x="29" y="34"/>
                    </a:cubicBezTo>
                    <a:cubicBezTo>
                      <a:pt x="28" y="35"/>
                      <a:pt x="26" y="37"/>
                      <a:pt x="25" y="37"/>
                    </a:cubicBezTo>
                    <a:cubicBezTo>
                      <a:pt x="24" y="37"/>
                      <a:pt x="17" y="34"/>
                      <a:pt x="17" y="32"/>
                    </a:cubicBezTo>
                    <a:cubicBezTo>
                      <a:pt x="16" y="30"/>
                      <a:pt x="16" y="26"/>
                      <a:pt x="17" y="25"/>
                    </a:cubicBezTo>
                    <a:cubicBezTo>
                      <a:pt x="17" y="24"/>
                      <a:pt x="13" y="21"/>
                      <a:pt x="12" y="21"/>
                    </a:cubicBezTo>
                    <a:cubicBezTo>
                      <a:pt x="11" y="21"/>
                      <a:pt x="8" y="24"/>
                      <a:pt x="8" y="24"/>
                    </a:cubicBezTo>
                    <a:cubicBezTo>
                      <a:pt x="7" y="24"/>
                      <a:pt x="5" y="23"/>
                      <a:pt x="5" y="24"/>
                    </a:cubicBezTo>
                    <a:cubicBezTo>
                      <a:pt x="4" y="25"/>
                      <a:pt x="2" y="28"/>
                      <a:pt x="1" y="2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9" name="Freeform 24"/>
              <p:cNvSpPr>
                <a:spLocks/>
              </p:cNvSpPr>
              <p:nvPr/>
            </p:nvSpPr>
            <p:spPr bwMode="auto">
              <a:xfrm>
                <a:off x="4602" y="2368"/>
                <a:ext cx="25" cy="33"/>
              </a:xfrm>
              <a:custGeom>
                <a:avLst/>
                <a:gdLst>
                  <a:gd name="T0" fmla="*/ 112440 w 12"/>
                  <a:gd name="T1" fmla="*/ 1186773 h 16"/>
                  <a:gd name="T2" fmla="*/ 112440 w 12"/>
                  <a:gd name="T3" fmla="*/ 0 h 16"/>
                  <a:gd name="T4" fmla="*/ 782208 w 12"/>
                  <a:gd name="T5" fmla="*/ 100537 h 16"/>
                  <a:gd name="T6" fmla="*/ 1389306 w 12"/>
                  <a:gd name="T7" fmla="*/ 207358 h 16"/>
                  <a:gd name="T8" fmla="*/ 1389306 w 12"/>
                  <a:gd name="T9" fmla="*/ 635520 h 16"/>
                  <a:gd name="T10" fmla="*/ 901442 w 12"/>
                  <a:gd name="T11" fmla="*/ 735444 h 16"/>
                  <a:gd name="T12" fmla="*/ 112440 w 12"/>
                  <a:gd name="T13" fmla="*/ 1186773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6">
                    <a:moveTo>
                      <a:pt x="1" y="11"/>
                    </a:moveTo>
                    <a:cubicBezTo>
                      <a:pt x="1" y="10"/>
                      <a:pt x="0" y="1"/>
                      <a:pt x="1" y="0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9" y="2"/>
                      <a:pt x="10" y="1"/>
                      <a:pt x="11" y="2"/>
                    </a:cubicBezTo>
                    <a:cubicBezTo>
                      <a:pt x="12" y="2"/>
                      <a:pt x="11" y="5"/>
                      <a:pt x="11" y="6"/>
                    </a:cubicBezTo>
                    <a:cubicBezTo>
                      <a:pt x="11" y="6"/>
                      <a:pt x="9" y="7"/>
                      <a:pt x="7" y="7"/>
                    </a:cubicBezTo>
                    <a:cubicBezTo>
                      <a:pt x="7" y="7"/>
                      <a:pt x="0" y="16"/>
                      <a:pt x="1" y="1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0" name="Freeform 25"/>
              <p:cNvSpPr>
                <a:spLocks/>
              </p:cNvSpPr>
              <p:nvPr/>
            </p:nvSpPr>
            <p:spPr bwMode="auto">
              <a:xfrm>
                <a:off x="4572" y="2271"/>
                <a:ext cx="69" cy="91"/>
              </a:xfrm>
              <a:custGeom>
                <a:avLst/>
                <a:gdLst>
                  <a:gd name="T0" fmla="*/ 0 w 34"/>
                  <a:gd name="T1" fmla="*/ 1473270 h 45"/>
                  <a:gd name="T2" fmla="*/ 403916 w 34"/>
                  <a:gd name="T3" fmla="*/ 1398561 h 45"/>
                  <a:gd name="T4" fmla="*/ 317587 w 34"/>
                  <a:gd name="T5" fmla="*/ 538413 h 45"/>
                  <a:gd name="T6" fmla="*/ 483270 w 34"/>
                  <a:gd name="T7" fmla="*/ 74137 h 45"/>
                  <a:gd name="T8" fmla="*/ 1068021 w 34"/>
                  <a:gd name="T9" fmla="*/ 149921 h 45"/>
                  <a:gd name="T10" fmla="*/ 1502536 w 34"/>
                  <a:gd name="T11" fmla="*/ 74137 h 45"/>
                  <a:gd name="T12" fmla="*/ 1663533 w 34"/>
                  <a:gd name="T13" fmla="*/ 1088791 h 45"/>
                  <a:gd name="T14" fmla="*/ 1068021 w 34"/>
                  <a:gd name="T15" fmla="*/ 1551764 h 45"/>
                  <a:gd name="T16" fmla="*/ 1068021 w 34"/>
                  <a:gd name="T17" fmla="*/ 2278096 h 45"/>
                  <a:gd name="T18" fmla="*/ 1425400 w 34"/>
                  <a:gd name="T19" fmla="*/ 2581007 h 45"/>
                  <a:gd name="T20" fmla="*/ 1913926 w 34"/>
                  <a:gd name="T21" fmla="*/ 2507139 h 45"/>
                  <a:gd name="T22" fmla="*/ 2731546 w 34"/>
                  <a:gd name="T23" fmla="*/ 2828201 h 45"/>
                  <a:gd name="T24" fmla="*/ 2654442 w 34"/>
                  <a:gd name="T25" fmla="*/ 3138012 h 45"/>
                  <a:gd name="T26" fmla="*/ 2494500 w 34"/>
                  <a:gd name="T27" fmla="*/ 3441155 h 45"/>
                  <a:gd name="T28" fmla="*/ 1752764 w 34"/>
                  <a:gd name="T29" fmla="*/ 2979279 h 45"/>
                  <a:gd name="T30" fmla="*/ 980754 w 34"/>
                  <a:gd name="T31" fmla="*/ 3063875 h 45"/>
                  <a:gd name="T32" fmla="*/ 403916 w 34"/>
                  <a:gd name="T33" fmla="*/ 2904611 h 45"/>
                  <a:gd name="T34" fmla="*/ 565098 w 34"/>
                  <a:gd name="T35" fmla="*/ 2357226 h 45"/>
                  <a:gd name="T36" fmla="*/ 156492 w 34"/>
                  <a:gd name="T37" fmla="*/ 2278096 h 45"/>
                  <a:gd name="T38" fmla="*/ 0 w 34"/>
                  <a:gd name="T39" fmla="*/ 1473270 h 4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34" h="45">
                    <a:moveTo>
                      <a:pt x="0" y="19"/>
                    </a:moveTo>
                    <a:cubicBezTo>
                      <a:pt x="0" y="16"/>
                      <a:pt x="5" y="20"/>
                      <a:pt x="5" y="18"/>
                    </a:cubicBezTo>
                    <a:cubicBezTo>
                      <a:pt x="5" y="16"/>
                      <a:pt x="4" y="10"/>
                      <a:pt x="4" y="7"/>
                    </a:cubicBezTo>
                    <a:cubicBezTo>
                      <a:pt x="4" y="5"/>
                      <a:pt x="5" y="1"/>
                      <a:pt x="6" y="1"/>
                    </a:cubicBezTo>
                    <a:cubicBezTo>
                      <a:pt x="7" y="0"/>
                      <a:pt x="12" y="2"/>
                      <a:pt x="13" y="2"/>
                    </a:cubicBezTo>
                    <a:cubicBezTo>
                      <a:pt x="15" y="2"/>
                      <a:pt x="18" y="0"/>
                      <a:pt x="18" y="1"/>
                    </a:cubicBezTo>
                    <a:cubicBezTo>
                      <a:pt x="19" y="2"/>
                      <a:pt x="21" y="13"/>
                      <a:pt x="20" y="14"/>
                    </a:cubicBezTo>
                    <a:cubicBezTo>
                      <a:pt x="19" y="16"/>
                      <a:pt x="14" y="18"/>
                      <a:pt x="13" y="20"/>
                    </a:cubicBezTo>
                    <a:cubicBezTo>
                      <a:pt x="12" y="22"/>
                      <a:pt x="13" y="27"/>
                      <a:pt x="13" y="29"/>
                    </a:cubicBezTo>
                    <a:cubicBezTo>
                      <a:pt x="13" y="31"/>
                      <a:pt x="16" y="33"/>
                      <a:pt x="17" y="33"/>
                    </a:cubicBezTo>
                    <a:cubicBezTo>
                      <a:pt x="18" y="33"/>
                      <a:pt x="22" y="31"/>
                      <a:pt x="23" y="32"/>
                    </a:cubicBezTo>
                    <a:cubicBezTo>
                      <a:pt x="25" y="33"/>
                      <a:pt x="33" y="35"/>
                      <a:pt x="33" y="36"/>
                    </a:cubicBezTo>
                    <a:cubicBezTo>
                      <a:pt x="34" y="37"/>
                      <a:pt x="32" y="39"/>
                      <a:pt x="32" y="40"/>
                    </a:cubicBezTo>
                    <a:cubicBezTo>
                      <a:pt x="32" y="41"/>
                      <a:pt x="32" y="45"/>
                      <a:pt x="30" y="44"/>
                    </a:cubicBezTo>
                    <a:cubicBezTo>
                      <a:pt x="28" y="43"/>
                      <a:pt x="23" y="38"/>
                      <a:pt x="21" y="38"/>
                    </a:cubicBezTo>
                    <a:cubicBezTo>
                      <a:pt x="20" y="39"/>
                      <a:pt x="15" y="39"/>
                      <a:pt x="12" y="39"/>
                    </a:cubicBezTo>
                    <a:cubicBezTo>
                      <a:pt x="9" y="39"/>
                      <a:pt x="5" y="38"/>
                      <a:pt x="5" y="37"/>
                    </a:cubicBezTo>
                    <a:cubicBezTo>
                      <a:pt x="4" y="35"/>
                      <a:pt x="10" y="32"/>
                      <a:pt x="7" y="30"/>
                    </a:cubicBezTo>
                    <a:cubicBezTo>
                      <a:pt x="4" y="28"/>
                      <a:pt x="2" y="31"/>
                      <a:pt x="2" y="29"/>
                    </a:cubicBezTo>
                    <a:cubicBezTo>
                      <a:pt x="1" y="27"/>
                      <a:pt x="0" y="23"/>
                      <a:pt x="0" y="1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1" name="Freeform 26"/>
              <p:cNvSpPr>
                <a:spLocks/>
              </p:cNvSpPr>
              <p:nvPr/>
            </p:nvSpPr>
            <p:spPr bwMode="auto">
              <a:xfrm>
                <a:off x="4572" y="2354"/>
                <a:ext cx="22" cy="24"/>
              </a:xfrm>
              <a:custGeom>
                <a:avLst/>
                <a:gdLst>
                  <a:gd name="T0" fmla="*/ 196608 w 11"/>
                  <a:gd name="T1" fmla="*/ 131072 h 12"/>
                  <a:gd name="T2" fmla="*/ 655360 w 11"/>
                  <a:gd name="T3" fmla="*/ 327680 h 12"/>
                  <a:gd name="T4" fmla="*/ 589824 w 11"/>
                  <a:gd name="T5" fmla="*/ 786432 h 12"/>
                  <a:gd name="T6" fmla="*/ 196608 w 11"/>
                  <a:gd name="T7" fmla="*/ 13107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1" h="12">
                    <a:moveTo>
                      <a:pt x="3" y="2"/>
                    </a:moveTo>
                    <a:cubicBezTo>
                      <a:pt x="4" y="0"/>
                      <a:pt x="10" y="4"/>
                      <a:pt x="10" y="5"/>
                    </a:cubicBezTo>
                    <a:cubicBezTo>
                      <a:pt x="9" y="5"/>
                      <a:pt x="11" y="11"/>
                      <a:pt x="9" y="12"/>
                    </a:cubicBezTo>
                    <a:cubicBezTo>
                      <a:pt x="8" y="12"/>
                      <a:pt x="0" y="4"/>
                      <a:pt x="3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2" name="Freeform 27"/>
              <p:cNvSpPr>
                <a:spLocks/>
              </p:cNvSpPr>
              <p:nvPr/>
            </p:nvSpPr>
            <p:spPr bwMode="auto">
              <a:xfrm>
                <a:off x="4527" y="2382"/>
                <a:ext cx="45" cy="55"/>
              </a:xfrm>
              <a:custGeom>
                <a:avLst/>
                <a:gdLst>
                  <a:gd name="T0" fmla="*/ 744535 w 22"/>
                  <a:gd name="T1" fmla="*/ 2037004 h 27"/>
                  <a:gd name="T2" fmla="*/ 177953 w 22"/>
                  <a:gd name="T3" fmla="*/ 2288204 h 27"/>
                  <a:gd name="T4" fmla="*/ 559244 w 22"/>
                  <a:gd name="T5" fmla="*/ 1505482 h 27"/>
                  <a:gd name="T6" fmla="*/ 1241016 w 22"/>
                  <a:gd name="T7" fmla="*/ 871968 h 27"/>
                  <a:gd name="T8" fmla="*/ 1615177 w 22"/>
                  <a:gd name="T9" fmla="*/ 428057 h 27"/>
                  <a:gd name="T10" fmla="*/ 1796175 w 22"/>
                  <a:gd name="T11" fmla="*/ 0 h 27"/>
                  <a:gd name="T12" fmla="*/ 2066588 w 22"/>
                  <a:gd name="T13" fmla="*/ 251063 h 27"/>
                  <a:gd name="T14" fmla="*/ 2066588 w 22"/>
                  <a:gd name="T15" fmla="*/ 871968 h 27"/>
                  <a:gd name="T16" fmla="*/ 1416563 w 22"/>
                  <a:gd name="T17" fmla="*/ 1413966 h 27"/>
                  <a:gd name="T18" fmla="*/ 744535 w 22"/>
                  <a:gd name="T19" fmla="*/ 2037004 h 2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" h="27">
                    <a:moveTo>
                      <a:pt x="8" y="23"/>
                    </a:moveTo>
                    <a:cubicBezTo>
                      <a:pt x="7" y="24"/>
                      <a:pt x="3" y="27"/>
                      <a:pt x="2" y="26"/>
                    </a:cubicBezTo>
                    <a:cubicBezTo>
                      <a:pt x="0" y="25"/>
                      <a:pt x="3" y="19"/>
                      <a:pt x="6" y="17"/>
                    </a:cubicBezTo>
                    <a:cubicBezTo>
                      <a:pt x="9" y="16"/>
                      <a:pt x="10" y="12"/>
                      <a:pt x="13" y="10"/>
                    </a:cubicBezTo>
                    <a:cubicBezTo>
                      <a:pt x="16" y="8"/>
                      <a:pt x="17" y="7"/>
                      <a:pt x="17" y="5"/>
                    </a:cubicBezTo>
                    <a:cubicBezTo>
                      <a:pt x="17" y="4"/>
                      <a:pt x="17" y="0"/>
                      <a:pt x="19" y="0"/>
                    </a:cubicBezTo>
                    <a:cubicBezTo>
                      <a:pt x="21" y="0"/>
                      <a:pt x="22" y="1"/>
                      <a:pt x="22" y="3"/>
                    </a:cubicBezTo>
                    <a:cubicBezTo>
                      <a:pt x="22" y="4"/>
                      <a:pt x="22" y="9"/>
                      <a:pt x="22" y="10"/>
                    </a:cubicBezTo>
                    <a:cubicBezTo>
                      <a:pt x="20" y="11"/>
                      <a:pt x="16" y="14"/>
                      <a:pt x="15" y="16"/>
                    </a:cubicBezTo>
                    <a:cubicBezTo>
                      <a:pt x="13" y="17"/>
                      <a:pt x="10" y="22"/>
                      <a:pt x="8" y="2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62" name="Freeform 28"/>
            <p:cNvSpPr>
              <a:spLocks/>
            </p:cNvSpPr>
            <p:nvPr/>
          </p:nvSpPr>
          <p:spPr bwMode="auto">
            <a:xfrm>
              <a:off x="7879481" y="4200485"/>
              <a:ext cx="151523" cy="308529"/>
            </a:xfrm>
            <a:custGeom>
              <a:avLst/>
              <a:gdLst>
                <a:gd name="T0" fmla="*/ 4742 w 55"/>
                <a:gd name="T1" fmla="*/ 2628 h 118"/>
                <a:gd name="T2" fmla="*/ 0 w 55"/>
                <a:gd name="T3" fmla="*/ 1528 h 118"/>
                <a:gd name="T4" fmla="*/ 10582 w 55"/>
                <a:gd name="T5" fmla="*/ 1312 h 118"/>
                <a:gd name="T6" fmla="*/ 55640 w 55"/>
                <a:gd name="T7" fmla="*/ 0 h 118"/>
                <a:gd name="T8" fmla="*/ 69398 w 55"/>
                <a:gd name="T9" fmla="*/ 539 h 118"/>
                <a:gd name="T10" fmla="*/ 86984 w 55"/>
                <a:gd name="T11" fmla="*/ 763 h 118"/>
                <a:gd name="T12" fmla="*/ 83536 w 55"/>
                <a:gd name="T13" fmla="*/ 2281 h 118"/>
                <a:gd name="T14" fmla="*/ 111814 w 55"/>
                <a:gd name="T15" fmla="*/ 3719 h 118"/>
                <a:gd name="T16" fmla="*/ 98874 w 55"/>
                <a:gd name="T17" fmla="*/ 4568 h 118"/>
                <a:gd name="T18" fmla="*/ 83536 w 55"/>
                <a:gd name="T19" fmla="*/ 5702 h 118"/>
                <a:gd name="T20" fmla="*/ 69398 w 55"/>
                <a:gd name="T21" fmla="*/ 7674 h 118"/>
                <a:gd name="T22" fmla="*/ 75872 w 55"/>
                <a:gd name="T23" fmla="*/ 9884 h 118"/>
                <a:gd name="T24" fmla="*/ 86984 w 55"/>
                <a:gd name="T25" fmla="*/ 11189 h 118"/>
                <a:gd name="T26" fmla="*/ 99524 w 55"/>
                <a:gd name="T27" fmla="*/ 12730 h 118"/>
                <a:gd name="T28" fmla="*/ 127327 w 55"/>
                <a:gd name="T29" fmla="*/ 14958 h 118"/>
                <a:gd name="T30" fmla="*/ 142337 w 55"/>
                <a:gd name="T31" fmla="*/ 18652 h 118"/>
                <a:gd name="T32" fmla="*/ 142337 w 55"/>
                <a:gd name="T33" fmla="*/ 22876 h 118"/>
                <a:gd name="T34" fmla="*/ 131973 w 55"/>
                <a:gd name="T35" fmla="*/ 24846 h 118"/>
                <a:gd name="T36" fmla="*/ 91713 w 55"/>
                <a:gd name="T37" fmla="*/ 26397 h 118"/>
                <a:gd name="T38" fmla="*/ 82213 w 55"/>
                <a:gd name="T39" fmla="*/ 28580 h 118"/>
                <a:gd name="T40" fmla="*/ 63332 w 55"/>
                <a:gd name="T41" fmla="*/ 29524 h 118"/>
                <a:gd name="T42" fmla="*/ 45229 w 55"/>
                <a:gd name="T43" fmla="*/ 30432 h 118"/>
                <a:gd name="T44" fmla="*/ 46366 w 55"/>
                <a:gd name="T45" fmla="*/ 26870 h 118"/>
                <a:gd name="T46" fmla="*/ 40631 w 55"/>
                <a:gd name="T47" fmla="*/ 26397 h 118"/>
                <a:gd name="T48" fmla="*/ 53157 w 55"/>
                <a:gd name="T49" fmla="*/ 25497 h 118"/>
                <a:gd name="T50" fmla="*/ 74011 w 55"/>
                <a:gd name="T51" fmla="*/ 24846 h 118"/>
                <a:gd name="T52" fmla="*/ 75872 w 55"/>
                <a:gd name="T53" fmla="*/ 23301 h 118"/>
                <a:gd name="T54" fmla="*/ 99524 w 55"/>
                <a:gd name="T55" fmla="*/ 22044 h 118"/>
                <a:gd name="T56" fmla="*/ 99524 w 55"/>
                <a:gd name="T57" fmla="*/ 19310 h 118"/>
                <a:gd name="T58" fmla="*/ 99524 w 55"/>
                <a:gd name="T59" fmla="*/ 16164 h 118"/>
                <a:gd name="T60" fmla="*/ 83536 w 55"/>
                <a:gd name="T61" fmla="*/ 13988 h 118"/>
                <a:gd name="T62" fmla="*/ 69398 w 55"/>
                <a:gd name="T63" fmla="*/ 11857 h 118"/>
                <a:gd name="T64" fmla="*/ 46366 w 55"/>
                <a:gd name="T65" fmla="*/ 9641 h 118"/>
                <a:gd name="T66" fmla="*/ 28335 w 55"/>
                <a:gd name="T67" fmla="*/ 8677 h 118"/>
                <a:gd name="T68" fmla="*/ 34002 w 55"/>
                <a:gd name="T69" fmla="*/ 7448 h 118"/>
                <a:gd name="T70" fmla="*/ 46366 w 55"/>
                <a:gd name="T71" fmla="*/ 6984 h 118"/>
                <a:gd name="T72" fmla="*/ 53157 w 55"/>
                <a:gd name="T73" fmla="*/ 6131 h 118"/>
                <a:gd name="T74" fmla="*/ 37168 w 55"/>
                <a:gd name="T75" fmla="*/ 4568 h 118"/>
                <a:gd name="T76" fmla="*/ 25917 w 55"/>
                <a:gd name="T77" fmla="*/ 5263 h 118"/>
                <a:gd name="T78" fmla="*/ 7760 w 55"/>
                <a:gd name="T79" fmla="*/ 4376 h 118"/>
                <a:gd name="T80" fmla="*/ 4742 w 55"/>
                <a:gd name="T81" fmla="*/ 2628 h 11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5" h="118">
                  <a:moveTo>
                    <a:pt x="2" y="1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4" y="5"/>
                    <a:pt x="4" y="5"/>
                  </a:cubicBezTo>
                  <a:cubicBezTo>
                    <a:pt x="6" y="5"/>
                    <a:pt x="20" y="1"/>
                    <a:pt x="21" y="0"/>
                  </a:cubicBezTo>
                  <a:cubicBezTo>
                    <a:pt x="22" y="0"/>
                    <a:pt x="25" y="1"/>
                    <a:pt x="26" y="2"/>
                  </a:cubicBezTo>
                  <a:cubicBezTo>
                    <a:pt x="28" y="2"/>
                    <a:pt x="31" y="2"/>
                    <a:pt x="33" y="3"/>
                  </a:cubicBezTo>
                  <a:cubicBezTo>
                    <a:pt x="35" y="4"/>
                    <a:pt x="31" y="8"/>
                    <a:pt x="32" y="9"/>
                  </a:cubicBezTo>
                  <a:cubicBezTo>
                    <a:pt x="33" y="9"/>
                    <a:pt x="42" y="14"/>
                    <a:pt x="42" y="14"/>
                  </a:cubicBezTo>
                  <a:cubicBezTo>
                    <a:pt x="40" y="16"/>
                    <a:pt x="38" y="18"/>
                    <a:pt x="37" y="18"/>
                  </a:cubicBezTo>
                  <a:cubicBezTo>
                    <a:pt x="35" y="19"/>
                    <a:pt x="34" y="20"/>
                    <a:pt x="32" y="22"/>
                  </a:cubicBezTo>
                  <a:cubicBezTo>
                    <a:pt x="31" y="25"/>
                    <a:pt x="27" y="27"/>
                    <a:pt x="26" y="30"/>
                  </a:cubicBezTo>
                  <a:cubicBezTo>
                    <a:pt x="26" y="33"/>
                    <a:pt x="28" y="38"/>
                    <a:pt x="29" y="38"/>
                  </a:cubicBezTo>
                  <a:cubicBezTo>
                    <a:pt x="29" y="38"/>
                    <a:pt x="33" y="42"/>
                    <a:pt x="33" y="43"/>
                  </a:cubicBezTo>
                  <a:cubicBezTo>
                    <a:pt x="33" y="44"/>
                    <a:pt x="37" y="48"/>
                    <a:pt x="38" y="49"/>
                  </a:cubicBezTo>
                  <a:cubicBezTo>
                    <a:pt x="39" y="50"/>
                    <a:pt x="46" y="55"/>
                    <a:pt x="48" y="58"/>
                  </a:cubicBezTo>
                  <a:cubicBezTo>
                    <a:pt x="49" y="61"/>
                    <a:pt x="53" y="70"/>
                    <a:pt x="54" y="72"/>
                  </a:cubicBezTo>
                  <a:cubicBezTo>
                    <a:pt x="54" y="75"/>
                    <a:pt x="55" y="85"/>
                    <a:pt x="54" y="88"/>
                  </a:cubicBezTo>
                  <a:cubicBezTo>
                    <a:pt x="53" y="90"/>
                    <a:pt x="51" y="95"/>
                    <a:pt x="50" y="96"/>
                  </a:cubicBezTo>
                  <a:cubicBezTo>
                    <a:pt x="48" y="97"/>
                    <a:pt x="36" y="101"/>
                    <a:pt x="35" y="102"/>
                  </a:cubicBezTo>
                  <a:cubicBezTo>
                    <a:pt x="33" y="104"/>
                    <a:pt x="33" y="110"/>
                    <a:pt x="31" y="110"/>
                  </a:cubicBezTo>
                  <a:cubicBezTo>
                    <a:pt x="29" y="110"/>
                    <a:pt x="25" y="112"/>
                    <a:pt x="24" y="114"/>
                  </a:cubicBezTo>
                  <a:cubicBezTo>
                    <a:pt x="23" y="116"/>
                    <a:pt x="18" y="118"/>
                    <a:pt x="17" y="117"/>
                  </a:cubicBezTo>
                  <a:cubicBezTo>
                    <a:pt x="15" y="116"/>
                    <a:pt x="19" y="105"/>
                    <a:pt x="18" y="104"/>
                  </a:cubicBezTo>
                  <a:cubicBezTo>
                    <a:pt x="17" y="104"/>
                    <a:pt x="16" y="103"/>
                    <a:pt x="15" y="102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2" y="97"/>
                    <a:pt x="27" y="98"/>
                    <a:pt x="28" y="96"/>
                  </a:cubicBezTo>
                  <a:cubicBezTo>
                    <a:pt x="30" y="95"/>
                    <a:pt x="27" y="90"/>
                    <a:pt x="29" y="90"/>
                  </a:cubicBezTo>
                  <a:cubicBezTo>
                    <a:pt x="31" y="90"/>
                    <a:pt x="36" y="87"/>
                    <a:pt x="38" y="85"/>
                  </a:cubicBezTo>
                  <a:cubicBezTo>
                    <a:pt x="40" y="83"/>
                    <a:pt x="37" y="75"/>
                    <a:pt x="38" y="74"/>
                  </a:cubicBezTo>
                  <a:cubicBezTo>
                    <a:pt x="39" y="72"/>
                    <a:pt x="39" y="65"/>
                    <a:pt x="38" y="62"/>
                  </a:cubicBezTo>
                  <a:cubicBezTo>
                    <a:pt x="37" y="60"/>
                    <a:pt x="33" y="56"/>
                    <a:pt x="32" y="54"/>
                  </a:cubicBezTo>
                  <a:cubicBezTo>
                    <a:pt x="31" y="53"/>
                    <a:pt x="27" y="49"/>
                    <a:pt x="26" y="46"/>
                  </a:cubicBezTo>
                  <a:cubicBezTo>
                    <a:pt x="24" y="44"/>
                    <a:pt x="21" y="38"/>
                    <a:pt x="18" y="37"/>
                  </a:cubicBezTo>
                  <a:cubicBezTo>
                    <a:pt x="16" y="36"/>
                    <a:pt x="12" y="33"/>
                    <a:pt x="11" y="33"/>
                  </a:cubicBezTo>
                  <a:cubicBezTo>
                    <a:pt x="10" y="32"/>
                    <a:pt x="13" y="28"/>
                    <a:pt x="13" y="28"/>
                  </a:cubicBezTo>
                  <a:cubicBezTo>
                    <a:pt x="13" y="28"/>
                    <a:pt x="18" y="29"/>
                    <a:pt x="18" y="27"/>
                  </a:cubicBezTo>
                  <a:cubicBezTo>
                    <a:pt x="19" y="26"/>
                    <a:pt x="20" y="23"/>
                    <a:pt x="20" y="23"/>
                  </a:cubicBezTo>
                  <a:cubicBezTo>
                    <a:pt x="20" y="23"/>
                    <a:pt x="16" y="19"/>
                    <a:pt x="14" y="18"/>
                  </a:cubicBezTo>
                  <a:cubicBezTo>
                    <a:pt x="12" y="17"/>
                    <a:pt x="11" y="19"/>
                    <a:pt x="10" y="20"/>
                  </a:cubicBezTo>
                  <a:cubicBezTo>
                    <a:pt x="8" y="21"/>
                    <a:pt x="4" y="20"/>
                    <a:pt x="3" y="17"/>
                  </a:cubicBezTo>
                  <a:cubicBezTo>
                    <a:pt x="3" y="15"/>
                    <a:pt x="4" y="11"/>
                    <a:pt x="2" y="1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363" name="Group 29"/>
            <p:cNvGrpSpPr>
              <a:grpSpLocks/>
            </p:cNvGrpSpPr>
            <p:nvPr/>
          </p:nvGrpSpPr>
          <p:grpSpPr bwMode="auto">
            <a:xfrm>
              <a:off x="7830657" y="4527488"/>
              <a:ext cx="407427" cy="133018"/>
              <a:chOff x="4268" y="2449"/>
              <a:chExt cx="296" cy="103"/>
            </a:xfrm>
            <a:solidFill>
              <a:srgbClr val="EBEBE3"/>
            </a:solidFill>
          </p:grpSpPr>
          <p:sp>
            <p:nvSpPr>
              <p:cNvPr id="614" name="Freeform 30"/>
              <p:cNvSpPr>
                <a:spLocks/>
              </p:cNvSpPr>
              <p:nvPr/>
            </p:nvSpPr>
            <p:spPr bwMode="auto">
              <a:xfrm>
                <a:off x="4412" y="2449"/>
                <a:ext cx="152" cy="103"/>
              </a:xfrm>
              <a:custGeom>
                <a:avLst/>
                <a:gdLst>
                  <a:gd name="T0" fmla="*/ 234820 w 75"/>
                  <a:gd name="T1" fmla="*/ 3609508 h 51"/>
                  <a:gd name="T2" fmla="*/ 0 w 75"/>
                  <a:gd name="T3" fmla="*/ 3075085 h 51"/>
                  <a:gd name="T4" fmla="*/ 883764 w 75"/>
                  <a:gd name="T5" fmla="*/ 3383695 h 51"/>
                  <a:gd name="T6" fmla="*/ 1128231 w 75"/>
                  <a:gd name="T7" fmla="*/ 2688078 h 51"/>
                  <a:gd name="T8" fmla="*/ 2035012 w 75"/>
                  <a:gd name="T9" fmla="*/ 2462156 h 51"/>
                  <a:gd name="T10" fmla="*/ 2520296 w 75"/>
                  <a:gd name="T11" fmla="*/ 2081604 h 51"/>
                  <a:gd name="T12" fmla="*/ 2842976 w 75"/>
                  <a:gd name="T13" fmla="*/ 1522615 h 51"/>
                  <a:gd name="T14" fmla="*/ 3802991 w 75"/>
                  <a:gd name="T15" fmla="*/ 1069514 h 51"/>
                  <a:gd name="T16" fmla="*/ 4437508 w 75"/>
                  <a:gd name="T17" fmla="*/ 147995 h 51"/>
                  <a:gd name="T18" fmla="*/ 4788130 w 75"/>
                  <a:gd name="T19" fmla="*/ 0 h 51"/>
                  <a:gd name="T20" fmla="*/ 4873477 w 75"/>
                  <a:gd name="T21" fmla="*/ 147995 h 51"/>
                  <a:gd name="T22" fmla="*/ 4956505 w 75"/>
                  <a:gd name="T23" fmla="*/ 677568 h 51"/>
                  <a:gd name="T24" fmla="*/ 5603219 w 75"/>
                  <a:gd name="T25" fmla="*/ 903393 h 51"/>
                  <a:gd name="T26" fmla="*/ 6074516 w 75"/>
                  <a:gd name="T27" fmla="*/ 1142533 h 51"/>
                  <a:gd name="T28" fmla="*/ 5761765 w 75"/>
                  <a:gd name="T29" fmla="*/ 1675422 h 51"/>
                  <a:gd name="T30" fmla="*/ 5185754 w 75"/>
                  <a:gd name="T31" fmla="*/ 1824500 h 51"/>
                  <a:gd name="T32" fmla="*/ 5185754 w 75"/>
                  <a:gd name="T33" fmla="*/ 1896703 h 51"/>
                  <a:gd name="T34" fmla="*/ 4788130 w 75"/>
                  <a:gd name="T35" fmla="*/ 1675422 h 51"/>
                  <a:gd name="T36" fmla="*/ 3886150 w 75"/>
                  <a:gd name="T37" fmla="*/ 1748425 h 51"/>
                  <a:gd name="T38" fmla="*/ 3553744 w 75"/>
                  <a:gd name="T39" fmla="*/ 2688078 h 51"/>
                  <a:gd name="T40" fmla="*/ 2919326 w 75"/>
                  <a:gd name="T41" fmla="*/ 3458930 h 51"/>
                  <a:gd name="T42" fmla="*/ 2035012 w 75"/>
                  <a:gd name="T43" fmla="*/ 3383695 h 51"/>
                  <a:gd name="T44" fmla="*/ 1714880 w 75"/>
                  <a:gd name="T45" fmla="*/ 3757058 h 51"/>
                  <a:gd name="T46" fmla="*/ 710752 w 75"/>
                  <a:gd name="T47" fmla="*/ 3906273 h 51"/>
                  <a:gd name="T48" fmla="*/ 234820 w 75"/>
                  <a:gd name="T49" fmla="*/ 3609508 h 5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5" h="51">
                    <a:moveTo>
                      <a:pt x="3" y="47"/>
                    </a:moveTo>
                    <a:cubicBezTo>
                      <a:pt x="0" y="40"/>
                      <a:pt x="0" y="40"/>
                      <a:pt x="0" y="40"/>
                    </a:cubicBezTo>
                    <a:cubicBezTo>
                      <a:pt x="3" y="38"/>
                      <a:pt x="10" y="44"/>
                      <a:pt x="11" y="44"/>
                    </a:cubicBezTo>
                    <a:cubicBezTo>
                      <a:pt x="12" y="44"/>
                      <a:pt x="13" y="36"/>
                      <a:pt x="14" y="35"/>
                    </a:cubicBezTo>
                    <a:cubicBezTo>
                      <a:pt x="15" y="33"/>
                      <a:pt x="23" y="32"/>
                      <a:pt x="25" y="32"/>
                    </a:cubicBezTo>
                    <a:cubicBezTo>
                      <a:pt x="27" y="32"/>
                      <a:pt x="29" y="29"/>
                      <a:pt x="31" y="27"/>
                    </a:cubicBezTo>
                    <a:cubicBezTo>
                      <a:pt x="33" y="25"/>
                      <a:pt x="33" y="20"/>
                      <a:pt x="35" y="20"/>
                    </a:cubicBezTo>
                    <a:cubicBezTo>
                      <a:pt x="39" y="20"/>
                      <a:pt x="45" y="15"/>
                      <a:pt x="47" y="14"/>
                    </a:cubicBezTo>
                    <a:cubicBezTo>
                      <a:pt x="49" y="13"/>
                      <a:pt x="54" y="3"/>
                      <a:pt x="55" y="2"/>
                    </a:cubicBezTo>
                    <a:cubicBezTo>
                      <a:pt x="56" y="1"/>
                      <a:pt x="57" y="0"/>
                      <a:pt x="59" y="0"/>
                    </a:cubicBezTo>
                    <a:cubicBezTo>
                      <a:pt x="61" y="0"/>
                      <a:pt x="60" y="2"/>
                      <a:pt x="60" y="2"/>
                    </a:cubicBezTo>
                    <a:cubicBezTo>
                      <a:pt x="60" y="2"/>
                      <a:pt x="61" y="8"/>
                      <a:pt x="61" y="9"/>
                    </a:cubicBezTo>
                    <a:cubicBezTo>
                      <a:pt x="61" y="11"/>
                      <a:pt x="67" y="11"/>
                      <a:pt x="69" y="12"/>
                    </a:cubicBezTo>
                    <a:cubicBezTo>
                      <a:pt x="70" y="13"/>
                      <a:pt x="74" y="13"/>
                      <a:pt x="75" y="15"/>
                    </a:cubicBezTo>
                    <a:cubicBezTo>
                      <a:pt x="75" y="17"/>
                      <a:pt x="73" y="21"/>
                      <a:pt x="71" y="22"/>
                    </a:cubicBezTo>
                    <a:cubicBezTo>
                      <a:pt x="71" y="22"/>
                      <a:pt x="64" y="24"/>
                      <a:pt x="64" y="24"/>
                    </a:cubicBezTo>
                    <a:cubicBezTo>
                      <a:pt x="64" y="24"/>
                      <a:pt x="64" y="25"/>
                      <a:pt x="64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6" y="22"/>
                      <a:pt x="50" y="22"/>
                      <a:pt x="48" y="23"/>
                    </a:cubicBezTo>
                    <a:cubicBezTo>
                      <a:pt x="46" y="24"/>
                      <a:pt x="44" y="32"/>
                      <a:pt x="44" y="35"/>
                    </a:cubicBezTo>
                    <a:cubicBezTo>
                      <a:pt x="44" y="37"/>
                      <a:pt x="38" y="45"/>
                      <a:pt x="36" y="45"/>
                    </a:cubicBezTo>
                    <a:cubicBezTo>
                      <a:pt x="33" y="46"/>
                      <a:pt x="28" y="44"/>
                      <a:pt x="25" y="44"/>
                    </a:cubicBezTo>
                    <a:cubicBezTo>
                      <a:pt x="22" y="43"/>
                      <a:pt x="22" y="47"/>
                      <a:pt x="21" y="49"/>
                    </a:cubicBezTo>
                    <a:cubicBezTo>
                      <a:pt x="21" y="50"/>
                      <a:pt x="11" y="51"/>
                      <a:pt x="9" y="51"/>
                    </a:cubicBezTo>
                    <a:cubicBezTo>
                      <a:pt x="6" y="51"/>
                      <a:pt x="4" y="49"/>
                      <a:pt x="3" y="4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5" name="Freeform 31"/>
              <p:cNvSpPr>
                <a:spLocks/>
              </p:cNvSpPr>
              <p:nvPr/>
            </p:nvSpPr>
            <p:spPr bwMode="auto">
              <a:xfrm>
                <a:off x="4268" y="2463"/>
                <a:ext cx="67" cy="81"/>
              </a:xfrm>
              <a:custGeom>
                <a:avLst/>
                <a:gdLst>
                  <a:gd name="T0" fmla="*/ 485328 w 33"/>
                  <a:gd name="T1" fmla="*/ 1617647 h 40"/>
                  <a:gd name="T2" fmla="*/ 0 w 33"/>
                  <a:gd name="T3" fmla="*/ 0 h 40"/>
                  <a:gd name="T4" fmla="*/ 485328 w 33"/>
                  <a:gd name="T5" fmla="*/ 0 h 40"/>
                  <a:gd name="T6" fmla="*/ 746319 w 33"/>
                  <a:gd name="T7" fmla="*/ 394488 h 40"/>
                  <a:gd name="T8" fmla="*/ 1313720 w 33"/>
                  <a:gd name="T9" fmla="*/ 0 h 40"/>
                  <a:gd name="T10" fmla="*/ 1761501 w 33"/>
                  <a:gd name="T11" fmla="*/ 309791 h 40"/>
                  <a:gd name="T12" fmla="*/ 2181918 w 33"/>
                  <a:gd name="T13" fmla="*/ 951132 h 40"/>
                  <a:gd name="T14" fmla="*/ 2181918 w 33"/>
                  <a:gd name="T15" fmla="*/ 1926042 h 40"/>
                  <a:gd name="T16" fmla="*/ 2667250 w 33"/>
                  <a:gd name="T17" fmla="*/ 2732796 h 40"/>
                  <a:gd name="T18" fmla="*/ 2667250 w 33"/>
                  <a:gd name="T19" fmla="*/ 3117607 h 40"/>
                  <a:gd name="T20" fmla="*/ 2099256 w 33"/>
                  <a:gd name="T21" fmla="*/ 3042668 h 40"/>
                  <a:gd name="T22" fmla="*/ 746319 w 33"/>
                  <a:gd name="T23" fmla="*/ 2167315 h 40"/>
                  <a:gd name="T24" fmla="*/ 485328 w 33"/>
                  <a:gd name="T25" fmla="*/ 1617647 h 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" h="40">
                    <a:moveTo>
                      <a:pt x="6" y="20"/>
                    </a:moveTo>
                    <a:cubicBezTo>
                      <a:pt x="4" y="17"/>
                      <a:pt x="2" y="3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5"/>
                      <a:pt x="9" y="5"/>
                    </a:cubicBezTo>
                    <a:cubicBezTo>
                      <a:pt x="10" y="5"/>
                      <a:pt x="16" y="0"/>
                      <a:pt x="16" y="0"/>
                    </a:cubicBezTo>
                    <a:cubicBezTo>
                      <a:pt x="18" y="1"/>
                      <a:pt x="20" y="3"/>
                      <a:pt x="21" y="4"/>
                    </a:cubicBezTo>
                    <a:cubicBezTo>
                      <a:pt x="23" y="6"/>
                      <a:pt x="26" y="9"/>
                      <a:pt x="26" y="12"/>
                    </a:cubicBezTo>
                    <a:cubicBezTo>
                      <a:pt x="26" y="15"/>
                      <a:pt x="25" y="21"/>
                      <a:pt x="26" y="24"/>
                    </a:cubicBezTo>
                    <a:cubicBezTo>
                      <a:pt x="26" y="28"/>
                      <a:pt x="31" y="33"/>
                      <a:pt x="32" y="34"/>
                    </a:cubicBezTo>
                    <a:cubicBezTo>
                      <a:pt x="32" y="36"/>
                      <a:pt x="33" y="38"/>
                      <a:pt x="32" y="39"/>
                    </a:cubicBezTo>
                    <a:cubicBezTo>
                      <a:pt x="30" y="40"/>
                      <a:pt x="27" y="38"/>
                      <a:pt x="25" y="38"/>
                    </a:cubicBezTo>
                    <a:cubicBezTo>
                      <a:pt x="23" y="37"/>
                      <a:pt x="12" y="29"/>
                      <a:pt x="9" y="27"/>
                    </a:cubicBezTo>
                    <a:cubicBezTo>
                      <a:pt x="7" y="24"/>
                      <a:pt x="9" y="23"/>
                      <a:pt x="6" y="2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64" name="Freeform 32"/>
            <p:cNvSpPr>
              <a:spLocks/>
            </p:cNvSpPr>
            <p:nvPr/>
          </p:nvSpPr>
          <p:spPr bwMode="auto">
            <a:xfrm>
              <a:off x="7830657" y="4215264"/>
              <a:ext cx="159940" cy="253104"/>
            </a:xfrm>
            <a:custGeom>
              <a:avLst/>
              <a:gdLst>
                <a:gd name="T0" fmla="*/ 6147 w 57"/>
                <a:gd name="T1" fmla="*/ 5402 h 96"/>
                <a:gd name="T2" fmla="*/ 0 w 57"/>
                <a:gd name="T3" fmla="*/ 5002 h 96"/>
                <a:gd name="T4" fmla="*/ 0 w 57"/>
                <a:gd name="T5" fmla="*/ 5002 h 96"/>
                <a:gd name="T6" fmla="*/ 6147 w 57"/>
                <a:gd name="T7" fmla="*/ 3505 h 96"/>
                <a:gd name="T8" fmla="*/ 21542 w 57"/>
                <a:gd name="T9" fmla="*/ 2813 h 96"/>
                <a:gd name="T10" fmla="*/ 28458 w 57"/>
                <a:gd name="T11" fmla="*/ 2369 h 96"/>
                <a:gd name="T12" fmla="*/ 37978 w 57"/>
                <a:gd name="T13" fmla="*/ 2941 h 96"/>
                <a:gd name="T14" fmla="*/ 42153 w 57"/>
                <a:gd name="T15" fmla="*/ 1 h 96"/>
                <a:gd name="T16" fmla="*/ 59838 w 57"/>
                <a:gd name="T17" fmla="*/ 0 h 96"/>
                <a:gd name="T18" fmla="*/ 67453 w 57"/>
                <a:gd name="T19" fmla="*/ 1381 h 96"/>
                <a:gd name="T20" fmla="*/ 70255 w 57"/>
                <a:gd name="T21" fmla="*/ 3381 h 96"/>
                <a:gd name="T22" fmla="*/ 95547 w 57"/>
                <a:gd name="T23" fmla="*/ 4197 h 96"/>
                <a:gd name="T24" fmla="*/ 111172 w 57"/>
                <a:gd name="T25" fmla="*/ 3505 h 96"/>
                <a:gd name="T26" fmla="*/ 131750 w 57"/>
                <a:gd name="T27" fmla="*/ 5002 h 96"/>
                <a:gd name="T28" fmla="*/ 124037 w 57"/>
                <a:gd name="T29" fmla="*/ 6208 h 96"/>
                <a:gd name="T30" fmla="*/ 105495 w 57"/>
                <a:gd name="T31" fmla="*/ 6403 h 96"/>
                <a:gd name="T32" fmla="*/ 99730 w 57"/>
                <a:gd name="T33" fmla="*/ 8174 h 96"/>
                <a:gd name="T34" fmla="*/ 124037 w 57"/>
                <a:gd name="T35" fmla="*/ 9138 h 96"/>
                <a:gd name="T36" fmla="*/ 152995 w 57"/>
                <a:gd name="T37" fmla="*/ 11832 h 96"/>
                <a:gd name="T38" fmla="*/ 174422 w 57"/>
                <a:gd name="T39" fmla="*/ 14258 h 96"/>
                <a:gd name="T40" fmla="*/ 195153 w 57"/>
                <a:gd name="T41" fmla="*/ 16647 h 96"/>
                <a:gd name="T42" fmla="*/ 195153 w 57"/>
                <a:gd name="T43" fmla="*/ 20042 h 96"/>
                <a:gd name="T44" fmla="*/ 195153 w 57"/>
                <a:gd name="T45" fmla="*/ 23396 h 96"/>
                <a:gd name="T46" fmla="*/ 163255 w 57"/>
                <a:gd name="T47" fmla="*/ 24840 h 96"/>
                <a:gd name="T48" fmla="*/ 159245 w 57"/>
                <a:gd name="T49" fmla="*/ 26559 h 96"/>
                <a:gd name="T50" fmla="*/ 131750 w 57"/>
                <a:gd name="T51" fmla="*/ 27180 h 96"/>
                <a:gd name="T52" fmla="*/ 112422 w 57"/>
                <a:gd name="T53" fmla="*/ 28560 h 96"/>
                <a:gd name="T54" fmla="*/ 99730 w 57"/>
                <a:gd name="T55" fmla="*/ 28202 h 96"/>
                <a:gd name="T56" fmla="*/ 74422 w 57"/>
                <a:gd name="T57" fmla="*/ 27180 h 96"/>
                <a:gd name="T58" fmla="*/ 63297 w 57"/>
                <a:gd name="T59" fmla="*/ 24840 h 96"/>
                <a:gd name="T60" fmla="*/ 74422 w 57"/>
                <a:gd name="T61" fmla="*/ 24096 h 96"/>
                <a:gd name="T62" fmla="*/ 59838 w 57"/>
                <a:gd name="T63" fmla="*/ 21396 h 96"/>
                <a:gd name="T64" fmla="*/ 89597 w 57"/>
                <a:gd name="T65" fmla="*/ 19346 h 96"/>
                <a:gd name="T66" fmla="*/ 134237 w 57"/>
                <a:gd name="T67" fmla="*/ 19346 h 96"/>
                <a:gd name="T68" fmla="*/ 143347 w 57"/>
                <a:gd name="T69" fmla="*/ 16040 h 96"/>
                <a:gd name="T70" fmla="*/ 124037 w 57"/>
                <a:gd name="T71" fmla="*/ 14538 h 96"/>
                <a:gd name="T72" fmla="*/ 120730 w 57"/>
                <a:gd name="T73" fmla="*/ 11832 h 96"/>
                <a:gd name="T74" fmla="*/ 89597 w 57"/>
                <a:gd name="T75" fmla="*/ 9827 h 96"/>
                <a:gd name="T76" fmla="*/ 70255 w 57"/>
                <a:gd name="T77" fmla="*/ 11001 h 96"/>
                <a:gd name="T78" fmla="*/ 42153 w 57"/>
                <a:gd name="T79" fmla="*/ 11001 h 96"/>
                <a:gd name="T80" fmla="*/ 21542 w 57"/>
                <a:gd name="T81" fmla="*/ 12197 h 96"/>
                <a:gd name="T82" fmla="*/ 28458 w 57"/>
                <a:gd name="T83" fmla="*/ 8291 h 96"/>
                <a:gd name="T84" fmla="*/ 17075 w 57"/>
                <a:gd name="T85" fmla="*/ 7138 h 96"/>
                <a:gd name="T86" fmla="*/ 3688 w 57"/>
                <a:gd name="T87" fmla="*/ 7138 h 96"/>
                <a:gd name="T88" fmla="*/ 6147 w 57"/>
                <a:gd name="T89" fmla="*/ 5402 h 9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57" h="96">
                  <a:moveTo>
                    <a:pt x="2" y="18"/>
                  </a:moveTo>
                  <a:cubicBezTo>
                    <a:pt x="1" y="18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5" y="10"/>
                    <a:pt x="6" y="9"/>
                  </a:cubicBezTo>
                  <a:cubicBezTo>
                    <a:pt x="7" y="8"/>
                    <a:pt x="7" y="8"/>
                    <a:pt x="8" y="8"/>
                  </a:cubicBezTo>
                  <a:cubicBezTo>
                    <a:pt x="9" y="8"/>
                    <a:pt x="10" y="10"/>
                    <a:pt x="11" y="10"/>
                  </a:cubicBezTo>
                  <a:cubicBezTo>
                    <a:pt x="12" y="9"/>
                    <a:pt x="11" y="1"/>
                    <a:pt x="12" y="1"/>
                  </a:cubicBezTo>
                  <a:cubicBezTo>
                    <a:pt x="13" y="0"/>
                    <a:pt x="15" y="0"/>
                    <a:pt x="17" y="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1" y="5"/>
                    <a:pt x="20" y="9"/>
                    <a:pt x="20" y="11"/>
                  </a:cubicBezTo>
                  <a:cubicBezTo>
                    <a:pt x="21" y="14"/>
                    <a:pt x="25" y="15"/>
                    <a:pt x="27" y="14"/>
                  </a:cubicBezTo>
                  <a:cubicBezTo>
                    <a:pt x="28" y="13"/>
                    <a:pt x="29" y="11"/>
                    <a:pt x="31" y="12"/>
                  </a:cubicBezTo>
                  <a:cubicBezTo>
                    <a:pt x="33" y="13"/>
                    <a:pt x="37" y="17"/>
                    <a:pt x="37" y="17"/>
                  </a:cubicBezTo>
                  <a:cubicBezTo>
                    <a:pt x="37" y="17"/>
                    <a:pt x="36" y="20"/>
                    <a:pt x="35" y="21"/>
                  </a:cubicBezTo>
                  <a:cubicBezTo>
                    <a:pt x="35" y="23"/>
                    <a:pt x="30" y="22"/>
                    <a:pt x="30" y="22"/>
                  </a:cubicBezTo>
                  <a:cubicBezTo>
                    <a:pt x="30" y="22"/>
                    <a:pt x="27" y="26"/>
                    <a:pt x="28" y="27"/>
                  </a:cubicBezTo>
                  <a:cubicBezTo>
                    <a:pt x="29" y="27"/>
                    <a:pt x="33" y="30"/>
                    <a:pt x="35" y="31"/>
                  </a:cubicBezTo>
                  <a:cubicBezTo>
                    <a:pt x="38" y="32"/>
                    <a:pt x="41" y="38"/>
                    <a:pt x="43" y="40"/>
                  </a:cubicBezTo>
                  <a:cubicBezTo>
                    <a:pt x="44" y="43"/>
                    <a:pt x="48" y="47"/>
                    <a:pt x="49" y="48"/>
                  </a:cubicBezTo>
                  <a:cubicBezTo>
                    <a:pt x="50" y="50"/>
                    <a:pt x="54" y="54"/>
                    <a:pt x="55" y="56"/>
                  </a:cubicBezTo>
                  <a:cubicBezTo>
                    <a:pt x="56" y="59"/>
                    <a:pt x="56" y="66"/>
                    <a:pt x="55" y="68"/>
                  </a:cubicBezTo>
                  <a:cubicBezTo>
                    <a:pt x="54" y="69"/>
                    <a:pt x="57" y="77"/>
                    <a:pt x="55" y="79"/>
                  </a:cubicBezTo>
                  <a:cubicBezTo>
                    <a:pt x="53" y="81"/>
                    <a:pt x="48" y="84"/>
                    <a:pt x="46" y="84"/>
                  </a:cubicBezTo>
                  <a:cubicBezTo>
                    <a:pt x="44" y="84"/>
                    <a:pt x="47" y="89"/>
                    <a:pt x="45" y="90"/>
                  </a:cubicBezTo>
                  <a:cubicBezTo>
                    <a:pt x="44" y="92"/>
                    <a:pt x="39" y="91"/>
                    <a:pt x="37" y="92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1" y="96"/>
                    <a:pt x="29" y="95"/>
                    <a:pt x="28" y="95"/>
                  </a:cubicBezTo>
                  <a:cubicBezTo>
                    <a:pt x="26" y="95"/>
                    <a:pt x="21" y="94"/>
                    <a:pt x="21" y="92"/>
                  </a:cubicBezTo>
                  <a:cubicBezTo>
                    <a:pt x="21" y="90"/>
                    <a:pt x="20" y="86"/>
                    <a:pt x="18" y="84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16" y="73"/>
                    <a:pt x="17" y="72"/>
                  </a:cubicBezTo>
                  <a:cubicBezTo>
                    <a:pt x="18" y="70"/>
                    <a:pt x="23" y="66"/>
                    <a:pt x="25" y="65"/>
                  </a:cubicBezTo>
                  <a:cubicBezTo>
                    <a:pt x="27" y="65"/>
                    <a:pt x="35" y="66"/>
                    <a:pt x="38" y="65"/>
                  </a:cubicBezTo>
                  <a:cubicBezTo>
                    <a:pt x="40" y="64"/>
                    <a:pt x="40" y="59"/>
                    <a:pt x="40" y="55"/>
                  </a:cubicBezTo>
                  <a:cubicBezTo>
                    <a:pt x="40" y="52"/>
                    <a:pt x="37" y="52"/>
                    <a:pt x="35" y="49"/>
                  </a:cubicBezTo>
                  <a:cubicBezTo>
                    <a:pt x="34" y="46"/>
                    <a:pt x="35" y="41"/>
                    <a:pt x="34" y="40"/>
                  </a:cubicBezTo>
                  <a:cubicBezTo>
                    <a:pt x="32" y="38"/>
                    <a:pt x="27" y="33"/>
                    <a:pt x="25" y="33"/>
                  </a:cubicBezTo>
                  <a:cubicBezTo>
                    <a:pt x="23" y="33"/>
                    <a:pt x="22" y="37"/>
                    <a:pt x="20" y="37"/>
                  </a:cubicBezTo>
                  <a:cubicBezTo>
                    <a:pt x="17" y="37"/>
                    <a:pt x="14" y="36"/>
                    <a:pt x="12" y="37"/>
                  </a:cubicBezTo>
                  <a:cubicBezTo>
                    <a:pt x="11" y="38"/>
                    <a:pt x="6" y="43"/>
                    <a:pt x="6" y="41"/>
                  </a:cubicBezTo>
                  <a:cubicBezTo>
                    <a:pt x="5" y="39"/>
                    <a:pt x="9" y="30"/>
                    <a:pt x="8" y="28"/>
                  </a:cubicBezTo>
                  <a:cubicBezTo>
                    <a:pt x="8" y="25"/>
                    <a:pt x="8" y="23"/>
                    <a:pt x="5" y="24"/>
                  </a:cubicBezTo>
                  <a:cubicBezTo>
                    <a:pt x="2" y="25"/>
                    <a:pt x="0" y="26"/>
                    <a:pt x="1" y="24"/>
                  </a:cubicBezTo>
                  <a:cubicBezTo>
                    <a:pt x="1" y="22"/>
                    <a:pt x="3" y="18"/>
                    <a:pt x="2" y="1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33"/>
            <p:cNvSpPr>
              <a:spLocks/>
            </p:cNvSpPr>
            <p:nvPr/>
          </p:nvSpPr>
          <p:spPr bwMode="auto">
            <a:xfrm>
              <a:off x="7773415" y="4259604"/>
              <a:ext cx="168358" cy="299291"/>
            </a:xfrm>
            <a:custGeom>
              <a:avLst/>
              <a:gdLst>
                <a:gd name="T0" fmla="*/ 16167 w 61"/>
                <a:gd name="T1" fmla="*/ 26065 h 114"/>
                <a:gd name="T2" fmla="*/ 16167 w 61"/>
                <a:gd name="T3" fmla="*/ 21715 h 114"/>
                <a:gd name="T4" fmla="*/ 16167 w 61"/>
                <a:gd name="T5" fmla="*/ 20891 h 114"/>
                <a:gd name="T6" fmla="*/ 34784 w 61"/>
                <a:gd name="T7" fmla="*/ 17895 h 114"/>
                <a:gd name="T8" fmla="*/ 34784 w 61"/>
                <a:gd name="T9" fmla="*/ 15612 h 114"/>
                <a:gd name="T10" fmla="*/ 26503 w 61"/>
                <a:gd name="T11" fmla="*/ 13030 h 114"/>
                <a:gd name="T12" fmla="*/ 25228 w 61"/>
                <a:gd name="T13" fmla="*/ 11069 h 114"/>
                <a:gd name="T14" fmla="*/ 26503 w 61"/>
                <a:gd name="T15" fmla="*/ 7789 h 114"/>
                <a:gd name="T16" fmla="*/ 2938 w 61"/>
                <a:gd name="T17" fmla="*/ 4540 h 114"/>
                <a:gd name="T18" fmla="*/ 11203 w 61"/>
                <a:gd name="T19" fmla="*/ 1779 h 114"/>
                <a:gd name="T20" fmla="*/ 26503 w 61"/>
                <a:gd name="T21" fmla="*/ 1344 h 114"/>
                <a:gd name="T22" fmla="*/ 43448 w 61"/>
                <a:gd name="T23" fmla="*/ 1 h 114"/>
                <a:gd name="T24" fmla="*/ 57023 w 61"/>
                <a:gd name="T25" fmla="*/ 0 h 114"/>
                <a:gd name="T26" fmla="*/ 62967 w 61"/>
                <a:gd name="T27" fmla="*/ 1 h 114"/>
                <a:gd name="T28" fmla="*/ 60026 w 61"/>
                <a:gd name="T29" fmla="*/ 1910 h 114"/>
                <a:gd name="T30" fmla="*/ 71226 w 61"/>
                <a:gd name="T31" fmla="*/ 1910 h 114"/>
                <a:gd name="T32" fmla="*/ 80218 w 61"/>
                <a:gd name="T33" fmla="*/ 3195 h 114"/>
                <a:gd name="T34" fmla="*/ 72615 w 61"/>
                <a:gd name="T35" fmla="*/ 6589 h 114"/>
                <a:gd name="T36" fmla="*/ 90134 w 61"/>
                <a:gd name="T37" fmla="*/ 5481 h 114"/>
                <a:gd name="T38" fmla="*/ 111144 w 61"/>
                <a:gd name="T39" fmla="*/ 5481 h 114"/>
                <a:gd name="T40" fmla="*/ 124767 w 61"/>
                <a:gd name="T41" fmla="*/ 4540 h 114"/>
                <a:gd name="T42" fmla="*/ 149802 w 61"/>
                <a:gd name="T43" fmla="*/ 6452 h 114"/>
                <a:gd name="T44" fmla="*/ 153246 w 61"/>
                <a:gd name="T45" fmla="*/ 8724 h 114"/>
                <a:gd name="T46" fmla="*/ 166128 w 61"/>
                <a:gd name="T47" fmla="*/ 10504 h 114"/>
                <a:gd name="T48" fmla="*/ 161316 w 61"/>
                <a:gd name="T49" fmla="*/ 13305 h 114"/>
                <a:gd name="T50" fmla="*/ 124767 w 61"/>
                <a:gd name="T51" fmla="*/ 13305 h 114"/>
                <a:gd name="T52" fmla="*/ 103225 w 61"/>
                <a:gd name="T53" fmla="*/ 15281 h 114"/>
                <a:gd name="T54" fmla="*/ 114230 w 61"/>
                <a:gd name="T55" fmla="*/ 17617 h 114"/>
                <a:gd name="T56" fmla="*/ 106098 w 61"/>
                <a:gd name="T57" fmla="*/ 18516 h 114"/>
                <a:gd name="T58" fmla="*/ 90134 w 61"/>
                <a:gd name="T59" fmla="*/ 17563 h 114"/>
                <a:gd name="T60" fmla="*/ 72615 w 61"/>
                <a:gd name="T61" fmla="*/ 16561 h 114"/>
                <a:gd name="T62" fmla="*/ 72615 w 61"/>
                <a:gd name="T63" fmla="*/ 14927 h 114"/>
                <a:gd name="T64" fmla="*/ 54982 w 61"/>
                <a:gd name="T65" fmla="*/ 14927 h 114"/>
                <a:gd name="T66" fmla="*/ 49357 w 61"/>
                <a:gd name="T67" fmla="*/ 18342 h 114"/>
                <a:gd name="T68" fmla="*/ 38410 w 61"/>
                <a:gd name="T69" fmla="*/ 22185 h 114"/>
                <a:gd name="T70" fmla="*/ 41357 w 61"/>
                <a:gd name="T71" fmla="*/ 23699 h 114"/>
                <a:gd name="T72" fmla="*/ 54982 w 61"/>
                <a:gd name="T73" fmla="*/ 23699 h 114"/>
                <a:gd name="T74" fmla="*/ 60026 w 61"/>
                <a:gd name="T75" fmla="*/ 25741 h 114"/>
                <a:gd name="T76" fmla="*/ 71226 w 61"/>
                <a:gd name="T77" fmla="*/ 28326 h 114"/>
                <a:gd name="T78" fmla="*/ 90134 w 61"/>
                <a:gd name="T79" fmla="*/ 28685 h 114"/>
                <a:gd name="T80" fmla="*/ 101338 w 61"/>
                <a:gd name="T81" fmla="*/ 30143 h 114"/>
                <a:gd name="T82" fmla="*/ 80913 w 61"/>
                <a:gd name="T83" fmla="*/ 31526 h 114"/>
                <a:gd name="T84" fmla="*/ 72615 w 61"/>
                <a:gd name="T85" fmla="*/ 30143 h 114"/>
                <a:gd name="T86" fmla="*/ 57023 w 61"/>
                <a:gd name="T87" fmla="*/ 30143 h 114"/>
                <a:gd name="T88" fmla="*/ 25228 w 61"/>
                <a:gd name="T89" fmla="*/ 26312 h 114"/>
                <a:gd name="T90" fmla="*/ 16167 w 61"/>
                <a:gd name="T91" fmla="*/ 26065 h 11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61" h="114">
                  <a:moveTo>
                    <a:pt x="6" y="94"/>
                  </a:moveTo>
                  <a:cubicBezTo>
                    <a:pt x="6" y="90"/>
                    <a:pt x="6" y="83"/>
                    <a:pt x="6" y="78"/>
                  </a:cubicBezTo>
                  <a:cubicBezTo>
                    <a:pt x="6" y="77"/>
                    <a:pt x="6" y="76"/>
                    <a:pt x="6" y="7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4"/>
                    <a:pt x="13" y="57"/>
                    <a:pt x="13" y="56"/>
                  </a:cubicBezTo>
                  <a:cubicBezTo>
                    <a:pt x="13" y="55"/>
                    <a:pt x="12" y="49"/>
                    <a:pt x="10" y="47"/>
                  </a:cubicBezTo>
                  <a:cubicBezTo>
                    <a:pt x="9" y="45"/>
                    <a:pt x="9" y="41"/>
                    <a:pt x="9" y="40"/>
                  </a:cubicBezTo>
                  <a:cubicBezTo>
                    <a:pt x="10" y="38"/>
                    <a:pt x="10" y="31"/>
                    <a:pt x="10" y="28"/>
                  </a:cubicBezTo>
                  <a:cubicBezTo>
                    <a:pt x="10" y="25"/>
                    <a:pt x="0" y="17"/>
                    <a:pt x="1" y="16"/>
                  </a:cubicBezTo>
                  <a:cubicBezTo>
                    <a:pt x="2" y="14"/>
                    <a:pt x="3" y="8"/>
                    <a:pt x="4" y="6"/>
                  </a:cubicBezTo>
                  <a:cubicBezTo>
                    <a:pt x="5" y="5"/>
                    <a:pt x="9" y="5"/>
                    <a:pt x="10" y="5"/>
                  </a:cubicBezTo>
                  <a:cubicBezTo>
                    <a:pt x="11" y="5"/>
                    <a:pt x="14" y="3"/>
                    <a:pt x="16" y="1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1" y="0"/>
                    <a:pt x="22" y="1"/>
                    <a:pt x="23" y="1"/>
                  </a:cubicBezTo>
                  <a:cubicBezTo>
                    <a:pt x="24" y="1"/>
                    <a:pt x="22" y="5"/>
                    <a:pt x="22" y="7"/>
                  </a:cubicBezTo>
                  <a:cubicBezTo>
                    <a:pt x="21" y="9"/>
                    <a:pt x="23" y="8"/>
                    <a:pt x="26" y="7"/>
                  </a:cubicBezTo>
                  <a:cubicBezTo>
                    <a:pt x="29" y="6"/>
                    <a:pt x="29" y="8"/>
                    <a:pt x="29" y="11"/>
                  </a:cubicBezTo>
                  <a:cubicBezTo>
                    <a:pt x="30" y="13"/>
                    <a:pt x="26" y="22"/>
                    <a:pt x="27" y="24"/>
                  </a:cubicBezTo>
                  <a:cubicBezTo>
                    <a:pt x="27" y="26"/>
                    <a:pt x="32" y="21"/>
                    <a:pt x="33" y="20"/>
                  </a:cubicBezTo>
                  <a:cubicBezTo>
                    <a:pt x="35" y="19"/>
                    <a:pt x="38" y="20"/>
                    <a:pt x="41" y="20"/>
                  </a:cubicBezTo>
                  <a:cubicBezTo>
                    <a:pt x="43" y="20"/>
                    <a:pt x="44" y="16"/>
                    <a:pt x="46" y="16"/>
                  </a:cubicBezTo>
                  <a:cubicBezTo>
                    <a:pt x="48" y="16"/>
                    <a:pt x="53" y="21"/>
                    <a:pt x="55" y="23"/>
                  </a:cubicBezTo>
                  <a:cubicBezTo>
                    <a:pt x="56" y="24"/>
                    <a:pt x="55" y="29"/>
                    <a:pt x="56" y="32"/>
                  </a:cubicBezTo>
                  <a:cubicBezTo>
                    <a:pt x="58" y="35"/>
                    <a:pt x="61" y="35"/>
                    <a:pt x="61" y="38"/>
                  </a:cubicBezTo>
                  <a:cubicBezTo>
                    <a:pt x="61" y="42"/>
                    <a:pt x="61" y="47"/>
                    <a:pt x="59" y="48"/>
                  </a:cubicBezTo>
                  <a:cubicBezTo>
                    <a:pt x="56" y="49"/>
                    <a:pt x="48" y="48"/>
                    <a:pt x="46" y="48"/>
                  </a:cubicBezTo>
                  <a:cubicBezTo>
                    <a:pt x="44" y="49"/>
                    <a:pt x="39" y="53"/>
                    <a:pt x="38" y="55"/>
                  </a:cubicBezTo>
                  <a:cubicBezTo>
                    <a:pt x="37" y="56"/>
                    <a:pt x="42" y="64"/>
                    <a:pt x="42" y="64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7" y="65"/>
                    <a:pt x="35" y="64"/>
                    <a:pt x="33" y="63"/>
                  </a:cubicBezTo>
                  <a:cubicBezTo>
                    <a:pt x="31" y="62"/>
                    <a:pt x="26" y="61"/>
                    <a:pt x="27" y="60"/>
                  </a:cubicBezTo>
                  <a:cubicBezTo>
                    <a:pt x="27" y="58"/>
                    <a:pt x="28" y="56"/>
                    <a:pt x="27" y="54"/>
                  </a:cubicBezTo>
                  <a:cubicBezTo>
                    <a:pt x="27" y="53"/>
                    <a:pt x="20" y="53"/>
                    <a:pt x="20" y="54"/>
                  </a:cubicBezTo>
                  <a:cubicBezTo>
                    <a:pt x="19" y="55"/>
                    <a:pt x="19" y="65"/>
                    <a:pt x="18" y="66"/>
                  </a:cubicBezTo>
                  <a:cubicBezTo>
                    <a:pt x="17" y="68"/>
                    <a:pt x="14" y="77"/>
                    <a:pt x="14" y="80"/>
                  </a:cubicBezTo>
                  <a:cubicBezTo>
                    <a:pt x="14" y="83"/>
                    <a:pt x="15" y="86"/>
                    <a:pt x="15" y="86"/>
                  </a:cubicBezTo>
                  <a:cubicBezTo>
                    <a:pt x="15" y="86"/>
                    <a:pt x="20" y="84"/>
                    <a:pt x="20" y="86"/>
                  </a:cubicBezTo>
                  <a:cubicBezTo>
                    <a:pt x="20" y="87"/>
                    <a:pt x="21" y="90"/>
                    <a:pt x="22" y="93"/>
                  </a:cubicBezTo>
                  <a:cubicBezTo>
                    <a:pt x="23" y="96"/>
                    <a:pt x="23" y="102"/>
                    <a:pt x="26" y="103"/>
                  </a:cubicBezTo>
                  <a:cubicBezTo>
                    <a:pt x="28" y="105"/>
                    <a:pt x="31" y="103"/>
                    <a:pt x="33" y="104"/>
                  </a:cubicBezTo>
                  <a:cubicBezTo>
                    <a:pt x="33" y="105"/>
                    <a:pt x="35" y="107"/>
                    <a:pt x="37" y="109"/>
                  </a:cubicBezTo>
                  <a:cubicBezTo>
                    <a:pt x="37" y="109"/>
                    <a:pt x="31" y="114"/>
                    <a:pt x="30" y="114"/>
                  </a:cubicBezTo>
                  <a:cubicBezTo>
                    <a:pt x="28" y="114"/>
                    <a:pt x="27" y="109"/>
                    <a:pt x="27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8" y="106"/>
                    <a:pt x="10" y="95"/>
                    <a:pt x="9" y="95"/>
                  </a:cubicBezTo>
                  <a:cubicBezTo>
                    <a:pt x="8" y="95"/>
                    <a:pt x="6" y="97"/>
                    <a:pt x="6" y="9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366" name="Group 34"/>
            <p:cNvGrpSpPr>
              <a:grpSpLocks/>
            </p:cNvGrpSpPr>
            <p:nvPr/>
          </p:nvGrpSpPr>
          <p:grpSpPr bwMode="auto">
            <a:xfrm>
              <a:off x="7719540" y="4558895"/>
              <a:ext cx="981530" cy="328851"/>
              <a:chOff x="4187" y="2473"/>
              <a:chExt cx="713" cy="253"/>
            </a:xfrm>
            <a:solidFill>
              <a:srgbClr val="EBEBE3"/>
            </a:solidFill>
          </p:grpSpPr>
          <p:sp>
            <p:nvSpPr>
              <p:cNvPr id="604" name="Freeform 35"/>
              <p:cNvSpPr>
                <a:spLocks/>
              </p:cNvSpPr>
              <p:nvPr/>
            </p:nvSpPr>
            <p:spPr bwMode="auto">
              <a:xfrm>
                <a:off x="4742" y="2567"/>
                <a:ext cx="158" cy="135"/>
              </a:xfrm>
              <a:custGeom>
                <a:avLst/>
                <a:gdLst>
                  <a:gd name="T0" fmla="*/ 0 w 78"/>
                  <a:gd name="T1" fmla="*/ 506460 h 67"/>
                  <a:gd name="T2" fmla="*/ 310662 w 78"/>
                  <a:gd name="T3" fmla="*/ 286956 h 67"/>
                  <a:gd name="T4" fmla="*/ 707573 w 78"/>
                  <a:gd name="T5" fmla="*/ 142415 h 67"/>
                  <a:gd name="T6" fmla="*/ 1112383 w 78"/>
                  <a:gd name="T7" fmla="*/ 0 h 67"/>
                  <a:gd name="T8" fmla="*/ 1624023 w 78"/>
                  <a:gd name="T9" fmla="*/ 215220 h 67"/>
                  <a:gd name="T10" fmla="*/ 2019467 w 78"/>
                  <a:gd name="T11" fmla="*/ 286956 h 67"/>
                  <a:gd name="T12" fmla="*/ 2099364 w 78"/>
                  <a:gd name="T13" fmla="*/ 948728 h 67"/>
                  <a:gd name="T14" fmla="*/ 2582117 w 78"/>
                  <a:gd name="T15" fmla="*/ 1616021 h 67"/>
                  <a:gd name="T16" fmla="*/ 3052862 w 78"/>
                  <a:gd name="T17" fmla="*/ 1544289 h 67"/>
                  <a:gd name="T18" fmla="*/ 3684722 w 78"/>
                  <a:gd name="T19" fmla="*/ 948728 h 67"/>
                  <a:gd name="T20" fmla="*/ 4327602 w 78"/>
                  <a:gd name="T21" fmla="*/ 657488 h 67"/>
                  <a:gd name="T22" fmla="*/ 5561019 w 78"/>
                  <a:gd name="T23" fmla="*/ 1020479 h 67"/>
                  <a:gd name="T24" fmla="*/ 6266855 w 78"/>
                  <a:gd name="T25" fmla="*/ 1253056 h 67"/>
                  <a:gd name="T26" fmla="*/ 6266855 w 78"/>
                  <a:gd name="T27" fmla="*/ 4942868 h 67"/>
                  <a:gd name="T28" fmla="*/ 5384158 w 78"/>
                  <a:gd name="T29" fmla="*/ 4438584 h 67"/>
                  <a:gd name="T30" fmla="*/ 4835306 w 78"/>
                  <a:gd name="T31" fmla="*/ 4585352 h 67"/>
                  <a:gd name="T32" fmla="*/ 4165263 w 78"/>
                  <a:gd name="T33" fmla="*/ 4585352 h 67"/>
                  <a:gd name="T34" fmla="*/ 4638416 w 78"/>
                  <a:gd name="T35" fmla="*/ 3922308 h 67"/>
                  <a:gd name="T36" fmla="*/ 5072612 w 78"/>
                  <a:gd name="T37" fmla="*/ 3780028 h 67"/>
                  <a:gd name="T38" fmla="*/ 4486151 w 78"/>
                  <a:gd name="T39" fmla="*/ 3184434 h 67"/>
                  <a:gd name="T40" fmla="*/ 4015268 w 78"/>
                  <a:gd name="T41" fmla="*/ 2669351 h 67"/>
                  <a:gd name="T42" fmla="*/ 2582117 w 78"/>
                  <a:gd name="T43" fmla="*/ 2202853 h 67"/>
                  <a:gd name="T44" fmla="*/ 1856417 w 78"/>
                  <a:gd name="T45" fmla="*/ 1839881 h 67"/>
                  <a:gd name="T46" fmla="*/ 1433289 w 78"/>
                  <a:gd name="T47" fmla="*/ 2202853 h 67"/>
                  <a:gd name="T48" fmla="*/ 1112383 w 78"/>
                  <a:gd name="T49" fmla="*/ 2056189 h 67"/>
                  <a:gd name="T50" fmla="*/ 1036395 w 78"/>
                  <a:gd name="T51" fmla="*/ 1688860 h 67"/>
                  <a:gd name="T52" fmla="*/ 629290 w 78"/>
                  <a:gd name="T53" fmla="*/ 1469364 h 67"/>
                  <a:gd name="T54" fmla="*/ 1624023 w 78"/>
                  <a:gd name="T55" fmla="*/ 1253056 h 67"/>
                  <a:gd name="T56" fmla="*/ 958485 w 78"/>
                  <a:gd name="T57" fmla="*/ 948728 h 67"/>
                  <a:gd name="T58" fmla="*/ 549151 w 78"/>
                  <a:gd name="T59" fmla="*/ 948728 h 67"/>
                  <a:gd name="T60" fmla="*/ 395792 w 78"/>
                  <a:gd name="T61" fmla="*/ 729240 h 67"/>
                  <a:gd name="T62" fmla="*/ 0 w 78"/>
                  <a:gd name="T63" fmla="*/ 506460 h 6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78" h="67">
                    <a:moveTo>
                      <a:pt x="0" y="7"/>
                    </a:moveTo>
                    <a:cubicBezTo>
                      <a:pt x="0" y="5"/>
                      <a:pt x="3" y="4"/>
                      <a:pt x="4" y="4"/>
                    </a:cubicBezTo>
                    <a:cubicBezTo>
                      <a:pt x="5" y="4"/>
                      <a:pt x="7" y="3"/>
                      <a:pt x="9" y="2"/>
                    </a:cubicBezTo>
                    <a:cubicBezTo>
                      <a:pt x="11" y="1"/>
                      <a:pt x="12" y="0"/>
                      <a:pt x="14" y="0"/>
                    </a:cubicBezTo>
                    <a:cubicBezTo>
                      <a:pt x="17" y="1"/>
                      <a:pt x="19" y="4"/>
                      <a:pt x="20" y="3"/>
                    </a:cubicBezTo>
                    <a:cubicBezTo>
                      <a:pt x="22" y="3"/>
                      <a:pt x="24" y="3"/>
                      <a:pt x="25" y="4"/>
                    </a:cubicBezTo>
                    <a:cubicBezTo>
                      <a:pt x="26" y="5"/>
                      <a:pt x="26" y="11"/>
                      <a:pt x="26" y="13"/>
                    </a:cubicBezTo>
                    <a:cubicBezTo>
                      <a:pt x="26" y="15"/>
                      <a:pt x="30" y="21"/>
                      <a:pt x="32" y="22"/>
                    </a:cubicBezTo>
                    <a:cubicBezTo>
                      <a:pt x="34" y="23"/>
                      <a:pt x="36" y="23"/>
                      <a:pt x="38" y="21"/>
                    </a:cubicBezTo>
                    <a:cubicBezTo>
                      <a:pt x="39" y="18"/>
                      <a:pt x="45" y="15"/>
                      <a:pt x="46" y="13"/>
                    </a:cubicBezTo>
                    <a:cubicBezTo>
                      <a:pt x="47" y="12"/>
                      <a:pt x="52" y="8"/>
                      <a:pt x="54" y="9"/>
                    </a:cubicBezTo>
                    <a:cubicBezTo>
                      <a:pt x="57" y="10"/>
                      <a:pt x="65" y="13"/>
                      <a:pt x="69" y="14"/>
                    </a:cubicBezTo>
                    <a:cubicBezTo>
                      <a:pt x="71" y="15"/>
                      <a:pt x="74" y="16"/>
                      <a:pt x="78" y="17"/>
                    </a:cubicBezTo>
                    <a:cubicBezTo>
                      <a:pt x="78" y="67"/>
                      <a:pt x="78" y="67"/>
                      <a:pt x="78" y="67"/>
                    </a:cubicBezTo>
                    <a:cubicBezTo>
                      <a:pt x="75" y="64"/>
                      <a:pt x="70" y="60"/>
                      <a:pt x="67" y="60"/>
                    </a:cubicBezTo>
                    <a:cubicBezTo>
                      <a:pt x="65" y="60"/>
                      <a:pt x="63" y="62"/>
                      <a:pt x="60" y="62"/>
                    </a:cubicBezTo>
                    <a:cubicBezTo>
                      <a:pt x="57" y="62"/>
                      <a:pt x="52" y="64"/>
                      <a:pt x="52" y="62"/>
                    </a:cubicBezTo>
                    <a:cubicBezTo>
                      <a:pt x="52" y="60"/>
                      <a:pt x="56" y="54"/>
                      <a:pt x="58" y="53"/>
                    </a:cubicBezTo>
                    <a:cubicBezTo>
                      <a:pt x="60" y="53"/>
                      <a:pt x="64" y="52"/>
                      <a:pt x="63" y="51"/>
                    </a:cubicBezTo>
                    <a:cubicBezTo>
                      <a:pt x="63" y="50"/>
                      <a:pt x="57" y="45"/>
                      <a:pt x="56" y="43"/>
                    </a:cubicBezTo>
                    <a:cubicBezTo>
                      <a:pt x="55" y="40"/>
                      <a:pt x="54" y="38"/>
                      <a:pt x="50" y="36"/>
                    </a:cubicBezTo>
                    <a:cubicBezTo>
                      <a:pt x="47" y="35"/>
                      <a:pt x="35" y="31"/>
                      <a:pt x="32" y="30"/>
                    </a:cubicBezTo>
                    <a:cubicBezTo>
                      <a:pt x="29" y="29"/>
                      <a:pt x="24" y="26"/>
                      <a:pt x="23" y="25"/>
                    </a:cubicBezTo>
                    <a:cubicBezTo>
                      <a:pt x="21" y="25"/>
                      <a:pt x="20" y="30"/>
                      <a:pt x="18" y="30"/>
                    </a:cubicBezTo>
                    <a:cubicBezTo>
                      <a:pt x="17" y="30"/>
                      <a:pt x="14" y="29"/>
                      <a:pt x="14" y="28"/>
                    </a:cubicBezTo>
                    <a:cubicBezTo>
                      <a:pt x="14" y="27"/>
                      <a:pt x="14" y="25"/>
                      <a:pt x="13" y="23"/>
                    </a:cubicBezTo>
                    <a:cubicBezTo>
                      <a:pt x="12" y="22"/>
                      <a:pt x="8" y="21"/>
                      <a:pt x="8" y="20"/>
                    </a:cubicBezTo>
                    <a:cubicBezTo>
                      <a:pt x="9" y="18"/>
                      <a:pt x="20" y="18"/>
                      <a:pt x="20" y="17"/>
                    </a:cubicBezTo>
                    <a:cubicBezTo>
                      <a:pt x="20" y="16"/>
                      <a:pt x="15" y="14"/>
                      <a:pt x="12" y="13"/>
                    </a:cubicBezTo>
                    <a:cubicBezTo>
                      <a:pt x="10" y="13"/>
                      <a:pt x="8" y="15"/>
                      <a:pt x="7" y="13"/>
                    </a:cubicBezTo>
                    <a:cubicBezTo>
                      <a:pt x="7" y="11"/>
                      <a:pt x="7" y="11"/>
                      <a:pt x="5" y="10"/>
                    </a:cubicBezTo>
                    <a:cubicBezTo>
                      <a:pt x="3" y="9"/>
                      <a:pt x="0" y="7"/>
                      <a:pt x="0" y="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5" name="Freeform 36"/>
              <p:cNvSpPr>
                <a:spLocks/>
              </p:cNvSpPr>
              <p:nvPr/>
            </p:nvSpPr>
            <p:spPr bwMode="auto">
              <a:xfrm>
                <a:off x="4699" y="2605"/>
                <a:ext cx="47" cy="18"/>
              </a:xfrm>
              <a:custGeom>
                <a:avLst/>
                <a:gdLst>
                  <a:gd name="T0" fmla="*/ 85127 w 23"/>
                  <a:gd name="T1" fmla="*/ 65536 h 9"/>
                  <a:gd name="T2" fmla="*/ 822800 w 23"/>
                  <a:gd name="T3" fmla="*/ 0 h 9"/>
                  <a:gd name="T4" fmla="*/ 1764470 w 23"/>
                  <a:gd name="T5" fmla="*/ 131072 h 9"/>
                  <a:gd name="T6" fmla="*/ 2036839 w 23"/>
                  <a:gd name="T7" fmla="*/ 589824 h 9"/>
                  <a:gd name="T8" fmla="*/ 1484385 w 23"/>
                  <a:gd name="T9" fmla="*/ 393216 h 9"/>
                  <a:gd name="T10" fmla="*/ 996751 w 23"/>
                  <a:gd name="T11" fmla="*/ 262144 h 9"/>
                  <a:gd name="T12" fmla="*/ 355473 w 23"/>
                  <a:gd name="T13" fmla="*/ 393216 h 9"/>
                  <a:gd name="T14" fmla="*/ 85127 w 23"/>
                  <a:gd name="T15" fmla="*/ 65536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1" y="1"/>
                    </a:moveTo>
                    <a:cubicBezTo>
                      <a:pt x="1" y="0"/>
                      <a:pt x="7" y="0"/>
                      <a:pt x="9" y="0"/>
                    </a:cubicBezTo>
                    <a:cubicBezTo>
                      <a:pt x="11" y="0"/>
                      <a:pt x="17" y="0"/>
                      <a:pt x="19" y="2"/>
                    </a:cubicBezTo>
                    <a:cubicBezTo>
                      <a:pt x="20" y="4"/>
                      <a:pt x="23" y="8"/>
                      <a:pt x="22" y="9"/>
                    </a:cubicBezTo>
                    <a:cubicBezTo>
                      <a:pt x="21" y="9"/>
                      <a:pt x="18" y="7"/>
                      <a:pt x="16" y="6"/>
                    </a:cubicBezTo>
                    <a:cubicBezTo>
                      <a:pt x="15" y="5"/>
                      <a:pt x="13" y="4"/>
                      <a:pt x="11" y="4"/>
                    </a:cubicBezTo>
                    <a:cubicBezTo>
                      <a:pt x="10" y="4"/>
                      <a:pt x="4" y="6"/>
                      <a:pt x="4" y="6"/>
                    </a:cubicBezTo>
                    <a:cubicBezTo>
                      <a:pt x="2" y="5"/>
                      <a:pt x="0" y="2"/>
                      <a:pt x="1" y="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6" name="Freeform 37"/>
              <p:cNvSpPr>
                <a:spLocks/>
              </p:cNvSpPr>
              <p:nvPr/>
            </p:nvSpPr>
            <p:spPr bwMode="auto">
              <a:xfrm>
                <a:off x="4687" y="2526"/>
                <a:ext cx="27" cy="55"/>
              </a:xfrm>
              <a:custGeom>
                <a:avLst/>
                <a:gdLst>
                  <a:gd name="T0" fmla="*/ 586797 w 13"/>
                  <a:gd name="T1" fmla="*/ 2037004 h 27"/>
                  <a:gd name="T2" fmla="*/ 109338 w 13"/>
                  <a:gd name="T3" fmla="*/ 1244552 h 27"/>
                  <a:gd name="T4" fmla="*/ 227087 w 13"/>
                  <a:gd name="T5" fmla="*/ 428057 h 27"/>
                  <a:gd name="T6" fmla="*/ 694461 w 13"/>
                  <a:gd name="T7" fmla="*/ 0 h 27"/>
                  <a:gd name="T8" fmla="*/ 694461 w 13"/>
                  <a:gd name="T9" fmla="*/ 340754 h 27"/>
                  <a:gd name="T10" fmla="*/ 1339609 w 13"/>
                  <a:gd name="T11" fmla="*/ 428057 h 27"/>
                  <a:gd name="T12" fmla="*/ 1083095 w 13"/>
                  <a:gd name="T13" fmla="*/ 782740 h 27"/>
                  <a:gd name="T14" fmla="*/ 1442342 w 13"/>
                  <a:gd name="T15" fmla="*/ 1333577 h 27"/>
                  <a:gd name="T16" fmla="*/ 855854 w 13"/>
                  <a:gd name="T17" fmla="*/ 1413966 h 27"/>
                  <a:gd name="T18" fmla="*/ 1083095 w 13"/>
                  <a:gd name="T19" fmla="*/ 2288204 h 27"/>
                  <a:gd name="T20" fmla="*/ 586797 w 13"/>
                  <a:gd name="T21" fmla="*/ 2037004 h 2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3" h="27">
                    <a:moveTo>
                      <a:pt x="5" y="23"/>
                    </a:moveTo>
                    <a:cubicBezTo>
                      <a:pt x="3" y="22"/>
                      <a:pt x="1" y="17"/>
                      <a:pt x="1" y="14"/>
                    </a:cubicBezTo>
                    <a:cubicBezTo>
                      <a:pt x="1" y="11"/>
                      <a:pt x="0" y="8"/>
                      <a:pt x="2" y="5"/>
                    </a:cubicBezTo>
                    <a:cubicBezTo>
                      <a:pt x="3" y="2"/>
                      <a:pt x="5" y="0"/>
                      <a:pt x="6" y="0"/>
                    </a:cubicBezTo>
                    <a:cubicBezTo>
                      <a:pt x="6" y="0"/>
                      <a:pt x="7" y="2"/>
                      <a:pt x="6" y="4"/>
                    </a:cubicBezTo>
                    <a:cubicBezTo>
                      <a:pt x="6" y="6"/>
                      <a:pt x="10" y="4"/>
                      <a:pt x="11" y="5"/>
                    </a:cubicBezTo>
                    <a:cubicBezTo>
                      <a:pt x="13" y="6"/>
                      <a:pt x="10" y="8"/>
                      <a:pt x="9" y="9"/>
                    </a:cubicBezTo>
                    <a:cubicBezTo>
                      <a:pt x="9" y="11"/>
                      <a:pt x="13" y="13"/>
                      <a:pt x="12" y="15"/>
                    </a:cubicBezTo>
                    <a:cubicBezTo>
                      <a:pt x="11" y="17"/>
                      <a:pt x="8" y="16"/>
                      <a:pt x="7" y="16"/>
                    </a:cubicBezTo>
                    <a:cubicBezTo>
                      <a:pt x="5" y="17"/>
                      <a:pt x="10" y="25"/>
                      <a:pt x="9" y="26"/>
                    </a:cubicBezTo>
                    <a:cubicBezTo>
                      <a:pt x="7" y="27"/>
                      <a:pt x="6" y="24"/>
                      <a:pt x="5" y="2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7" name="Freeform 38"/>
              <p:cNvSpPr>
                <a:spLocks/>
              </p:cNvSpPr>
              <p:nvPr/>
            </p:nvSpPr>
            <p:spPr bwMode="auto">
              <a:xfrm>
                <a:off x="4669" y="2609"/>
                <a:ext cx="20" cy="14"/>
              </a:xfrm>
              <a:custGeom>
                <a:avLst/>
                <a:gdLst>
                  <a:gd name="T0" fmla="*/ 655360 w 10"/>
                  <a:gd name="T1" fmla="*/ 393216 h 7"/>
                  <a:gd name="T2" fmla="*/ 262144 w 10"/>
                  <a:gd name="T3" fmla="*/ 458752 h 7"/>
                  <a:gd name="T4" fmla="*/ 0 w 10"/>
                  <a:gd name="T5" fmla="*/ 131072 h 7"/>
                  <a:gd name="T6" fmla="*/ 327680 w 10"/>
                  <a:gd name="T7" fmla="*/ 0 h 7"/>
                  <a:gd name="T8" fmla="*/ 589824 w 10"/>
                  <a:gd name="T9" fmla="*/ 65536 h 7"/>
                  <a:gd name="T10" fmla="*/ 655360 w 10"/>
                  <a:gd name="T11" fmla="*/ 393216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7"/>
                      <a:pt x="6" y="7"/>
                      <a:pt x="4" y="7"/>
                    </a:cubicBezTo>
                    <a:cubicBezTo>
                      <a:pt x="2" y="7"/>
                      <a:pt x="0" y="4"/>
                      <a:pt x="0" y="2"/>
                    </a:cubicBezTo>
                    <a:cubicBezTo>
                      <a:pt x="0" y="0"/>
                      <a:pt x="2" y="0"/>
                      <a:pt x="5" y="0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2"/>
                      <a:pt x="10" y="4"/>
                      <a:pt x="10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8" name="Freeform 39"/>
              <p:cNvSpPr>
                <a:spLocks/>
              </p:cNvSpPr>
              <p:nvPr/>
            </p:nvSpPr>
            <p:spPr bwMode="auto">
              <a:xfrm>
                <a:off x="4624" y="2688"/>
                <a:ext cx="65" cy="38"/>
              </a:xfrm>
              <a:custGeom>
                <a:avLst/>
                <a:gdLst>
                  <a:gd name="T0" fmla="*/ 0 w 32"/>
                  <a:gd name="T1" fmla="*/ 1179648 h 19"/>
                  <a:gd name="T2" fmla="*/ 671160 w 32"/>
                  <a:gd name="T3" fmla="*/ 589824 h 19"/>
                  <a:gd name="T4" fmla="*/ 1693108 w 32"/>
                  <a:gd name="T5" fmla="*/ 196608 h 19"/>
                  <a:gd name="T6" fmla="*/ 2684398 w 32"/>
                  <a:gd name="T7" fmla="*/ 196608 h 19"/>
                  <a:gd name="T8" fmla="*/ 1856223 w 32"/>
                  <a:gd name="T9" fmla="*/ 655360 h 19"/>
                  <a:gd name="T10" fmla="*/ 1080783 w 32"/>
                  <a:gd name="T11" fmla="*/ 983040 h 19"/>
                  <a:gd name="T12" fmla="*/ 410353 w 32"/>
                  <a:gd name="T13" fmla="*/ 1245184 h 19"/>
                  <a:gd name="T14" fmla="*/ 0 w 32"/>
                  <a:gd name="T15" fmla="*/ 1179648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2" h="19">
                    <a:moveTo>
                      <a:pt x="0" y="18"/>
                    </a:moveTo>
                    <a:cubicBezTo>
                      <a:pt x="0" y="17"/>
                      <a:pt x="5" y="12"/>
                      <a:pt x="8" y="9"/>
                    </a:cubicBezTo>
                    <a:cubicBezTo>
                      <a:pt x="10" y="7"/>
                      <a:pt x="16" y="3"/>
                      <a:pt x="20" y="3"/>
                    </a:cubicBezTo>
                    <a:cubicBezTo>
                      <a:pt x="23" y="3"/>
                      <a:pt x="32" y="0"/>
                      <a:pt x="32" y="3"/>
                    </a:cubicBezTo>
                    <a:cubicBezTo>
                      <a:pt x="32" y="5"/>
                      <a:pt x="25" y="9"/>
                      <a:pt x="22" y="10"/>
                    </a:cubicBezTo>
                    <a:cubicBezTo>
                      <a:pt x="20" y="10"/>
                      <a:pt x="17" y="12"/>
                      <a:pt x="13" y="15"/>
                    </a:cubicBezTo>
                    <a:cubicBezTo>
                      <a:pt x="10" y="18"/>
                      <a:pt x="6" y="19"/>
                      <a:pt x="5" y="19"/>
                    </a:cubicBezTo>
                    <a:cubicBezTo>
                      <a:pt x="3" y="19"/>
                      <a:pt x="0" y="18"/>
                      <a:pt x="0" y="1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9" name="Freeform 40"/>
              <p:cNvSpPr>
                <a:spLocks/>
              </p:cNvSpPr>
              <p:nvPr/>
            </p:nvSpPr>
            <p:spPr bwMode="auto">
              <a:xfrm>
                <a:off x="4574" y="2684"/>
                <a:ext cx="71" cy="20"/>
              </a:xfrm>
              <a:custGeom>
                <a:avLst/>
                <a:gdLst>
                  <a:gd name="T0" fmla="*/ 0 w 35"/>
                  <a:gd name="T1" fmla="*/ 393216 h 10"/>
                  <a:gd name="T2" fmla="*/ 481759 w 35"/>
                  <a:gd name="T3" fmla="*/ 262144 h 10"/>
                  <a:gd name="T4" fmla="*/ 1303047 w 35"/>
                  <a:gd name="T5" fmla="*/ 262144 h 10"/>
                  <a:gd name="T6" fmla="*/ 2233974 w 35"/>
                  <a:gd name="T7" fmla="*/ 65536 h 10"/>
                  <a:gd name="T8" fmla="*/ 2795698 w 35"/>
                  <a:gd name="T9" fmla="*/ 65536 h 10"/>
                  <a:gd name="T10" fmla="*/ 2482756 w 35"/>
                  <a:gd name="T11" fmla="*/ 327680 h 10"/>
                  <a:gd name="T12" fmla="*/ 977283 w 35"/>
                  <a:gd name="T13" fmla="*/ 524288 h 10"/>
                  <a:gd name="T14" fmla="*/ 316650 w 35"/>
                  <a:gd name="T15" fmla="*/ 655360 h 10"/>
                  <a:gd name="T16" fmla="*/ 0 w 35"/>
                  <a:gd name="T17" fmla="*/ 393216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5" h="10">
                    <a:moveTo>
                      <a:pt x="0" y="6"/>
                    </a:moveTo>
                    <a:cubicBezTo>
                      <a:pt x="0" y="5"/>
                      <a:pt x="3" y="5"/>
                      <a:pt x="6" y="4"/>
                    </a:cubicBezTo>
                    <a:cubicBezTo>
                      <a:pt x="8" y="4"/>
                      <a:pt x="13" y="4"/>
                      <a:pt x="16" y="4"/>
                    </a:cubicBezTo>
                    <a:cubicBezTo>
                      <a:pt x="19" y="4"/>
                      <a:pt x="24" y="1"/>
                      <a:pt x="27" y="1"/>
                    </a:cubicBezTo>
                    <a:cubicBezTo>
                      <a:pt x="29" y="1"/>
                      <a:pt x="35" y="0"/>
                      <a:pt x="34" y="1"/>
                    </a:cubicBezTo>
                    <a:cubicBezTo>
                      <a:pt x="34" y="2"/>
                      <a:pt x="32" y="5"/>
                      <a:pt x="30" y="5"/>
                    </a:cubicBezTo>
                    <a:cubicBezTo>
                      <a:pt x="28" y="5"/>
                      <a:pt x="17" y="10"/>
                      <a:pt x="12" y="8"/>
                    </a:cubicBezTo>
                    <a:cubicBezTo>
                      <a:pt x="7" y="6"/>
                      <a:pt x="6" y="10"/>
                      <a:pt x="4" y="10"/>
                    </a:cubicBezTo>
                    <a:cubicBezTo>
                      <a:pt x="1" y="10"/>
                      <a:pt x="1" y="9"/>
                      <a:pt x="0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0" name="Freeform 41"/>
              <p:cNvSpPr>
                <a:spLocks/>
              </p:cNvSpPr>
              <p:nvPr/>
            </p:nvSpPr>
            <p:spPr bwMode="auto">
              <a:xfrm>
                <a:off x="4554" y="2530"/>
                <a:ext cx="105" cy="122"/>
              </a:xfrm>
              <a:custGeom>
                <a:avLst/>
                <a:gdLst>
                  <a:gd name="T0" fmla="*/ 527356 w 52"/>
                  <a:gd name="T1" fmla="*/ 3655614 h 60"/>
                  <a:gd name="T2" fmla="*/ 0 w 52"/>
                  <a:gd name="T3" fmla="*/ 3411305 h 60"/>
                  <a:gd name="T4" fmla="*/ 298519 w 52"/>
                  <a:gd name="T5" fmla="*/ 2812637 h 60"/>
                  <a:gd name="T6" fmla="*/ 527356 w 52"/>
                  <a:gd name="T7" fmla="*/ 1982504 h 60"/>
                  <a:gd name="T8" fmla="*/ 676261 w 52"/>
                  <a:gd name="T9" fmla="*/ 1098043 h 60"/>
                  <a:gd name="T10" fmla="*/ 1290093 w 52"/>
                  <a:gd name="T11" fmla="*/ 499082 h 60"/>
                  <a:gd name="T12" fmla="*/ 2077809 w 52"/>
                  <a:gd name="T13" fmla="*/ 580021 h 60"/>
                  <a:gd name="T14" fmla="*/ 3294835 w 52"/>
                  <a:gd name="T15" fmla="*/ 580021 h 60"/>
                  <a:gd name="T16" fmla="*/ 3750045 w 52"/>
                  <a:gd name="T17" fmla="*/ 80923 h 60"/>
                  <a:gd name="T18" fmla="*/ 3895094 w 52"/>
                  <a:gd name="T19" fmla="*/ 415140 h 60"/>
                  <a:gd name="T20" fmla="*/ 3449377 w 52"/>
                  <a:gd name="T21" fmla="*/ 1179376 h 60"/>
                  <a:gd name="T22" fmla="*/ 2531786 w 52"/>
                  <a:gd name="T23" fmla="*/ 1098043 h 60"/>
                  <a:gd name="T24" fmla="*/ 1438203 w 52"/>
                  <a:gd name="T25" fmla="*/ 1098043 h 60"/>
                  <a:gd name="T26" fmla="*/ 1064853 w 52"/>
                  <a:gd name="T27" fmla="*/ 1463904 h 60"/>
                  <a:gd name="T28" fmla="*/ 991574 w 52"/>
                  <a:gd name="T29" fmla="*/ 1899050 h 60"/>
                  <a:gd name="T30" fmla="*/ 1290093 w 52"/>
                  <a:gd name="T31" fmla="*/ 2232687 h 60"/>
                  <a:gd name="T32" fmla="*/ 1745453 w 52"/>
                  <a:gd name="T33" fmla="*/ 1899050 h 60"/>
                  <a:gd name="T34" fmla="*/ 2683019 w 52"/>
                  <a:gd name="T35" fmla="*/ 1797843 h 60"/>
                  <a:gd name="T36" fmla="*/ 2757314 w 52"/>
                  <a:gd name="T37" fmla="*/ 2141724 h 60"/>
                  <a:gd name="T38" fmla="*/ 2150184 w 52"/>
                  <a:gd name="T39" fmla="*/ 2398065 h 60"/>
                  <a:gd name="T40" fmla="*/ 1667307 w 52"/>
                  <a:gd name="T41" fmla="*/ 2643238 h 60"/>
                  <a:gd name="T42" fmla="*/ 2227793 w 52"/>
                  <a:gd name="T43" fmla="*/ 3411305 h 60"/>
                  <a:gd name="T44" fmla="*/ 2227793 w 52"/>
                  <a:gd name="T45" fmla="*/ 3861402 h 60"/>
                  <a:gd name="T46" fmla="*/ 2604995 w 52"/>
                  <a:gd name="T47" fmla="*/ 4276533 h 60"/>
                  <a:gd name="T48" fmla="*/ 2531786 w 52"/>
                  <a:gd name="T49" fmla="*/ 4708921 h 60"/>
                  <a:gd name="T50" fmla="*/ 2301824 w 52"/>
                  <a:gd name="T51" fmla="*/ 4954367 h 60"/>
                  <a:gd name="T52" fmla="*/ 2077809 w 52"/>
                  <a:gd name="T53" fmla="*/ 4461202 h 60"/>
                  <a:gd name="T54" fmla="*/ 1667307 w 52"/>
                  <a:gd name="T55" fmla="*/ 4461202 h 60"/>
                  <a:gd name="T56" fmla="*/ 1667307 w 52"/>
                  <a:gd name="T57" fmla="*/ 3939567 h 60"/>
                  <a:gd name="T58" fmla="*/ 1365527 w 52"/>
                  <a:gd name="T59" fmla="*/ 3054969 h 60"/>
                  <a:gd name="T60" fmla="*/ 825714 w 52"/>
                  <a:gd name="T61" fmla="*/ 3321033 h 60"/>
                  <a:gd name="T62" fmla="*/ 1064853 w 52"/>
                  <a:gd name="T63" fmla="*/ 4354839 h 60"/>
                  <a:gd name="T64" fmla="*/ 991574 w 52"/>
                  <a:gd name="T65" fmla="*/ 5040019 h 60"/>
                  <a:gd name="T66" fmla="*/ 446361 w 52"/>
                  <a:gd name="T67" fmla="*/ 4954367 h 60"/>
                  <a:gd name="T68" fmla="*/ 527356 w 52"/>
                  <a:gd name="T69" fmla="*/ 4354839 h 60"/>
                  <a:gd name="T70" fmla="*/ 527356 w 52"/>
                  <a:gd name="T71" fmla="*/ 3655614 h 6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2" h="60">
                    <a:moveTo>
                      <a:pt x="7" y="43"/>
                    </a:moveTo>
                    <a:cubicBezTo>
                      <a:pt x="6" y="42"/>
                      <a:pt x="0" y="42"/>
                      <a:pt x="0" y="40"/>
                    </a:cubicBezTo>
                    <a:cubicBezTo>
                      <a:pt x="0" y="38"/>
                      <a:pt x="4" y="36"/>
                      <a:pt x="4" y="33"/>
                    </a:cubicBezTo>
                    <a:cubicBezTo>
                      <a:pt x="4" y="31"/>
                      <a:pt x="5" y="24"/>
                      <a:pt x="7" y="23"/>
                    </a:cubicBezTo>
                    <a:cubicBezTo>
                      <a:pt x="8" y="21"/>
                      <a:pt x="8" y="15"/>
                      <a:pt x="9" y="13"/>
                    </a:cubicBezTo>
                    <a:cubicBezTo>
                      <a:pt x="11" y="11"/>
                      <a:pt x="15" y="6"/>
                      <a:pt x="17" y="6"/>
                    </a:cubicBezTo>
                    <a:cubicBezTo>
                      <a:pt x="18" y="6"/>
                      <a:pt x="25" y="7"/>
                      <a:pt x="27" y="7"/>
                    </a:cubicBezTo>
                    <a:cubicBezTo>
                      <a:pt x="29" y="7"/>
                      <a:pt x="41" y="9"/>
                      <a:pt x="43" y="7"/>
                    </a:cubicBezTo>
                    <a:cubicBezTo>
                      <a:pt x="45" y="5"/>
                      <a:pt x="47" y="0"/>
                      <a:pt x="49" y="1"/>
                    </a:cubicBezTo>
                    <a:cubicBezTo>
                      <a:pt x="51" y="2"/>
                      <a:pt x="52" y="3"/>
                      <a:pt x="51" y="5"/>
                    </a:cubicBezTo>
                    <a:cubicBezTo>
                      <a:pt x="50" y="6"/>
                      <a:pt x="45" y="13"/>
                      <a:pt x="45" y="14"/>
                    </a:cubicBezTo>
                    <a:cubicBezTo>
                      <a:pt x="43" y="14"/>
                      <a:pt x="37" y="13"/>
                      <a:pt x="33" y="13"/>
                    </a:cubicBezTo>
                    <a:cubicBezTo>
                      <a:pt x="30" y="13"/>
                      <a:pt x="21" y="13"/>
                      <a:pt x="19" y="13"/>
                    </a:cubicBezTo>
                    <a:cubicBezTo>
                      <a:pt x="17" y="13"/>
                      <a:pt x="14" y="15"/>
                      <a:pt x="14" y="17"/>
                    </a:cubicBezTo>
                    <a:cubicBezTo>
                      <a:pt x="14" y="18"/>
                      <a:pt x="12" y="21"/>
                      <a:pt x="13" y="22"/>
                    </a:cubicBezTo>
                    <a:cubicBezTo>
                      <a:pt x="15" y="24"/>
                      <a:pt x="15" y="26"/>
                      <a:pt x="17" y="26"/>
                    </a:cubicBezTo>
                    <a:cubicBezTo>
                      <a:pt x="20" y="27"/>
                      <a:pt x="21" y="22"/>
                      <a:pt x="23" y="22"/>
                    </a:cubicBezTo>
                    <a:cubicBezTo>
                      <a:pt x="25" y="22"/>
                      <a:pt x="32" y="19"/>
                      <a:pt x="35" y="21"/>
                    </a:cubicBezTo>
                    <a:cubicBezTo>
                      <a:pt x="37" y="23"/>
                      <a:pt x="37" y="23"/>
                      <a:pt x="36" y="25"/>
                    </a:cubicBezTo>
                    <a:cubicBezTo>
                      <a:pt x="35" y="26"/>
                      <a:pt x="30" y="28"/>
                      <a:pt x="28" y="28"/>
                    </a:cubicBezTo>
                    <a:cubicBezTo>
                      <a:pt x="26" y="28"/>
                      <a:pt x="22" y="30"/>
                      <a:pt x="22" y="31"/>
                    </a:cubicBezTo>
                    <a:cubicBezTo>
                      <a:pt x="22" y="33"/>
                      <a:pt x="29" y="38"/>
                      <a:pt x="29" y="40"/>
                    </a:cubicBezTo>
                    <a:cubicBezTo>
                      <a:pt x="29" y="42"/>
                      <a:pt x="28" y="44"/>
                      <a:pt x="29" y="45"/>
                    </a:cubicBezTo>
                    <a:cubicBezTo>
                      <a:pt x="30" y="46"/>
                      <a:pt x="34" y="50"/>
                      <a:pt x="34" y="50"/>
                    </a:cubicBezTo>
                    <a:cubicBezTo>
                      <a:pt x="34" y="50"/>
                      <a:pt x="34" y="53"/>
                      <a:pt x="33" y="55"/>
                    </a:cubicBezTo>
                    <a:cubicBezTo>
                      <a:pt x="32" y="57"/>
                      <a:pt x="32" y="59"/>
                      <a:pt x="30" y="58"/>
                    </a:cubicBezTo>
                    <a:cubicBezTo>
                      <a:pt x="29" y="57"/>
                      <a:pt x="29" y="52"/>
                      <a:pt x="27" y="52"/>
                    </a:cubicBezTo>
                    <a:cubicBezTo>
                      <a:pt x="26" y="52"/>
                      <a:pt x="23" y="54"/>
                      <a:pt x="22" y="52"/>
                    </a:cubicBezTo>
                    <a:cubicBezTo>
                      <a:pt x="22" y="50"/>
                      <a:pt x="24" y="49"/>
                      <a:pt x="22" y="46"/>
                    </a:cubicBezTo>
                    <a:cubicBezTo>
                      <a:pt x="21" y="44"/>
                      <a:pt x="18" y="36"/>
                      <a:pt x="18" y="36"/>
                    </a:cubicBezTo>
                    <a:cubicBezTo>
                      <a:pt x="17" y="35"/>
                      <a:pt x="11" y="37"/>
                      <a:pt x="11" y="39"/>
                    </a:cubicBezTo>
                    <a:cubicBezTo>
                      <a:pt x="12" y="40"/>
                      <a:pt x="15" y="48"/>
                      <a:pt x="14" y="51"/>
                    </a:cubicBezTo>
                    <a:cubicBezTo>
                      <a:pt x="13" y="55"/>
                      <a:pt x="15" y="58"/>
                      <a:pt x="13" y="59"/>
                    </a:cubicBezTo>
                    <a:cubicBezTo>
                      <a:pt x="12" y="59"/>
                      <a:pt x="6" y="60"/>
                      <a:pt x="6" y="58"/>
                    </a:cubicBezTo>
                    <a:cubicBezTo>
                      <a:pt x="5" y="55"/>
                      <a:pt x="7" y="51"/>
                      <a:pt x="7" y="51"/>
                    </a:cubicBezTo>
                    <a:cubicBezTo>
                      <a:pt x="7" y="48"/>
                      <a:pt x="7" y="44"/>
                      <a:pt x="7" y="4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1" name="Freeform 42"/>
              <p:cNvSpPr>
                <a:spLocks/>
              </p:cNvSpPr>
              <p:nvPr/>
            </p:nvSpPr>
            <p:spPr bwMode="auto">
              <a:xfrm>
                <a:off x="4402" y="2494"/>
                <a:ext cx="158" cy="133"/>
              </a:xfrm>
              <a:custGeom>
                <a:avLst/>
                <a:gdLst>
                  <a:gd name="T0" fmla="*/ 395792 w 78"/>
                  <a:gd name="T1" fmla="*/ 1326244 h 66"/>
                  <a:gd name="T2" fmla="*/ 629290 w 78"/>
                  <a:gd name="T3" fmla="*/ 1842929 h 66"/>
                  <a:gd name="T4" fmla="*/ 1112383 w 78"/>
                  <a:gd name="T5" fmla="*/ 2134432 h 66"/>
                  <a:gd name="T6" fmla="*/ 2099364 w 78"/>
                  <a:gd name="T7" fmla="*/ 1987584 h 66"/>
                  <a:gd name="T8" fmla="*/ 2423605 w 78"/>
                  <a:gd name="T9" fmla="*/ 1617735 h 66"/>
                  <a:gd name="T10" fmla="*/ 3289688 w 78"/>
                  <a:gd name="T11" fmla="*/ 1691663 h 66"/>
                  <a:gd name="T12" fmla="*/ 3932877 w 78"/>
                  <a:gd name="T13" fmla="*/ 949634 h 66"/>
                  <a:gd name="T14" fmla="*/ 4252558 w 78"/>
                  <a:gd name="T15" fmla="*/ 70712 h 66"/>
                  <a:gd name="T16" fmla="*/ 5155078 w 78"/>
                  <a:gd name="T17" fmla="*/ 0 h 66"/>
                  <a:gd name="T18" fmla="*/ 5561019 w 78"/>
                  <a:gd name="T19" fmla="*/ 215367 h 66"/>
                  <a:gd name="T20" fmla="*/ 5308435 w 78"/>
                  <a:gd name="T21" fmla="*/ 506865 h 66"/>
                  <a:gd name="T22" fmla="*/ 5635368 w 78"/>
                  <a:gd name="T23" fmla="*/ 949634 h 66"/>
                  <a:gd name="T24" fmla="*/ 5635368 w 78"/>
                  <a:gd name="T25" fmla="*/ 1326244 h 66"/>
                  <a:gd name="T26" fmla="*/ 6266855 w 78"/>
                  <a:gd name="T27" fmla="*/ 1913656 h 66"/>
                  <a:gd name="T28" fmla="*/ 5483082 w 78"/>
                  <a:gd name="T29" fmla="*/ 2058296 h 66"/>
                  <a:gd name="T30" fmla="*/ 5308435 w 78"/>
                  <a:gd name="T31" fmla="*/ 2893349 h 66"/>
                  <a:gd name="T32" fmla="*/ 4759746 w 78"/>
                  <a:gd name="T33" fmla="*/ 3408957 h 66"/>
                  <a:gd name="T34" fmla="*/ 4835306 w 78"/>
                  <a:gd name="T35" fmla="*/ 3856307 h 66"/>
                  <a:gd name="T36" fmla="*/ 4486151 w 78"/>
                  <a:gd name="T37" fmla="*/ 4592708 h 66"/>
                  <a:gd name="T38" fmla="*/ 3526576 w 78"/>
                  <a:gd name="T39" fmla="*/ 4877725 h 66"/>
                  <a:gd name="T40" fmla="*/ 3364723 w 78"/>
                  <a:gd name="T41" fmla="*/ 4443699 h 66"/>
                  <a:gd name="T42" fmla="*/ 2658002 w 78"/>
                  <a:gd name="T43" fmla="*/ 4301204 h 66"/>
                  <a:gd name="T44" fmla="*/ 1856417 w 78"/>
                  <a:gd name="T45" fmla="*/ 4592708 h 66"/>
                  <a:gd name="T46" fmla="*/ 1704162 w 78"/>
                  <a:gd name="T47" fmla="*/ 4147778 h 66"/>
                  <a:gd name="T48" fmla="*/ 801733 w 78"/>
                  <a:gd name="T49" fmla="*/ 4147778 h 66"/>
                  <a:gd name="T50" fmla="*/ 707573 w 78"/>
                  <a:gd name="T51" fmla="*/ 3259981 h 66"/>
                  <a:gd name="T52" fmla="*/ 153365 w 78"/>
                  <a:gd name="T53" fmla="*/ 2672583 h 66"/>
                  <a:gd name="T54" fmla="*/ 0 w 78"/>
                  <a:gd name="T55" fmla="*/ 1987584 h 66"/>
                  <a:gd name="T56" fmla="*/ 395792 w 78"/>
                  <a:gd name="T57" fmla="*/ 1326244 h 6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8" h="66">
                    <a:moveTo>
                      <a:pt x="5" y="18"/>
                    </a:moveTo>
                    <a:cubicBezTo>
                      <a:pt x="8" y="25"/>
                      <a:pt x="8" y="25"/>
                      <a:pt x="8" y="25"/>
                    </a:cubicBezTo>
                    <a:cubicBezTo>
                      <a:pt x="9" y="27"/>
                      <a:pt x="11" y="29"/>
                      <a:pt x="14" y="29"/>
                    </a:cubicBezTo>
                    <a:cubicBezTo>
                      <a:pt x="16" y="29"/>
                      <a:pt x="26" y="28"/>
                      <a:pt x="26" y="27"/>
                    </a:cubicBezTo>
                    <a:cubicBezTo>
                      <a:pt x="27" y="25"/>
                      <a:pt x="27" y="21"/>
                      <a:pt x="30" y="22"/>
                    </a:cubicBezTo>
                    <a:cubicBezTo>
                      <a:pt x="33" y="22"/>
                      <a:pt x="38" y="24"/>
                      <a:pt x="41" y="23"/>
                    </a:cubicBezTo>
                    <a:cubicBezTo>
                      <a:pt x="43" y="23"/>
                      <a:pt x="49" y="15"/>
                      <a:pt x="49" y="13"/>
                    </a:cubicBezTo>
                    <a:cubicBezTo>
                      <a:pt x="49" y="10"/>
                      <a:pt x="51" y="2"/>
                      <a:pt x="53" y="1"/>
                    </a:cubicBezTo>
                    <a:cubicBezTo>
                      <a:pt x="55" y="0"/>
                      <a:pt x="61" y="0"/>
                      <a:pt x="64" y="0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4"/>
                      <a:pt x="67" y="6"/>
                      <a:pt x="66" y="7"/>
                    </a:cubicBezTo>
                    <a:cubicBezTo>
                      <a:pt x="63" y="9"/>
                      <a:pt x="68" y="12"/>
                      <a:pt x="70" y="13"/>
                    </a:cubicBezTo>
                    <a:cubicBezTo>
                      <a:pt x="71" y="15"/>
                      <a:pt x="70" y="17"/>
                      <a:pt x="70" y="18"/>
                    </a:cubicBezTo>
                    <a:cubicBezTo>
                      <a:pt x="69" y="20"/>
                      <a:pt x="78" y="24"/>
                      <a:pt x="78" y="26"/>
                    </a:cubicBezTo>
                    <a:cubicBezTo>
                      <a:pt x="78" y="28"/>
                      <a:pt x="70" y="27"/>
                      <a:pt x="68" y="28"/>
                    </a:cubicBezTo>
                    <a:cubicBezTo>
                      <a:pt x="66" y="28"/>
                      <a:pt x="66" y="37"/>
                      <a:pt x="66" y="39"/>
                    </a:cubicBezTo>
                    <a:cubicBezTo>
                      <a:pt x="66" y="42"/>
                      <a:pt x="60" y="44"/>
                      <a:pt x="59" y="46"/>
                    </a:cubicBezTo>
                    <a:cubicBezTo>
                      <a:pt x="58" y="47"/>
                      <a:pt x="60" y="50"/>
                      <a:pt x="60" y="52"/>
                    </a:cubicBezTo>
                    <a:cubicBezTo>
                      <a:pt x="60" y="54"/>
                      <a:pt x="56" y="61"/>
                      <a:pt x="56" y="62"/>
                    </a:cubicBezTo>
                    <a:cubicBezTo>
                      <a:pt x="55" y="63"/>
                      <a:pt x="45" y="66"/>
                      <a:pt x="44" y="66"/>
                    </a:cubicBezTo>
                    <a:cubicBezTo>
                      <a:pt x="43" y="66"/>
                      <a:pt x="43" y="62"/>
                      <a:pt x="42" y="60"/>
                    </a:cubicBezTo>
                    <a:cubicBezTo>
                      <a:pt x="42" y="59"/>
                      <a:pt x="34" y="59"/>
                      <a:pt x="33" y="58"/>
                    </a:cubicBezTo>
                    <a:cubicBezTo>
                      <a:pt x="32" y="57"/>
                      <a:pt x="25" y="62"/>
                      <a:pt x="23" y="62"/>
                    </a:cubicBezTo>
                    <a:cubicBezTo>
                      <a:pt x="21" y="61"/>
                      <a:pt x="22" y="57"/>
                      <a:pt x="21" y="56"/>
                    </a:cubicBezTo>
                    <a:cubicBezTo>
                      <a:pt x="20" y="55"/>
                      <a:pt x="11" y="56"/>
                      <a:pt x="10" y="56"/>
                    </a:cubicBezTo>
                    <a:cubicBezTo>
                      <a:pt x="8" y="56"/>
                      <a:pt x="9" y="46"/>
                      <a:pt x="9" y="44"/>
                    </a:cubicBezTo>
                    <a:cubicBezTo>
                      <a:pt x="9" y="42"/>
                      <a:pt x="4" y="38"/>
                      <a:pt x="2" y="36"/>
                    </a:cubicBezTo>
                    <a:cubicBezTo>
                      <a:pt x="0" y="34"/>
                      <a:pt x="0" y="30"/>
                      <a:pt x="0" y="27"/>
                    </a:cubicBezTo>
                    <a:cubicBezTo>
                      <a:pt x="0" y="23"/>
                      <a:pt x="2" y="21"/>
                      <a:pt x="5" y="1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2" name="Freeform 43"/>
              <p:cNvSpPr>
                <a:spLocks/>
              </p:cNvSpPr>
              <p:nvPr/>
            </p:nvSpPr>
            <p:spPr bwMode="auto">
              <a:xfrm>
                <a:off x="4347" y="2652"/>
                <a:ext cx="211" cy="52"/>
              </a:xfrm>
              <a:custGeom>
                <a:avLst/>
                <a:gdLst>
                  <a:gd name="T0" fmla="*/ 156235 w 104"/>
                  <a:gd name="T1" fmla="*/ 524288 h 26"/>
                  <a:gd name="T2" fmla="*/ 899327 w 104"/>
                  <a:gd name="T3" fmla="*/ 131072 h 26"/>
                  <a:gd name="T4" fmla="*/ 1381435 w 104"/>
                  <a:gd name="T5" fmla="*/ 131072 h 26"/>
                  <a:gd name="T6" fmla="*/ 2061718 w 104"/>
                  <a:gd name="T7" fmla="*/ 458752 h 26"/>
                  <a:gd name="T8" fmla="*/ 3205764 w 104"/>
                  <a:gd name="T9" fmla="*/ 524288 h 26"/>
                  <a:gd name="T10" fmla="*/ 3541103 w 104"/>
                  <a:gd name="T11" fmla="*/ 327680 h 26"/>
                  <a:gd name="T12" fmla="*/ 4459666 w 104"/>
                  <a:gd name="T13" fmla="*/ 524288 h 26"/>
                  <a:gd name="T14" fmla="*/ 4708848 w 104"/>
                  <a:gd name="T15" fmla="*/ 851968 h 26"/>
                  <a:gd name="T16" fmla="*/ 5686286 w 104"/>
                  <a:gd name="T17" fmla="*/ 917504 h 26"/>
                  <a:gd name="T18" fmla="*/ 6347799 w 104"/>
                  <a:gd name="T19" fmla="*/ 1179648 h 26"/>
                  <a:gd name="T20" fmla="*/ 7349706 w 104"/>
                  <a:gd name="T21" fmla="*/ 1310720 h 26"/>
                  <a:gd name="T22" fmla="*/ 8169859 w 104"/>
                  <a:gd name="T23" fmla="*/ 1245184 h 26"/>
                  <a:gd name="T24" fmla="*/ 8565719 w 104"/>
                  <a:gd name="T25" fmla="*/ 1376256 h 26"/>
                  <a:gd name="T26" fmla="*/ 8169859 w 104"/>
                  <a:gd name="T27" fmla="*/ 1703936 h 26"/>
                  <a:gd name="T28" fmla="*/ 6906980 w 104"/>
                  <a:gd name="T29" fmla="*/ 1703936 h 26"/>
                  <a:gd name="T30" fmla="*/ 5928698 w 104"/>
                  <a:gd name="T31" fmla="*/ 1507328 h 26"/>
                  <a:gd name="T32" fmla="*/ 4548091 w 104"/>
                  <a:gd name="T33" fmla="*/ 1441792 h 26"/>
                  <a:gd name="T34" fmla="*/ 3205764 w 104"/>
                  <a:gd name="T35" fmla="*/ 1245184 h 26"/>
                  <a:gd name="T36" fmla="*/ 2241713 w 104"/>
                  <a:gd name="T37" fmla="*/ 1048576 h 26"/>
                  <a:gd name="T38" fmla="*/ 817846 w 104"/>
                  <a:gd name="T39" fmla="*/ 851968 h 26"/>
                  <a:gd name="T40" fmla="*/ 156235 w 104"/>
                  <a:gd name="T41" fmla="*/ 524288 h 2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04" h="26">
                    <a:moveTo>
                      <a:pt x="2" y="8"/>
                    </a:moveTo>
                    <a:cubicBezTo>
                      <a:pt x="5" y="7"/>
                      <a:pt x="11" y="4"/>
                      <a:pt x="11" y="2"/>
                    </a:cubicBezTo>
                    <a:cubicBezTo>
                      <a:pt x="12" y="0"/>
                      <a:pt x="17" y="2"/>
                      <a:pt x="17" y="2"/>
                    </a:cubicBezTo>
                    <a:cubicBezTo>
                      <a:pt x="21" y="3"/>
                      <a:pt x="22" y="7"/>
                      <a:pt x="25" y="7"/>
                    </a:cubicBezTo>
                    <a:cubicBezTo>
                      <a:pt x="28" y="7"/>
                      <a:pt x="36" y="8"/>
                      <a:pt x="39" y="8"/>
                    </a:cubicBezTo>
                    <a:cubicBezTo>
                      <a:pt x="41" y="8"/>
                      <a:pt x="39" y="5"/>
                      <a:pt x="43" y="5"/>
                    </a:cubicBezTo>
                    <a:cubicBezTo>
                      <a:pt x="47" y="5"/>
                      <a:pt x="52" y="6"/>
                      <a:pt x="54" y="8"/>
                    </a:cubicBezTo>
                    <a:cubicBezTo>
                      <a:pt x="57" y="9"/>
                      <a:pt x="54" y="13"/>
                      <a:pt x="57" y="13"/>
                    </a:cubicBezTo>
                    <a:cubicBezTo>
                      <a:pt x="60" y="14"/>
                      <a:pt x="68" y="11"/>
                      <a:pt x="69" y="14"/>
                    </a:cubicBezTo>
                    <a:cubicBezTo>
                      <a:pt x="71" y="16"/>
                      <a:pt x="75" y="18"/>
                      <a:pt x="77" y="18"/>
                    </a:cubicBezTo>
                    <a:cubicBezTo>
                      <a:pt x="80" y="18"/>
                      <a:pt x="85" y="20"/>
                      <a:pt x="89" y="20"/>
                    </a:cubicBezTo>
                    <a:cubicBezTo>
                      <a:pt x="92" y="19"/>
                      <a:pt x="96" y="19"/>
                      <a:pt x="99" y="19"/>
                    </a:cubicBezTo>
                    <a:cubicBezTo>
                      <a:pt x="101" y="19"/>
                      <a:pt x="104" y="18"/>
                      <a:pt x="104" y="21"/>
                    </a:cubicBezTo>
                    <a:cubicBezTo>
                      <a:pt x="104" y="23"/>
                      <a:pt x="102" y="25"/>
                      <a:pt x="99" y="26"/>
                    </a:cubicBezTo>
                    <a:cubicBezTo>
                      <a:pt x="95" y="26"/>
                      <a:pt x="87" y="26"/>
                      <a:pt x="84" y="26"/>
                    </a:cubicBezTo>
                    <a:cubicBezTo>
                      <a:pt x="81" y="25"/>
                      <a:pt x="75" y="22"/>
                      <a:pt x="72" y="23"/>
                    </a:cubicBezTo>
                    <a:cubicBezTo>
                      <a:pt x="68" y="23"/>
                      <a:pt x="60" y="22"/>
                      <a:pt x="55" y="22"/>
                    </a:cubicBezTo>
                    <a:cubicBezTo>
                      <a:pt x="50" y="22"/>
                      <a:pt x="43" y="21"/>
                      <a:pt x="39" y="19"/>
                    </a:cubicBezTo>
                    <a:cubicBezTo>
                      <a:pt x="35" y="17"/>
                      <a:pt x="32" y="16"/>
                      <a:pt x="27" y="16"/>
                    </a:cubicBezTo>
                    <a:cubicBezTo>
                      <a:pt x="22" y="16"/>
                      <a:pt x="14" y="14"/>
                      <a:pt x="10" y="13"/>
                    </a:cubicBezTo>
                    <a:cubicBezTo>
                      <a:pt x="6" y="11"/>
                      <a:pt x="0" y="10"/>
                      <a:pt x="2" y="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3" name="Freeform 44"/>
              <p:cNvSpPr>
                <a:spLocks/>
              </p:cNvSpPr>
              <p:nvPr/>
            </p:nvSpPr>
            <p:spPr bwMode="auto">
              <a:xfrm>
                <a:off x="4187" y="2473"/>
                <a:ext cx="172" cy="181"/>
              </a:xfrm>
              <a:custGeom>
                <a:avLst/>
                <a:gdLst>
                  <a:gd name="T0" fmla="*/ 696286 w 85"/>
                  <a:gd name="T1" fmla="*/ 1100303 h 89"/>
                  <a:gd name="T2" fmla="*/ 151852 w 85"/>
                  <a:gd name="T3" fmla="*/ 164802 h 89"/>
                  <a:gd name="T4" fmla="*/ 867005 w 85"/>
                  <a:gd name="T5" fmla="*/ 335159 h 89"/>
                  <a:gd name="T6" fmla="*/ 1640518 w 85"/>
                  <a:gd name="T7" fmla="*/ 499845 h 89"/>
                  <a:gd name="T8" fmla="*/ 2298563 w 85"/>
                  <a:gd name="T9" fmla="*/ 1386206 h 89"/>
                  <a:gd name="T10" fmla="*/ 3393020 w 85"/>
                  <a:gd name="T11" fmla="*/ 2324014 h 89"/>
                  <a:gd name="T12" fmla="*/ 4490495 w 85"/>
                  <a:gd name="T13" fmla="*/ 3064354 h 89"/>
                  <a:gd name="T14" fmla="*/ 5226983 w 85"/>
                  <a:gd name="T15" fmla="*/ 3505335 h 89"/>
                  <a:gd name="T16" fmla="*/ 5151908 w 85"/>
                  <a:gd name="T17" fmla="*/ 4204372 h 89"/>
                  <a:gd name="T18" fmla="*/ 5769208 w 85"/>
                  <a:gd name="T19" fmla="*/ 4469244 h 89"/>
                  <a:gd name="T20" fmla="*/ 5862316 w 85"/>
                  <a:gd name="T21" fmla="*/ 5210148 h 89"/>
                  <a:gd name="T22" fmla="*/ 6410240 w 85"/>
                  <a:gd name="T23" fmla="*/ 5131698 h 89"/>
                  <a:gd name="T24" fmla="*/ 6635817 w 85"/>
                  <a:gd name="T25" fmla="*/ 5986221 h 89"/>
                  <a:gd name="T26" fmla="*/ 6560798 w 85"/>
                  <a:gd name="T27" fmla="*/ 7612583 h 89"/>
                  <a:gd name="T28" fmla="*/ 5618271 w 85"/>
                  <a:gd name="T29" fmla="*/ 7453187 h 89"/>
                  <a:gd name="T30" fmla="*/ 4185401 w 85"/>
                  <a:gd name="T31" fmla="*/ 6145700 h 89"/>
                  <a:gd name="T32" fmla="*/ 3242255 w 85"/>
                  <a:gd name="T33" fmla="*/ 4124776 h 89"/>
                  <a:gd name="T34" fmla="*/ 2450419 w 85"/>
                  <a:gd name="T35" fmla="*/ 3583792 h 89"/>
                  <a:gd name="T36" fmla="*/ 2219140 w 85"/>
                  <a:gd name="T37" fmla="*/ 2648215 h 89"/>
                  <a:gd name="T38" fmla="*/ 1754410 w 85"/>
                  <a:gd name="T39" fmla="*/ 2159041 h 89"/>
                  <a:gd name="T40" fmla="*/ 1258198 w 85"/>
                  <a:gd name="T41" fmla="*/ 1466950 h 89"/>
                  <a:gd name="T42" fmla="*/ 696286 w 85"/>
                  <a:gd name="T43" fmla="*/ 1100303 h 8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5" h="89">
                    <a:moveTo>
                      <a:pt x="9" y="13"/>
                    </a:moveTo>
                    <a:cubicBezTo>
                      <a:pt x="6" y="10"/>
                      <a:pt x="0" y="4"/>
                      <a:pt x="2" y="2"/>
                    </a:cubicBezTo>
                    <a:cubicBezTo>
                      <a:pt x="4" y="0"/>
                      <a:pt x="8" y="4"/>
                      <a:pt x="11" y="4"/>
                    </a:cubicBezTo>
                    <a:cubicBezTo>
                      <a:pt x="13" y="4"/>
                      <a:pt x="20" y="4"/>
                      <a:pt x="21" y="6"/>
                    </a:cubicBezTo>
                    <a:cubicBezTo>
                      <a:pt x="22" y="7"/>
                      <a:pt x="27" y="14"/>
                      <a:pt x="29" y="16"/>
                    </a:cubicBezTo>
                    <a:cubicBezTo>
                      <a:pt x="30" y="17"/>
                      <a:pt x="39" y="25"/>
                      <a:pt x="43" y="27"/>
                    </a:cubicBezTo>
                    <a:cubicBezTo>
                      <a:pt x="47" y="29"/>
                      <a:pt x="55" y="34"/>
                      <a:pt x="57" y="36"/>
                    </a:cubicBezTo>
                    <a:cubicBezTo>
                      <a:pt x="59" y="38"/>
                      <a:pt x="66" y="40"/>
                      <a:pt x="66" y="41"/>
                    </a:cubicBezTo>
                    <a:cubicBezTo>
                      <a:pt x="66" y="43"/>
                      <a:pt x="63" y="48"/>
                      <a:pt x="65" y="49"/>
                    </a:cubicBezTo>
                    <a:cubicBezTo>
                      <a:pt x="67" y="51"/>
                      <a:pt x="71" y="49"/>
                      <a:pt x="73" y="52"/>
                    </a:cubicBezTo>
                    <a:cubicBezTo>
                      <a:pt x="74" y="55"/>
                      <a:pt x="70" y="59"/>
                      <a:pt x="74" y="61"/>
                    </a:cubicBezTo>
                    <a:cubicBezTo>
                      <a:pt x="77" y="62"/>
                      <a:pt x="79" y="59"/>
                      <a:pt x="81" y="60"/>
                    </a:cubicBezTo>
                    <a:cubicBezTo>
                      <a:pt x="84" y="62"/>
                      <a:pt x="84" y="67"/>
                      <a:pt x="84" y="70"/>
                    </a:cubicBezTo>
                    <a:cubicBezTo>
                      <a:pt x="84" y="74"/>
                      <a:pt x="85" y="88"/>
                      <a:pt x="83" y="89"/>
                    </a:cubicBezTo>
                    <a:cubicBezTo>
                      <a:pt x="81" y="89"/>
                      <a:pt x="74" y="88"/>
                      <a:pt x="71" y="87"/>
                    </a:cubicBezTo>
                    <a:cubicBezTo>
                      <a:pt x="69" y="85"/>
                      <a:pt x="56" y="77"/>
                      <a:pt x="53" y="72"/>
                    </a:cubicBezTo>
                    <a:cubicBezTo>
                      <a:pt x="51" y="67"/>
                      <a:pt x="44" y="50"/>
                      <a:pt x="41" y="48"/>
                    </a:cubicBezTo>
                    <a:cubicBezTo>
                      <a:pt x="38" y="46"/>
                      <a:pt x="32" y="45"/>
                      <a:pt x="31" y="42"/>
                    </a:cubicBezTo>
                    <a:cubicBezTo>
                      <a:pt x="31" y="40"/>
                      <a:pt x="32" y="35"/>
                      <a:pt x="28" y="31"/>
                    </a:cubicBezTo>
                    <a:cubicBezTo>
                      <a:pt x="25" y="26"/>
                      <a:pt x="25" y="29"/>
                      <a:pt x="22" y="25"/>
                    </a:cubicBezTo>
                    <a:cubicBezTo>
                      <a:pt x="18" y="22"/>
                      <a:pt x="19" y="18"/>
                      <a:pt x="16" y="17"/>
                    </a:cubicBezTo>
                    <a:cubicBezTo>
                      <a:pt x="14" y="16"/>
                      <a:pt x="9" y="13"/>
                      <a:pt x="9" y="1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67" name="Freeform 45"/>
            <p:cNvSpPr>
              <a:spLocks/>
            </p:cNvSpPr>
            <p:nvPr/>
          </p:nvSpPr>
          <p:spPr bwMode="auto">
            <a:xfrm>
              <a:off x="7568018" y="3520613"/>
              <a:ext cx="686902" cy="266037"/>
            </a:xfrm>
            <a:custGeom>
              <a:avLst/>
              <a:gdLst>
                <a:gd name="T0" fmla="*/ 0 w 246"/>
                <a:gd name="T1" fmla="*/ 7784 h 102"/>
                <a:gd name="T2" fmla="*/ 19878 w 246"/>
                <a:gd name="T3" fmla="*/ 6704 h 102"/>
                <a:gd name="T4" fmla="*/ 53821 w 246"/>
                <a:gd name="T5" fmla="*/ 5188 h 102"/>
                <a:gd name="T6" fmla="*/ 104693 w 246"/>
                <a:gd name="T7" fmla="*/ 3992 h 102"/>
                <a:gd name="T8" fmla="*/ 150408 w 246"/>
                <a:gd name="T9" fmla="*/ 3675 h 102"/>
                <a:gd name="T10" fmla="*/ 170257 w 246"/>
                <a:gd name="T11" fmla="*/ 5188 h 102"/>
                <a:gd name="T12" fmla="*/ 228389 w 246"/>
                <a:gd name="T13" fmla="*/ 6049 h 102"/>
                <a:gd name="T14" fmla="*/ 258546 w 246"/>
                <a:gd name="T15" fmla="*/ 5188 h 102"/>
                <a:gd name="T16" fmla="*/ 253071 w 246"/>
                <a:gd name="T17" fmla="*/ 2496 h 102"/>
                <a:gd name="T18" fmla="*/ 275000 w 246"/>
                <a:gd name="T19" fmla="*/ 0 h 102"/>
                <a:gd name="T20" fmla="*/ 357773 w 246"/>
                <a:gd name="T21" fmla="*/ 2003 h 102"/>
                <a:gd name="T22" fmla="*/ 359904 w 246"/>
                <a:gd name="T23" fmla="*/ 3675 h 102"/>
                <a:gd name="T24" fmla="*/ 399402 w 246"/>
                <a:gd name="T25" fmla="*/ 4975 h 102"/>
                <a:gd name="T26" fmla="*/ 443373 w 246"/>
                <a:gd name="T27" fmla="*/ 4285 h 102"/>
                <a:gd name="T28" fmla="*/ 494159 w 246"/>
                <a:gd name="T29" fmla="*/ 5188 h 102"/>
                <a:gd name="T30" fmla="*/ 513728 w 246"/>
                <a:gd name="T31" fmla="*/ 7024 h 102"/>
                <a:gd name="T32" fmla="*/ 582750 w 246"/>
                <a:gd name="T33" fmla="*/ 7324 h 102"/>
                <a:gd name="T34" fmla="*/ 638591 w 246"/>
                <a:gd name="T35" fmla="*/ 5636 h 102"/>
                <a:gd name="T36" fmla="*/ 691374 w 246"/>
                <a:gd name="T37" fmla="*/ 5188 h 102"/>
                <a:gd name="T38" fmla="*/ 717047 w 246"/>
                <a:gd name="T39" fmla="*/ 6049 h 102"/>
                <a:gd name="T40" fmla="*/ 687502 w 246"/>
                <a:gd name="T41" fmla="*/ 9916 h 102"/>
                <a:gd name="T42" fmla="*/ 701753 w 246"/>
                <a:gd name="T43" fmla="*/ 11233 h 102"/>
                <a:gd name="T44" fmla="*/ 731360 w 246"/>
                <a:gd name="T45" fmla="*/ 11233 h 102"/>
                <a:gd name="T46" fmla="*/ 761651 w 246"/>
                <a:gd name="T47" fmla="*/ 10320 h 102"/>
                <a:gd name="T48" fmla="*/ 801143 w 246"/>
                <a:gd name="T49" fmla="*/ 12056 h 102"/>
                <a:gd name="T50" fmla="*/ 801878 w 246"/>
                <a:gd name="T51" fmla="*/ 13361 h 102"/>
                <a:gd name="T52" fmla="*/ 796106 w 246"/>
                <a:gd name="T53" fmla="*/ 14137 h 102"/>
                <a:gd name="T54" fmla="*/ 772291 w 246"/>
                <a:gd name="T55" fmla="*/ 13266 h 102"/>
                <a:gd name="T56" fmla="*/ 741600 w 246"/>
                <a:gd name="T57" fmla="*/ 13728 h 102"/>
                <a:gd name="T58" fmla="*/ 705692 w 246"/>
                <a:gd name="T59" fmla="*/ 15858 h 102"/>
                <a:gd name="T60" fmla="*/ 656674 w 246"/>
                <a:gd name="T61" fmla="*/ 18001 h 102"/>
                <a:gd name="T62" fmla="*/ 609177 w 246"/>
                <a:gd name="T63" fmla="*/ 17048 h 102"/>
                <a:gd name="T64" fmla="*/ 587878 w 246"/>
                <a:gd name="T65" fmla="*/ 18728 h 102"/>
                <a:gd name="T66" fmla="*/ 600835 w 246"/>
                <a:gd name="T67" fmla="*/ 20568 h 102"/>
                <a:gd name="T68" fmla="*/ 551876 w 246"/>
                <a:gd name="T69" fmla="*/ 23075 h 102"/>
                <a:gd name="T70" fmla="*/ 488666 w 246"/>
                <a:gd name="T71" fmla="*/ 23615 h 102"/>
                <a:gd name="T72" fmla="*/ 423116 w 246"/>
                <a:gd name="T73" fmla="*/ 25413 h 102"/>
                <a:gd name="T74" fmla="*/ 327602 w 246"/>
                <a:gd name="T75" fmla="*/ 22992 h 102"/>
                <a:gd name="T76" fmla="*/ 209775 w 246"/>
                <a:gd name="T77" fmla="*/ 22619 h 102"/>
                <a:gd name="T78" fmla="*/ 177649 w 246"/>
                <a:gd name="T79" fmla="*/ 19189 h 102"/>
                <a:gd name="T80" fmla="*/ 134204 w 246"/>
                <a:gd name="T81" fmla="*/ 17541 h 102"/>
                <a:gd name="T82" fmla="*/ 74432 w 246"/>
                <a:gd name="T83" fmla="*/ 16727 h 102"/>
                <a:gd name="T84" fmla="*/ 78421 w 246"/>
                <a:gd name="T85" fmla="*/ 14569 h 102"/>
                <a:gd name="T86" fmla="*/ 53821 w 246"/>
                <a:gd name="T87" fmla="*/ 10693 h 102"/>
                <a:gd name="T88" fmla="*/ 15740 w 246"/>
                <a:gd name="T89" fmla="*/ 9916 h 102"/>
                <a:gd name="T90" fmla="*/ 0 w 246"/>
                <a:gd name="T91" fmla="*/ 7784 h 1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46" h="102">
                  <a:moveTo>
                    <a:pt x="0" y="31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14" y="23"/>
                    <a:pt x="16" y="21"/>
                  </a:cubicBezTo>
                  <a:cubicBezTo>
                    <a:pt x="19" y="20"/>
                    <a:pt x="28" y="17"/>
                    <a:pt x="32" y="16"/>
                  </a:cubicBezTo>
                  <a:cubicBezTo>
                    <a:pt x="35" y="15"/>
                    <a:pt x="46" y="14"/>
                    <a:pt x="46" y="15"/>
                  </a:cubicBezTo>
                  <a:cubicBezTo>
                    <a:pt x="47" y="16"/>
                    <a:pt x="50" y="19"/>
                    <a:pt x="52" y="21"/>
                  </a:cubicBezTo>
                  <a:cubicBezTo>
                    <a:pt x="54" y="23"/>
                    <a:pt x="66" y="23"/>
                    <a:pt x="70" y="24"/>
                  </a:cubicBezTo>
                  <a:cubicBezTo>
                    <a:pt x="74" y="25"/>
                    <a:pt x="76" y="23"/>
                    <a:pt x="79" y="21"/>
                  </a:cubicBezTo>
                  <a:cubicBezTo>
                    <a:pt x="81" y="19"/>
                    <a:pt x="77" y="12"/>
                    <a:pt x="77" y="10"/>
                  </a:cubicBezTo>
                  <a:cubicBezTo>
                    <a:pt x="77" y="7"/>
                    <a:pt x="82" y="0"/>
                    <a:pt x="84" y="0"/>
                  </a:cubicBezTo>
                  <a:cubicBezTo>
                    <a:pt x="86" y="1"/>
                    <a:pt x="109" y="6"/>
                    <a:pt x="109" y="8"/>
                  </a:cubicBezTo>
                  <a:cubicBezTo>
                    <a:pt x="110" y="10"/>
                    <a:pt x="109" y="12"/>
                    <a:pt x="110" y="15"/>
                  </a:cubicBezTo>
                  <a:cubicBezTo>
                    <a:pt x="111" y="17"/>
                    <a:pt x="118" y="20"/>
                    <a:pt x="122" y="20"/>
                  </a:cubicBezTo>
                  <a:cubicBezTo>
                    <a:pt x="125" y="20"/>
                    <a:pt x="132" y="17"/>
                    <a:pt x="135" y="17"/>
                  </a:cubicBezTo>
                  <a:cubicBezTo>
                    <a:pt x="137" y="18"/>
                    <a:pt x="149" y="20"/>
                    <a:pt x="151" y="21"/>
                  </a:cubicBezTo>
                  <a:cubicBezTo>
                    <a:pt x="153" y="21"/>
                    <a:pt x="155" y="27"/>
                    <a:pt x="157" y="28"/>
                  </a:cubicBezTo>
                  <a:cubicBezTo>
                    <a:pt x="160" y="30"/>
                    <a:pt x="174" y="30"/>
                    <a:pt x="178" y="30"/>
                  </a:cubicBezTo>
                  <a:cubicBezTo>
                    <a:pt x="183" y="29"/>
                    <a:pt x="189" y="28"/>
                    <a:pt x="195" y="23"/>
                  </a:cubicBezTo>
                  <a:cubicBezTo>
                    <a:pt x="200" y="18"/>
                    <a:pt x="208" y="21"/>
                    <a:pt x="211" y="21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9" y="25"/>
                    <a:pt x="209" y="39"/>
                    <a:pt x="210" y="40"/>
                  </a:cubicBezTo>
                  <a:cubicBezTo>
                    <a:pt x="210" y="41"/>
                    <a:pt x="213" y="45"/>
                    <a:pt x="214" y="45"/>
                  </a:cubicBezTo>
                  <a:cubicBezTo>
                    <a:pt x="215" y="45"/>
                    <a:pt x="221" y="45"/>
                    <a:pt x="223" y="45"/>
                  </a:cubicBezTo>
                  <a:cubicBezTo>
                    <a:pt x="224" y="45"/>
                    <a:pt x="229" y="41"/>
                    <a:pt x="232" y="41"/>
                  </a:cubicBezTo>
                  <a:cubicBezTo>
                    <a:pt x="235" y="41"/>
                    <a:pt x="242" y="46"/>
                    <a:pt x="244" y="48"/>
                  </a:cubicBezTo>
                  <a:cubicBezTo>
                    <a:pt x="246" y="50"/>
                    <a:pt x="246" y="54"/>
                    <a:pt x="245" y="54"/>
                  </a:cubicBezTo>
                  <a:cubicBezTo>
                    <a:pt x="245" y="55"/>
                    <a:pt x="244" y="57"/>
                    <a:pt x="243" y="57"/>
                  </a:cubicBezTo>
                  <a:cubicBezTo>
                    <a:pt x="242" y="58"/>
                    <a:pt x="238" y="53"/>
                    <a:pt x="236" y="53"/>
                  </a:cubicBezTo>
                  <a:cubicBezTo>
                    <a:pt x="234" y="53"/>
                    <a:pt x="227" y="55"/>
                    <a:pt x="226" y="55"/>
                  </a:cubicBezTo>
                  <a:cubicBezTo>
                    <a:pt x="224" y="56"/>
                    <a:pt x="216" y="63"/>
                    <a:pt x="215" y="64"/>
                  </a:cubicBezTo>
                  <a:cubicBezTo>
                    <a:pt x="214" y="66"/>
                    <a:pt x="203" y="70"/>
                    <a:pt x="200" y="72"/>
                  </a:cubicBezTo>
                  <a:cubicBezTo>
                    <a:pt x="196" y="73"/>
                    <a:pt x="189" y="69"/>
                    <a:pt x="186" y="69"/>
                  </a:cubicBezTo>
                  <a:cubicBezTo>
                    <a:pt x="183" y="69"/>
                    <a:pt x="181" y="72"/>
                    <a:pt x="179" y="75"/>
                  </a:cubicBezTo>
                  <a:cubicBezTo>
                    <a:pt x="178" y="78"/>
                    <a:pt x="183" y="79"/>
                    <a:pt x="183" y="82"/>
                  </a:cubicBezTo>
                  <a:cubicBezTo>
                    <a:pt x="184" y="85"/>
                    <a:pt x="172" y="91"/>
                    <a:pt x="168" y="93"/>
                  </a:cubicBezTo>
                  <a:cubicBezTo>
                    <a:pt x="165" y="95"/>
                    <a:pt x="151" y="95"/>
                    <a:pt x="149" y="95"/>
                  </a:cubicBezTo>
                  <a:cubicBezTo>
                    <a:pt x="146" y="95"/>
                    <a:pt x="132" y="101"/>
                    <a:pt x="129" y="102"/>
                  </a:cubicBezTo>
                  <a:cubicBezTo>
                    <a:pt x="126" y="102"/>
                    <a:pt x="102" y="94"/>
                    <a:pt x="100" y="92"/>
                  </a:cubicBezTo>
                  <a:cubicBezTo>
                    <a:pt x="98" y="91"/>
                    <a:pt x="64" y="92"/>
                    <a:pt x="64" y="91"/>
                  </a:cubicBezTo>
                  <a:cubicBezTo>
                    <a:pt x="64" y="90"/>
                    <a:pt x="57" y="79"/>
                    <a:pt x="54" y="77"/>
                  </a:cubicBezTo>
                  <a:cubicBezTo>
                    <a:pt x="52" y="75"/>
                    <a:pt x="44" y="71"/>
                    <a:pt x="41" y="70"/>
                  </a:cubicBezTo>
                  <a:cubicBezTo>
                    <a:pt x="39" y="70"/>
                    <a:pt x="26" y="69"/>
                    <a:pt x="23" y="67"/>
                  </a:cubicBezTo>
                  <a:cubicBezTo>
                    <a:pt x="20" y="64"/>
                    <a:pt x="23" y="61"/>
                    <a:pt x="24" y="58"/>
                  </a:cubicBezTo>
                  <a:cubicBezTo>
                    <a:pt x="24" y="55"/>
                    <a:pt x="18" y="45"/>
                    <a:pt x="16" y="43"/>
                  </a:cubicBezTo>
                  <a:cubicBezTo>
                    <a:pt x="14" y="41"/>
                    <a:pt x="7" y="41"/>
                    <a:pt x="5" y="40"/>
                  </a:cubicBezTo>
                  <a:cubicBezTo>
                    <a:pt x="3" y="38"/>
                    <a:pt x="0" y="31"/>
                    <a:pt x="0" y="3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68" name="Freeform 46"/>
            <p:cNvSpPr>
              <a:spLocks/>
            </p:cNvSpPr>
            <p:nvPr/>
          </p:nvSpPr>
          <p:spPr bwMode="auto">
            <a:xfrm>
              <a:off x="7658931" y="4085941"/>
              <a:ext cx="188561" cy="373190"/>
            </a:xfrm>
            <a:custGeom>
              <a:avLst/>
              <a:gdLst>
                <a:gd name="T0" fmla="*/ 0 w 68"/>
                <a:gd name="T1" fmla="*/ 16469 h 142"/>
                <a:gd name="T2" fmla="*/ 14071 w 68"/>
                <a:gd name="T3" fmla="*/ 16433 h 142"/>
                <a:gd name="T4" fmla="*/ 13114 w 68"/>
                <a:gd name="T5" fmla="*/ 14846 h 142"/>
                <a:gd name="T6" fmla="*/ 23176 w 68"/>
                <a:gd name="T7" fmla="*/ 14612 h 142"/>
                <a:gd name="T8" fmla="*/ 32220 w 68"/>
                <a:gd name="T9" fmla="*/ 10436 h 142"/>
                <a:gd name="T10" fmla="*/ 46720 w 68"/>
                <a:gd name="T11" fmla="*/ 10436 h 142"/>
                <a:gd name="T12" fmla="*/ 68129 w 68"/>
                <a:gd name="T13" fmla="*/ 6164 h 142"/>
                <a:gd name="T14" fmla="*/ 71710 w 68"/>
                <a:gd name="T15" fmla="*/ 4573 h 142"/>
                <a:gd name="T16" fmla="*/ 94169 w 68"/>
                <a:gd name="T17" fmla="*/ 2744 h 142"/>
                <a:gd name="T18" fmla="*/ 108482 w 68"/>
                <a:gd name="T19" fmla="*/ 3215 h 142"/>
                <a:gd name="T20" fmla="*/ 118111 w 68"/>
                <a:gd name="T21" fmla="*/ 1791 h 142"/>
                <a:gd name="T22" fmla="*/ 113482 w 68"/>
                <a:gd name="T23" fmla="*/ 622 h 142"/>
                <a:gd name="T24" fmla="*/ 126743 w 68"/>
                <a:gd name="T25" fmla="*/ 0 h 142"/>
                <a:gd name="T26" fmla="*/ 137200 w 68"/>
                <a:gd name="T27" fmla="*/ 1791 h 142"/>
                <a:gd name="T28" fmla="*/ 149149 w 68"/>
                <a:gd name="T29" fmla="*/ 1929 h 142"/>
                <a:gd name="T30" fmla="*/ 145966 w 68"/>
                <a:gd name="T31" fmla="*/ 5968 h 142"/>
                <a:gd name="T32" fmla="*/ 123696 w 68"/>
                <a:gd name="T33" fmla="*/ 8769 h 142"/>
                <a:gd name="T34" fmla="*/ 123696 w 68"/>
                <a:gd name="T35" fmla="*/ 10436 h 142"/>
                <a:gd name="T36" fmla="*/ 140349 w 68"/>
                <a:gd name="T37" fmla="*/ 10177 h 142"/>
                <a:gd name="T38" fmla="*/ 149149 w 68"/>
                <a:gd name="T39" fmla="*/ 10847 h 142"/>
                <a:gd name="T40" fmla="*/ 164208 w 68"/>
                <a:gd name="T41" fmla="*/ 12474 h 142"/>
                <a:gd name="T42" fmla="*/ 162150 w 68"/>
                <a:gd name="T43" fmla="*/ 14477 h 142"/>
                <a:gd name="T44" fmla="*/ 178676 w 68"/>
                <a:gd name="T45" fmla="*/ 15262 h 142"/>
                <a:gd name="T46" fmla="*/ 190423 w 68"/>
                <a:gd name="T47" fmla="*/ 15262 h 142"/>
                <a:gd name="T48" fmla="*/ 198943 w 68"/>
                <a:gd name="T49" fmla="*/ 16433 h 142"/>
                <a:gd name="T50" fmla="*/ 186912 w 68"/>
                <a:gd name="T51" fmla="*/ 17180 h 142"/>
                <a:gd name="T52" fmla="*/ 181725 w 68"/>
                <a:gd name="T53" fmla="*/ 18694 h 142"/>
                <a:gd name="T54" fmla="*/ 181725 w 68"/>
                <a:gd name="T55" fmla="*/ 18694 h 142"/>
                <a:gd name="T56" fmla="*/ 167508 w 68"/>
                <a:gd name="T57" fmla="*/ 18726 h 142"/>
                <a:gd name="T58" fmla="*/ 149149 w 68"/>
                <a:gd name="T59" fmla="*/ 20029 h 142"/>
                <a:gd name="T60" fmla="*/ 131931 w 68"/>
                <a:gd name="T61" fmla="*/ 20139 h 142"/>
                <a:gd name="T62" fmla="*/ 123696 w 68"/>
                <a:gd name="T63" fmla="*/ 23066 h 142"/>
                <a:gd name="T64" fmla="*/ 149149 w 68"/>
                <a:gd name="T65" fmla="*/ 26593 h 142"/>
                <a:gd name="T66" fmla="*/ 145966 w 68"/>
                <a:gd name="T67" fmla="*/ 29886 h 142"/>
                <a:gd name="T68" fmla="*/ 149149 w 68"/>
                <a:gd name="T69" fmla="*/ 31876 h 142"/>
                <a:gd name="T70" fmla="*/ 158959 w 68"/>
                <a:gd name="T71" fmla="*/ 34481 h 142"/>
                <a:gd name="T72" fmla="*/ 158959 w 68"/>
                <a:gd name="T73" fmla="*/ 36791 h 142"/>
                <a:gd name="T74" fmla="*/ 137200 w 68"/>
                <a:gd name="T75" fmla="*/ 39842 h 142"/>
                <a:gd name="T76" fmla="*/ 143963 w 68"/>
                <a:gd name="T77" fmla="*/ 36461 h 142"/>
                <a:gd name="T78" fmla="*/ 137200 w 68"/>
                <a:gd name="T79" fmla="*/ 33807 h 142"/>
                <a:gd name="T80" fmla="*/ 128728 w 68"/>
                <a:gd name="T81" fmla="*/ 30885 h 142"/>
                <a:gd name="T82" fmla="*/ 120787 w 68"/>
                <a:gd name="T83" fmla="*/ 27535 h 142"/>
                <a:gd name="T84" fmla="*/ 112212 w 68"/>
                <a:gd name="T85" fmla="*/ 25138 h 142"/>
                <a:gd name="T86" fmla="*/ 99698 w 68"/>
                <a:gd name="T87" fmla="*/ 26638 h 142"/>
                <a:gd name="T88" fmla="*/ 73335 w 68"/>
                <a:gd name="T89" fmla="*/ 28980 h 142"/>
                <a:gd name="T90" fmla="*/ 46720 w 68"/>
                <a:gd name="T91" fmla="*/ 27949 h 142"/>
                <a:gd name="T92" fmla="*/ 53068 w 68"/>
                <a:gd name="T93" fmla="*/ 23066 h 142"/>
                <a:gd name="T94" fmla="*/ 35576 w 68"/>
                <a:gd name="T95" fmla="*/ 20029 h 142"/>
                <a:gd name="T96" fmla="*/ 14071 w 68"/>
                <a:gd name="T97" fmla="*/ 18694 h 142"/>
                <a:gd name="T98" fmla="*/ 0 w 68"/>
                <a:gd name="T99" fmla="*/ 16469 h 14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8" h="142">
                  <a:moveTo>
                    <a:pt x="0" y="59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4" y="55"/>
                    <a:pt x="4" y="53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10" y="38"/>
                    <a:pt x="11" y="37"/>
                  </a:cubicBezTo>
                  <a:cubicBezTo>
                    <a:pt x="11" y="36"/>
                    <a:pt x="15" y="37"/>
                    <a:pt x="16" y="37"/>
                  </a:cubicBezTo>
                  <a:cubicBezTo>
                    <a:pt x="17" y="37"/>
                    <a:pt x="23" y="23"/>
                    <a:pt x="23" y="22"/>
                  </a:cubicBezTo>
                  <a:cubicBezTo>
                    <a:pt x="23" y="20"/>
                    <a:pt x="22" y="16"/>
                    <a:pt x="24" y="16"/>
                  </a:cubicBezTo>
                  <a:cubicBezTo>
                    <a:pt x="25" y="15"/>
                    <a:pt x="31" y="10"/>
                    <a:pt x="32" y="10"/>
                  </a:cubicBezTo>
                  <a:cubicBezTo>
                    <a:pt x="33" y="10"/>
                    <a:pt x="36" y="12"/>
                    <a:pt x="37" y="11"/>
                  </a:cubicBezTo>
                  <a:cubicBezTo>
                    <a:pt x="38" y="10"/>
                    <a:pt x="40" y="6"/>
                    <a:pt x="40" y="6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1" y="0"/>
                    <a:pt x="43" y="0"/>
                  </a:cubicBezTo>
                  <a:cubicBezTo>
                    <a:pt x="46" y="1"/>
                    <a:pt x="46" y="5"/>
                    <a:pt x="47" y="6"/>
                  </a:cubicBezTo>
                  <a:cubicBezTo>
                    <a:pt x="49" y="7"/>
                    <a:pt x="50" y="6"/>
                    <a:pt x="51" y="7"/>
                  </a:cubicBezTo>
                  <a:cubicBezTo>
                    <a:pt x="52" y="9"/>
                    <a:pt x="51" y="19"/>
                    <a:pt x="50" y="21"/>
                  </a:cubicBezTo>
                  <a:cubicBezTo>
                    <a:pt x="50" y="23"/>
                    <a:pt x="43" y="28"/>
                    <a:pt x="42" y="31"/>
                  </a:cubicBezTo>
                  <a:cubicBezTo>
                    <a:pt x="41" y="33"/>
                    <a:pt x="41" y="36"/>
                    <a:pt x="42" y="37"/>
                  </a:cubicBezTo>
                  <a:cubicBezTo>
                    <a:pt x="44" y="38"/>
                    <a:pt x="47" y="36"/>
                    <a:pt x="48" y="36"/>
                  </a:cubicBezTo>
                  <a:cubicBezTo>
                    <a:pt x="50" y="36"/>
                    <a:pt x="51" y="37"/>
                    <a:pt x="51" y="39"/>
                  </a:cubicBezTo>
                  <a:cubicBezTo>
                    <a:pt x="51" y="40"/>
                    <a:pt x="55" y="43"/>
                    <a:pt x="56" y="44"/>
                  </a:cubicBezTo>
                  <a:cubicBezTo>
                    <a:pt x="58" y="45"/>
                    <a:pt x="53" y="49"/>
                    <a:pt x="55" y="51"/>
                  </a:cubicBezTo>
                  <a:cubicBezTo>
                    <a:pt x="57" y="53"/>
                    <a:pt x="59" y="54"/>
                    <a:pt x="61" y="54"/>
                  </a:cubicBezTo>
                  <a:cubicBezTo>
                    <a:pt x="62" y="54"/>
                    <a:pt x="65" y="54"/>
                    <a:pt x="65" y="54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7" y="59"/>
                    <a:pt x="65" y="60"/>
                    <a:pt x="64" y="61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0" y="66"/>
                    <a:pt x="58" y="66"/>
                    <a:pt x="57" y="67"/>
                  </a:cubicBezTo>
                  <a:cubicBezTo>
                    <a:pt x="55" y="69"/>
                    <a:pt x="52" y="71"/>
                    <a:pt x="51" y="71"/>
                  </a:cubicBezTo>
                  <a:cubicBezTo>
                    <a:pt x="50" y="71"/>
                    <a:pt x="46" y="71"/>
                    <a:pt x="45" y="72"/>
                  </a:cubicBezTo>
                  <a:cubicBezTo>
                    <a:pt x="44" y="74"/>
                    <a:pt x="43" y="80"/>
                    <a:pt x="42" y="82"/>
                  </a:cubicBezTo>
                  <a:cubicBezTo>
                    <a:pt x="41" y="83"/>
                    <a:pt x="51" y="91"/>
                    <a:pt x="51" y="94"/>
                  </a:cubicBezTo>
                  <a:cubicBezTo>
                    <a:pt x="51" y="97"/>
                    <a:pt x="51" y="104"/>
                    <a:pt x="50" y="106"/>
                  </a:cubicBezTo>
                  <a:cubicBezTo>
                    <a:pt x="50" y="107"/>
                    <a:pt x="50" y="111"/>
                    <a:pt x="51" y="113"/>
                  </a:cubicBezTo>
                  <a:cubicBezTo>
                    <a:pt x="53" y="115"/>
                    <a:pt x="54" y="121"/>
                    <a:pt x="54" y="122"/>
                  </a:cubicBezTo>
                  <a:cubicBezTo>
                    <a:pt x="54" y="123"/>
                    <a:pt x="54" y="130"/>
                    <a:pt x="54" y="131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8" y="137"/>
                    <a:pt x="49" y="133"/>
                    <a:pt x="49" y="129"/>
                  </a:cubicBezTo>
                  <a:cubicBezTo>
                    <a:pt x="49" y="125"/>
                    <a:pt x="49" y="123"/>
                    <a:pt x="47" y="120"/>
                  </a:cubicBezTo>
                  <a:cubicBezTo>
                    <a:pt x="44" y="116"/>
                    <a:pt x="44" y="113"/>
                    <a:pt x="44" y="110"/>
                  </a:cubicBezTo>
                  <a:cubicBezTo>
                    <a:pt x="44" y="107"/>
                    <a:pt x="44" y="101"/>
                    <a:pt x="41" y="98"/>
                  </a:cubicBezTo>
                  <a:cubicBezTo>
                    <a:pt x="39" y="94"/>
                    <a:pt x="39" y="89"/>
                    <a:pt x="38" y="89"/>
                  </a:cubicBezTo>
                  <a:cubicBezTo>
                    <a:pt x="36" y="89"/>
                    <a:pt x="36" y="93"/>
                    <a:pt x="34" y="95"/>
                  </a:cubicBezTo>
                  <a:cubicBezTo>
                    <a:pt x="32" y="96"/>
                    <a:pt x="26" y="103"/>
                    <a:pt x="25" y="103"/>
                  </a:cubicBezTo>
                  <a:cubicBezTo>
                    <a:pt x="24" y="103"/>
                    <a:pt x="17" y="100"/>
                    <a:pt x="16" y="99"/>
                  </a:cubicBezTo>
                  <a:cubicBezTo>
                    <a:pt x="15" y="98"/>
                    <a:pt x="20" y="86"/>
                    <a:pt x="18" y="82"/>
                  </a:cubicBezTo>
                  <a:cubicBezTo>
                    <a:pt x="16" y="78"/>
                    <a:pt x="14" y="73"/>
                    <a:pt x="12" y="71"/>
                  </a:cubicBezTo>
                  <a:cubicBezTo>
                    <a:pt x="10" y="68"/>
                    <a:pt x="7" y="67"/>
                    <a:pt x="5" y="66"/>
                  </a:cubicBezTo>
                  <a:cubicBezTo>
                    <a:pt x="4" y="64"/>
                    <a:pt x="1" y="61"/>
                    <a:pt x="0" y="59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69" name="Freeform 47"/>
            <p:cNvSpPr>
              <a:spLocks/>
            </p:cNvSpPr>
            <p:nvPr/>
          </p:nvSpPr>
          <p:spPr bwMode="auto">
            <a:xfrm>
              <a:off x="7568018" y="4130281"/>
              <a:ext cx="104382" cy="110849"/>
            </a:xfrm>
            <a:custGeom>
              <a:avLst/>
              <a:gdLst>
                <a:gd name="T0" fmla="*/ 28076 w 37"/>
                <a:gd name="T1" fmla="*/ 2971 h 42"/>
                <a:gd name="T2" fmla="*/ 10816 w 37"/>
                <a:gd name="T3" fmla="*/ 1456 h 42"/>
                <a:gd name="T4" fmla="*/ 22999 w 37"/>
                <a:gd name="T5" fmla="*/ 1 h 42"/>
                <a:gd name="T6" fmla="*/ 53534 w 37"/>
                <a:gd name="T7" fmla="*/ 1387 h 42"/>
                <a:gd name="T8" fmla="*/ 57310 w 37"/>
                <a:gd name="T9" fmla="*/ 2971 h 42"/>
                <a:gd name="T10" fmla="*/ 132100 w 37"/>
                <a:gd name="T11" fmla="*/ 3400 h 42"/>
                <a:gd name="T12" fmla="*/ 115462 w 37"/>
                <a:gd name="T13" fmla="*/ 5053 h 42"/>
                <a:gd name="T14" fmla="*/ 102064 w 37"/>
                <a:gd name="T15" fmla="*/ 6266 h 42"/>
                <a:gd name="T16" fmla="*/ 120273 w 37"/>
                <a:gd name="T17" fmla="*/ 7533 h 42"/>
                <a:gd name="T18" fmla="*/ 132100 w 37"/>
                <a:gd name="T19" fmla="*/ 7219 h 42"/>
                <a:gd name="T20" fmla="*/ 138555 w 37"/>
                <a:gd name="T21" fmla="*/ 10761 h 42"/>
                <a:gd name="T22" fmla="*/ 142893 w 37"/>
                <a:gd name="T23" fmla="*/ 12373 h 42"/>
                <a:gd name="T24" fmla="*/ 123923 w 37"/>
                <a:gd name="T25" fmla="*/ 12714 h 42"/>
                <a:gd name="T26" fmla="*/ 120273 w 37"/>
                <a:gd name="T27" fmla="*/ 12373 h 42"/>
                <a:gd name="T28" fmla="*/ 108213 w 37"/>
                <a:gd name="T29" fmla="*/ 9319 h 42"/>
                <a:gd name="T30" fmla="*/ 81356 w 37"/>
                <a:gd name="T31" fmla="*/ 7910 h 42"/>
                <a:gd name="T32" fmla="*/ 73954 w 37"/>
                <a:gd name="T33" fmla="*/ 10313 h 42"/>
                <a:gd name="T34" fmla="*/ 41121 w 37"/>
                <a:gd name="T35" fmla="*/ 11329 h 42"/>
                <a:gd name="T36" fmla="*/ 30370 w 37"/>
                <a:gd name="T37" fmla="*/ 11329 h 42"/>
                <a:gd name="T38" fmla="*/ 30370 w 37"/>
                <a:gd name="T39" fmla="*/ 11329 h 42"/>
                <a:gd name="T40" fmla="*/ 30370 w 37"/>
                <a:gd name="T41" fmla="*/ 9661 h 42"/>
                <a:gd name="T42" fmla="*/ 22999 w 37"/>
                <a:gd name="T43" fmla="*/ 7533 h 42"/>
                <a:gd name="T44" fmla="*/ 18124 w 37"/>
                <a:gd name="T45" fmla="*/ 5776 h 42"/>
                <a:gd name="T46" fmla="*/ 0 w 37"/>
                <a:gd name="T47" fmla="*/ 4386 h 42"/>
                <a:gd name="T48" fmla="*/ 28076 w 37"/>
                <a:gd name="T49" fmla="*/ 2971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42">
                  <a:moveTo>
                    <a:pt x="7" y="10"/>
                  </a:moveTo>
                  <a:cubicBezTo>
                    <a:pt x="7" y="9"/>
                    <a:pt x="2" y="6"/>
                    <a:pt x="3" y="5"/>
                  </a:cubicBezTo>
                  <a:cubicBezTo>
                    <a:pt x="3" y="5"/>
                    <a:pt x="5" y="1"/>
                    <a:pt x="6" y="1"/>
                  </a:cubicBezTo>
                  <a:cubicBezTo>
                    <a:pt x="7" y="0"/>
                    <a:pt x="14" y="3"/>
                    <a:pt x="14" y="4"/>
                  </a:cubicBezTo>
                  <a:cubicBezTo>
                    <a:pt x="15" y="4"/>
                    <a:pt x="14" y="10"/>
                    <a:pt x="15" y="10"/>
                  </a:cubicBezTo>
                  <a:cubicBezTo>
                    <a:pt x="17" y="10"/>
                    <a:pt x="33" y="10"/>
                    <a:pt x="34" y="11"/>
                  </a:cubicBezTo>
                  <a:cubicBezTo>
                    <a:pt x="35" y="12"/>
                    <a:pt x="31" y="17"/>
                    <a:pt x="30" y="17"/>
                  </a:cubicBezTo>
                  <a:cubicBezTo>
                    <a:pt x="29" y="18"/>
                    <a:pt x="25" y="20"/>
                    <a:pt x="26" y="21"/>
                  </a:cubicBezTo>
                  <a:cubicBezTo>
                    <a:pt x="27" y="23"/>
                    <a:pt x="29" y="25"/>
                    <a:pt x="31" y="25"/>
                  </a:cubicBezTo>
                  <a:cubicBezTo>
                    <a:pt x="32" y="25"/>
                    <a:pt x="33" y="24"/>
                    <a:pt x="34" y="24"/>
                  </a:cubicBezTo>
                  <a:cubicBezTo>
                    <a:pt x="34" y="24"/>
                    <a:pt x="35" y="31"/>
                    <a:pt x="36" y="36"/>
                  </a:cubicBezTo>
                  <a:cubicBezTo>
                    <a:pt x="36" y="38"/>
                    <a:pt x="37" y="41"/>
                    <a:pt x="37" y="4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39"/>
                    <a:pt x="30" y="32"/>
                    <a:pt x="28" y="31"/>
                  </a:cubicBezTo>
                  <a:cubicBezTo>
                    <a:pt x="26" y="30"/>
                    <a:pt x="21" y="27"/>
                    <a:pt x="21" y="26"/>
                  </a:cubicBezTo>
                  <a:cubicBezTo>
                    <a:pt x="20" y="24"/>
                    <a:pt x="20" y="32"/>
                    <a:pt x="19" y="34"/>
                  </a:cubicBezTo>
                  <a:cubicBezTo>
                    <a:pt x="18" y="36"/>
                    <a:pt x="13" y="38"/>
                    <a:pt x="11" y="38"/>
                  </a:cubicBezTo>
                  <a:cubicBezTo>
                    <a:pt x="10" y="38"/>
                    <a:pt x="9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0"/>
                    <a:pt x="7" y="26"/>
                    <a:pt x="6" y="25"/>
                  </a:cubicBezTo>
                  <a:cubicBezTo>
                    <a:pt x="5" y="23"/>
                    <a:pt x="5" y="21"/>
                    <a:pt x="5" y="19"/>
                  </a:cubicBezTo>
                  <a:cubicBezTo>
                    <a:pt x="5" y="17"/>
                    <a:pt x="0" y="16"/>
                    <a:pt x="0" y="15"/>
                  </a:cubicBezTo>
                  <a:cubicBezTo>
                    <a:pt x="0" y="13"/>
                    <a:pt x="7" y="11"/>
                    <a:pt x="7" y="1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48"/>
            <p:cNvSpPr>
              <a:spLocks/>
            </p:cNvSpPr>
            <p:nvPr/>
          </p:nvSpPr>
          <p:spPr bwMode="auto">
            <a:xfrm>
              <a:off x="7589904" y="4089636"/>
              <a:ext cx="69027" cy="33255"/>
            </a:xfrm>
            <a:custGeom>
              <a:avLst/>
              <a:gdLst>
                <a:gd name="T0" fmla="*/ 22425 w 24"/>
                <a:gd name="T1" fmla="*/ 2292 h 13"/>
                <a:gd name="T2" fmla="*/ 5446 w 24"/>
                <a:gd name="T3" fmla="*/ 1796 h 13"/>
                <a:gd name="T4" fmla="*/ 0 w 24"/>
                <a:gd name="T5" fmla="*/ 1297 h 13"/>
                <a:gd name="T6" fmla="*/ 15894 w 24"/>
                <a:gd name="T7" fmla="*/ 533 h 13"/>
                <a:gd name="T8" fmla="*/ 52523 w 24"/>
                <a:gd name="T9" fmla="*/ 0 h 13"/>
                <a:gd name="T10" fmla="*/ 99524 w 24"/>
                <a:gd name="T11" fmla="*/ 1 h 13"/>
                <a:gd name="T12" fmla="*/ 117550 w 24"/>
                <a:gd name="T13" fmla="*/ 937 h 13"/>
                <a:gd name="T14" fmla="*/ 126673 w 24"/>
                <a:gd name="T15" fmla="*/ 738 h 13"/>
                <a:gd name="T16" fmla="*/ 120501 w 24"/>
                <a:gd name="T17" fmla="*/ 1796 h 13"/>
                <a:gd name="T18" fmla="*/ 120501 w 24"/>
                <a:gd name="T19" fmla="*/ 2352 h 13"/>
                <a:gd name="T20" fmla="*/ 89727 w 24"/>
                <a:gd name="T21" fmla="*/ 2352 h 13"/>
                <a:gd name="T22" fmla="*/ 22425 w 24"/>
                <a:gd name="T23" fmla="*/ 2292 h 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4" h="13">
                  <a:moveTo>
                    <a:pt x="4" y="12"/>
                  </a:moveTo>
                  <a:cubicBezTo>
                    <a:pt x="2" y="12"/>
                    <a:pt x="1" y="10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4"/>
                    <a:pt x="3" y="3"/>
                  </a:cubicBezTo>
                  <a:cubicBezTo>
                    <a:pt x="4" y="1"/>
                    <a:pt x="8" y="0"/>
                    <a:pt x="10" y="0"/>
                  </a:cubicBezTo>
                  <a:cubicBezTo>
                    <a:pt x="12" y="0"/>
                    <a:pt x="17" y="1"/>
                    <a:pt x="19" y="1"/>
                  </a:cubicBezTo>
                  <a:cubicBezTo>
                    <a:pt x="20" y="1"/>
                    <a:pt x="20" y="4"/>
                    <a:pt x="22" y="5"/>
                  </a:cubicBezTo>
                  <a:cubicBezTo>
                    <a:pt x="22" y="5"/>
                    <a:pt x="23" y="4"/>
                    <a:pt x="24" y="4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4" y="13"/>
                    <a:pt x="23" y="13"/>
                  </a:cubicBezTo>
                  <a:cubicBezTo>
                    <a:pt x="22" y="13"/>
                    <a:pt x="19" y="13"/>
                    <a:pt x="17" y="13"/>
                  </a:cubicBezTo>
                  <a:cubicBezTo>
                    <a:pt x="15" y="13"/>
                    <a:pt x="6" y="12"/>
                    <a:pt x="4" y="12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49"/>
            <p:cNvSpPr>
              <a:spLocks/>
            </p:cNvSpPr>
            <p:nvPr/>
          </p:nvSpPr>
          <p:spPr bwMode="auto">
            <a:xfrm>
              <a:off x="7399659" y="4041602"/>
              <a:ext cx="171726" cy="86831"/>
            </a:xfrm>
            <a:custGeom>
              <a:avLst/>
              <a:gdLst>
                <a:gd name="T0" fmla="*/ 55996 w 61"/>
                <a:gd name="T1" fmla="*/ 6254 h 33"/>
                <a:gd name="T2" fmla="*/ 6364 w 61"/>
                <a:gd name="T3" fmla="*/ 4625 h 33"/>
                <a:gd name="T4" fmla="*/ 0 w 61"/>
                <a:gd name="T5" fmla="*/ 3791 h 33"/>
                <a:gd name="T6" fmla="*/ 6364 w 61"/>
                <a:gd name="T7" fmla="*/ 1950 h 33"/>
                <a:gd name="T8" fmla="*/ 22622 w 61"/>
                <a:gd name="T9" fmla="*/ 647 h 33"/>
                <a:gd name="T10" fmla="*/ 26370 w 61"/>
                <a:gd name="T11" fmla="*/ 921 h 33"/>
                <a:gd name="T12" fmla="*/ 37827 w 61"/>
                <a:gd name="T13" fmla="*/ 0 h 33"/>
                <a:gd name="T14" fmla="*/ 55996 w 61"/>
                <a:gd name="T15" fmla="*/ 0 h 33"/>
                <a:gd name="T16" fmla="*/ 73731 w 61"/>
                <a:gd name="T17" fmla="*/ 1369 h 33"/>
                <a:gd name="T18" fmla="*/ 93633 w 61"/>
                <a:gd name="T19" fmla="*/ 2662 h 33"/>
                <a:gd name="T20" fmla="*/ 115683 w 61"/>
                <a:gd name="T21" fmla="*/ 2777 h 33"/>
                <a:gd name="T22" fmla="*/ 133493 w 61"/>
                <a:gd name="T23" fmla="*/ 4625 h 33"/>
                <a:gd name="T24" fmla="*/ 176855 w 61"/>
                <a:gd name="T25" fmla="*/ 5633 h 33"/>
                <a:gd name="T26" fmla="*/ 223218 w 61"/>
                <a:gd name="T27" fmla="*/ 6254 h 33"/>
                <a:gd name="T28" fmla="*/ 222306 w 61"/>
                <a:gd name="T29" fmla="*/ 9381 h 33"/>
                <a:gd name="T30" fmla="*/ 179065 w 61"/>
                <a:gd name="T31" fmla="*/ 9329 h 33"/>
                <a:gd name="T32" fmla="*/ 139100 w 61"/>
                <a:gd name="T33" fmla="*/ 8658 h 33"/>
                <a:gd name="T34" fmla="*/ 127127 w 61"/>
                <a:gd name="T35" fmla="*/ 7264 h 33"/>
                <a:gd name="T36" fmla="*/ 93633 w 61"/>
                <a:gd name="T37" fmla="*/ 7264 h 33"/>
                <a:gd name="T38" fmla="*/ 55996 w 61"/>
                <a:gd name="T39" fmla="*/ 6254 h 3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61" h="33">
                  <a:moveTo>
                    <a:pt x="15" y="22"/>
                  </a:moveTo>
                  <a:cubicBezTo>
                    <a:pt x="13" y="21"/>
                    <a:pt x="3" y="17"/>
                    <a:pt x="2" y="16"/>
                  </a:cubicBezTo>
                  <a:cubicBezTo>
                    <a:pt x="1" y="16"/>
                    <a:pt x="0" y="14"/>
                    <a:pt x="0" y="13"/>
                  </a:cubicBezTo>
                  <a:cubicBezTo>
                    <a:pt x="0" y="12"/>
                    <a:pt x="2" y="7"/>
                    <a:pt x="2" y="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8" y="4"/>
                    <a:pt x="20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3" y="14"/>
                    <a:pt x="36" y="16"/>
                  </a:cubicBezTo>
                  <a:cubicBezTo>
                    <a:pt x="39" y="18"/>
                    <a:pt x="44" y="19"/>
                    <a:pt x="47" y="20"/>
                  </a:cubicBezTo>
                  <a:cubicBezTo>
                    <a:pt x="51" y="21"/>
                    <a:pt x="55" y="22"/>
                    <a:pt x="60" y="22"/>
                  </a:cubicBezTo>
                  <a:cubicBezTo>
                    <a:pt x="60" y="22"/>
                    <a:pt x="61" y="33"/>
                    <a:pt x="59" y="33"/>
                  </a:cubicBezTo>
                  <a:cubicBezTo>
                    <a:pt x="56" y="33"/>
                    <a:pt x="49" y="33"/>
                    <a:pt x="48" y="32"/>
                  </a:cubicBezTo>
                  <a:cubicBezTo>
                    <a:pt x="46" y="32"/>
                    <a:pt x="38" y="31"/>
                    <a:pt x="37" y="30"/>
                  </a:cubicBezTo>
                  <a:cubicBezTo>
                    <a:pt x="36" y="28"/>
                    <a:pt x="36" y="25"/>
                    <a:pt x="34" y="25"/>
                  </a:cubicBezTo>
                  <a:cubicBezTo>
                    <a:pt x="33" y="24"/>
                    <a:pt x="28" y="25"/>
                    <a:pt x="25" y="25"/>
                  </a:cubicBezTo>
                  <a:cubicBezTo>
                    <a:pt x="22" y="25"/>
                    <a:pt x="17" y="23"/>
                    <a:pt x="15" y="22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50"/>
            <p:cNvSpPr>
              <a:spLocks/>
            </p:cNvSpPr>
            <p:nvPr/>
          </p:nvSpPr>
          <p:spPr bwMode="auto">
            <a:xfrm>
              <a:off x="7394609" y="4481301"/>
              <a:ext cx="52191" cy="72052"/>
            </a:xfrm>
            <a:custGeom>
              <a:avLst/>
              <a:gdLst>
                <a:gd name="T0" fmla="*/ 100760 w 18"/>
                <a:gd name="T1" fmla="*/ 4177 h 28"/>
                <a:gd name="T2" fmla="*/ 42246 w 18"/>
                <a:gd name="T3" fmla="*/ 5539 h 28"/>
                <a:gd name="T4" fmla="*/ 11060 w 18"/>
                <a:gd name="T5" fmla="*/ 5259 h 28"/>
                <a:gd name="T6" fmla="*/ 6422 w 18"/>
                <a:gd name="T7" fmla="*/ 3630 h 28"/>
                <a:gd name="T8" fmla="*/ 19048 w 18"/>
                <a:gd name="T9" fmla="*/ 1 h 28"/>
                <a:gd name="T10" fmla="*/ 58506 w 18"/>
                <a:gd name="T11" fmla="*/ 1472 h 28"/>
                <a:gd name="T12" fmla="*/ 100760 w 18"/>
                <a:gd name="T13" fmla="*/ 4177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28">
                  <a:moveTo>
                    <a:pt x="17" y="21"/>
                  </a:moveTo>
                  <a:cubicBezTo>
                    <a:pt x="16" y="24"/>
                    <a:pt x="12" y="28"/>
                    <a:pt x="7" y="28"/>
                  </a:cubicBezTo>
                  <a:cubicBezTo>
                    <a:pt x="3" y="28"/>
                    <a:pt x="2" y="28"/>
                    <a:pt x="2" y="26"/>
                  </a:cubicBezTo>
                  <a:cubicBezTo>
                    <a:pt x="1" y="24"/>
                    <a:pt x="1" y="18"/>
                    <a:pt x="1" y="18"/>
                  </a:cubicBezTo>
                  <a:cubicBezTo>
                    <a:pt x="0" y="13"/>
                    <a:pt x="2" y="2"/>
                    <a:pt x="3" y="1"/>
                  </a:cubicBezTo>
                  <a:cubicBezTo>
                    <a:pt x="4" y="0"/>
                    <a:pt x="10" y="4"/>
                    <a:pt x="10" y="7"/>
                  </a:cubicBezTo>
                  <a:cubicBezTo>
                    <a:pt x="11" y="11"/>
                    <a:pt x="18" y="18"/>
                    <a:pt x="17" y="2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51"/>
            <p:cNvSpPr>
              <a:spLocks/>
            </p:cNvSpPr>
            <p:nvPr/>
          </p:nvSpPr>
          <p:spPr bwMode="auto">
            <a:xfrm>
              <a:off x="7359253" y="3921516"/>
              <a:ext cx="47140" cy="48034"/>
            </a:xfrm>
            <a:custGeom>
              <a:avLst/>
              <a:gdLst>
                <a:gd name="T0" fmla="*/ 0 w 17"/>
                <a:gd name="T1" fmla="*/ 1531 h 18"/>
                <a:gd name="T2" fmla="*/ 17222 w 17"/>
                <a:gd name="T3" fmla="*/ 0 h 18"/>
                <a:gd name="T4" fmla="*/ 28366 w 17"/>
                <a:gd name="T5" fmla="*/ 0 h 18"/>
                <a:gd name="T6" fmla="*/ 49794 w 17"/>
                <a:gd name="T7" fmla="*/ 1060 h 18"/>
                <a:gd name="T8" fmla="*/ 46720 w 17"/>
                <a:gd name="T9" fmla="*/ 3457 h 18"/>
                <a:gd name="T10" fmla="*/ 32220 w 17"/>
                <a:gd name="T11" fmla="*/ 6150 h 18"/>
                <a:gd name="T12" fmla="*/ 17222 w 17"/>
                <a:gd name="T13" fmla="*/ 6522 h 18"/>
                <a:gd name="T14" fmla="*/ 8543 w 17"/>
                <a:gd name="T15" fmla="*/ 4258 h 18"/>
                <a:gd name="T16" fmla="*/ 5187 w 17"/>
                <a:gd name="T17" fmla="*/ 3930 h 18"/>
                <a:gd name="T18" fmla="*/ 5187 w 17"/>
                <a:gd name="T19" fmla="*/ 4258 h 18"/>
                <a:gd name="T20" fmla="*/ 0 w 17"/>
                <a:gd name="T21" fmla="*/ 1531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7" h="18">
                  <a:moveTo>
                    <a:pt x="0" y="4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1" y="0"/>
                    <a:pt x="16" y="2"/>
                    <a:pt x="17" y="3"/>
                  </a:cubicBezTo>
                  <a:cubicBezTo>
                    <a:pt x="17" y="5"/>
                    <a:pt x="17" y="9"/>
                    <a:pt x="16" y="10"/>
                  </a:cubicBezTo>
                  <a:cubicBezTo>
                    <a:pt x="15" y="11"/>
                    <a:pt x="12" y="17"/>
                    <a:pt x="11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5" y="15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2"/>
                    <a:pt x="2" y="12"/>
                  </a:cubicBezTo>
                  <a:cubicBezTo>
                    <a:pt x="1" y="10"/>
                    <a:pt x="0" y="5"/>
                    <a:pt x="0" y="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374" name="Group 52"/>
            <p:cNvGrpSpPr>
              <a:grpSpLocks/>
            </p:cNvGrpSpPr>
            <p:nvPr/>
          </p:nvGrpSpPr>
          <p:grpSpPr bwMode="auto">
            <a:xfrm>
              <a:off x="7261606" y="3478121"/>
              <a:ext cx="1306461" cy="835059"/>
              <a:chOff x="3855" y="1639"/>
              <a:chExt cx="948" cy="644"/>
            </a:xfrm>
            <a:solidFill>
              <a:srgbClr val="EBEBE3"/>
            </a:solidFill>
          </p:grpSpPr>
          <p:sp>
            <p:nvSpPr>
              <p:cNvPr id="602" name="Freeform 53"/>
              <p:cNvSpPr>
                <a:spLocks/>
              </p:cNvSpPr>
              <p:nvPr/>
            </p:nvSpPr>
            <p:spPr bwMode="auto">
              <a:xfrm>
                <a:off x="4398" y="2251"/>
                <a:ext cx="42" cy="32"/>
              </a:xfrm>
              <a:custGeom>
                <a:avLst/>
                <a:gdLst>
                  <a:gd name="T0" fmla="*/ 720896 w 21"/>
                  <a:gd name="T1" fmla="*/ 851968 h 16"/>
                  <a:gd name="T2" fmla="*/ 196608 w 21"/>
                  <a:gd name="T3" fmla="*/ 655360 h 16"/>
                  <a:gd name="T4" fmla="*/ 458752 w 21"/>
                  <a:gd name="T5" fmla="*/ 65536 h 16"/>
                  <a:gd name="T6" fmla="*/ 1310720 w 21"/>
                  <a:gd name="T7" fmla="*/ 65536 h 16"/>
                  <a:gd name="T8" fmla="*/ 720896 w 21"/>
                  <a:gd name="T9" fmla="*/ 85196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1" h="16">
                    <a:moveTo>
                      <a:pt x="11" y="13"/>
                    </a:moveTo>
                    <a:cubicBezTo>
                      <a:pt x="9" y="16"/>
                      <a:pt x="6" y="12"/>
                      <a:pt x="3" y="10"/>
                    </a:cubicBezTo>
                    <a:cubicBezTo>
                      <a:pt x="0" y="7"/>
                      <a:pt x="5" y="3"/>
                      <a:pt x="7" y="1"/>
                    </a:cubicBezTo>
                    <a:cubicBezTo>
                      <a:pt x="7" y="1"/>
                      <a:pt x="19" y="0"/>
                      <a:pt x="20" y="1"/>
                    </a:cubicBezTo>
                    <a:cubicBezTo>
                      <a:pt x="21" y="3"/>
                      <a:pt x="12" y="10"/>
                      <a:pt x="11" y="1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3" name="Freeform 54"/>
              <p:cNvSpPr>
                <a:spLocks/>
              </p:cNvSpPr>
              <p:nvPr/>
            </p:nvSpPr>
            <p:spPr bwMode="auto">
              <a:xfrm>
                <a:off x="3855" y="1639"/>
                <a:ext cx="948" cy="604"/>
              </a:xfrm>
              <a:custGeom>
                <a:avLst/>
                <a:gdLst>
                  <a:gd name="T0" fmla="*/ 1433289 w 468"/>
                  <a:gd name="T1" fmla="*/ 10521994 h 298"/>
                  <a:gd name="T2" fmla="*/ 2977773 w 468"/>
                  <a:gd name="T3" fmla="*/ 9887139 h 298"/>
                  <a:gd name="T4" fmla="*/ 4327602 w 468"/>
                  <a:gd name="T5" fmla="*/ 8290938 h 298"/>
                  <a:gd name="T6" fmla="*/ 5956191 w 468"/>
                  <a:gd name="T7" fmla="*/ 5293049 h 298"/>
                  <a:gd name="T8" fmla="*/ 7966597 w 468"/>
                  <a:gd name="T9" fmla="*/ 4212444 h 298"/>
                  <a:gd name="T10" fmla="*/ 9245745 w 468"/>
                  <a:gd name="T11" fmla="*/ 4561043 h 298"/>
                  <a:gd name="T12" fmla="*/ 10670153 w 468"/>
                  <a:gd name="T13" fmla="*/ 6735117 h 298"/>
                  <a:gd name="T14" fmla="*/ 13959853 w 468"/>
                  <a:gd name="T15" fmla="*/ 8690849 h 298"/>
                  <a:gd name="T16" fmla="*/ 20814051 w 468"/>
                  <a:gd name="T17" fmla="*/ 9002843 h 298"/>
                  <a:gd name="T18" fmla="*/ 23205598 w 468"/>
                  <a:gd name="T19" fmla="*/ 7363109 h 298"/>
                  <a:gd name="T20" fmla="*/ 26100314 w 468"/>
                  <a:gd name="T21" fmla="*/ 6478808 h 298"/>
                  <a:gd name="T22" fmla="*/ 28353371 w 468"/>
                  <a:gd name="T23" fmla="*/ 5921584 h 298"/>
                  <a:gd name="T24" fmla="*/ 27494994 w 468"/>
                  <a:gd name="T25" fmla="*/ 4639030 h 298"/>
                  <a:gd name="T26" fmla="*/ 25714295 w 468"/>
                  <a:gd name="T27" fmla="*/ 4561043 h 298"/>
                  <a:gd name="T28" fmla="*/ 28124294 w 468"/>
                  <a:gd name="T29" fmla="*/ 2845330 h 298"/>
                  <a:gd name="T30" fmla="*/ 28430443 w 468"/>
                  <a:gd name="T31" fmla="*/ 884299 h 298"/>
                  <a:gd name="T32" fmla="*/ 32134506 w 468"/>
                  <a:gd name="T33" fmla="*/ 711174 h 298"/>
                  <a:gd name="T34" fmla="*/ 34882049 w 468"/>
                  <a:gd name="T35" fmla="*/ 3889227 h 298"/>
                  <a:gd name="T36" fmla="*/ 37439571 w 468"/>
                  <a:gd name="T37" fmla="*/ 4363081 h 298"/>
                  <a:gd name="T38" fmla="*/ 36658034 w 468"/>
                  <a:gd name="T39" fmla="*/ 6965561 h 298"/>
                  <a:gd name="T40" fmla="*/ 35112285 w 468"/>
                  <a:gd name="T41" fmla="*/ 8445618 h 298"/>
                  <a:gd name="T42" fmla="*/ 34158453 w 468"/>
                  <a:gd name="T43" fmla="*/ 9080564 h 298"/>
                  <a:gd name="T44" fmla="*/ 32530284 w 468"/>
                  <a:gd name="T45" fmla="*/ 9554516 h 298"/>
                  <a:gd name="T46" fmla="*/ 31179449 w 468"/>
                  <a:gd name="T47" fmla="*/ 10882866 h 298"/>
                  <a:gd name="T48" fmla="*/ 29389600 w 468"/>
                  <a:gd name="T49" fmla="*/ 11290945 h 298"/>
                  <a:gd name="T50" fmla="*/ 29003375 w 468"/>
                  <a:gd name="T51" fmla="*/ 10209734 h 298"/>
                  <a:gd name="T52" fmla="*/ 26922927 w 468"/>
                  <a:gd name="T53" fmla="*/ 11767164 h 298"/>
                  <a:gd name="T54" fmla="*/ 27966413 w 468"/>
                  <a:gd name="T55" fmla="*/ 12732405 h 298"/>
                  <a:gd name="T56" fmla="*/ 30134076 w 468"/>
                  <a:gd name="T57" fmla="*/ 12559280 h 298"/>
                  <a:gd name="T58" fmla="*/ 28124294 w 468"/>
                  <a:gd name="T59" fmla="*/ 14459557 h 298"/>
                  <a:gd name="T60" fmla="*/ 29631403 w 468"/>
                  <a:gd name="T61" fmla="*/ 16524587 h 298"/>
                  <a:gd name="T62" fmla="*/ 29900287 w 468"/>
                  <a:gd name="T63" fmla="*/ 17848291 h 298"/>
                  <a:gd name="T64" fmla="*/ 28353371 w 468"/>
                  <a:gd name="T65" fmla="*/ 20134253 h 298"/>
                  <a:gd name="T66" fmla="*/ 26495838 w 468"/>
                  <a:gd name="T67" fmla="*/ 22211484 h 298"/>
                  <a:gd name="T68" fmla="*/ 24439572 w 468"/>
                  <a:gd name="T69" fmla="*/ 22961356 h 298"/>
                  <a:gd name="T70" fmla="*/ 22661359 w 468"/>
                  <a:gd name="T71" fmla="*/ 23850225 h 298"/>
                  <a:gd name="T72" fmla="*/ 22168101 w 468"/>
                  <a:gd name="T73" fmla="*/ 23461711 h 298"/>
                  <a:gd name="T74" fmla="*/ 20311690 w 468"/>
                  <a:gd name="T75" fmla="*/ 23039750 h 298"/>
                  <a:gd name="T76" fmla="*/ 19442943 w 468"/>
                  <a:gd name="T77" fmla="*/ 22286970 h 298"/>
                  <a:gd name="T78" fmla="*/ 17371292 w 468"/>
                  <a:gd name="T79" fmla="*/ 22885003 h 298"/>
                  <a:gd name="T80" fmla="*/ 16863034 w 468"/>
                  <a:gd name="T81" fmla="*/ 23536925 h 298"/>
                  <a:gd name="T82" fmla="*/ 15825671 w 468"/>
                  <a:gd name="T83" fmla="*/ 22961356 h 298"/>
                  <a:gd name="T84" fmla="*/ 15276512 w 468"/>
                  <a:gd name="T85" fmla="*/ 21744391 h 298"/>
                  <a:gd name="T86" fmla="*/ 15429893 w 468"/>
                  <a:gd name="T87" fmla="*/ 20540096 h 298"/>
                  <a:gd name="T88" fmla="*/ 14876316 w 468"/>
                  <a:gd name="T89" fmla="*/ 18822643 h 298"/>
                  <a:gd name="T90" fmla="*/ 13884145 w 468"/>
                  <a:gd name="T91" fmla="*/ 18247373 h 298"/>
                  <a:gd name="T92" fmla="*/ 12140817 w 468"/>
                  <a:gd name="T93" fmla="*/ 18901359 h 298"/>
                  <a:gd name="T94" fmla="*/ 11019457 w 468"/>
                  <a:gd name="T95" fmla="*/ 18976778 h 298"/>
                  <a:gd name="T96" fmla="*/ 9473706 w 468"/>
                  <a:gd name="T97" fmla="*/ 19448376 h 298"/>
                  <a:gd name="T98" fmla="*/ 7775162 w 468"/>
                  <a:gd name="T99" fmla="*/ 19057615 h 298"/>
                  <a:gd name="T100" fmla="*/ 6031899 w 468"/>
                  <a:gd name="T101" fmla="*/ 18168792 h 298"/>
                  <a:gd name="T102" fmla="*/ 4835306 w 468"/>
                  <a:gd name="T103" fmla="*/ 17459919 h 298"/>
                  <a:gd name="T104" fmla="*/ 3289688 w 468"/>
                  <a:gd name="T105" fmla="*/ 16804452 h 298"/>
                  <a:gd name="T106" fmla="*/ 3289688 w 468"/>
                  <a:gd name="T107" fmla="*/ 15171025 h 298"/>
                  <a:gd name="T108" fmla="*/ 4165263 w 468"/>
                  <a:gd name="T109" fmla="*/ 13958645 h 298"/>
                  <a:gd name="T110" fmla="*/ 2820484 w 468"/>
                  <a:gd name="T111" fmla="*/ 14039406 h 298"/>
                  <a:gd name="T112" fmla="*/ 1507109 w 468"/>
                  <a:gd name="T113" fmla="*/ 13443611 h 298"/>
                  <a:gd name="T114" fmla="*/ 879082 w 468"/>
                  <a:gd name="T115" fmla="*/ 12559280 h 298"/>
                  <a:gd name="T116" fmla="*/ 75712 w 468"/>
                  <a:gd name="T117" fmla="*/ 11214983 h 29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468" h="298">
                    <a:moveTo>
                      <a:pt x="2" y="136"/>
                    </a:moveTo>
                    <a:cubicBezTo>
                      <a:pt x="4" y="134"/>
                      <a:pt x="13" y="127"/>
                      <a:pt x="15" y="127"/>
                    </a:cubicBezTo>
                    <a:cubicBezTo>
                      <a:pt x="17" y="127"/>
                      <a:pt x="17" y="130"/>
                      <a:pt x="18" y="130"/>
                    </a:cubicBezTo>
                    <a:cubicBezTo>
                      <a:pt x="19" y="131"/>
                      <a:pt x="22" y="131"/>
                      <a:pt x="24" y="130"/>
                    </a:cubicBezTo>
                    <a:cubicBezTo>
                      <a:pt x="26" y="129"/>
                      <a:pt x="24" y="123"/>
                      <a:pt x="26" y="123"/>
                    </a:cubicBezTo>
                    <a:cubicBezTo>
                      <a:pt x="28" y="123"/>
                      <a:pt x="34" y="123"/>
                      <a:pt x="37" y="122"/>
                    </a:cubicBezTo>
                    <a:cubicBezTo>
                      <a:pt x="40" y="121"/>
                      <a:pt x="50" y="116"/>
                      <a:pt x="51" y="114"/>
                    </a:cubicBezTo>
                    <a:cubicBezTo>
                      <a:pt x="52" y="113"/>
                      <a:pt x="52" y="113"/>
                      <a:pt x="52" y="112"/>
                    </a:cubicBezTo>
                    <a:cubicBezTo>
                      <a:pt x="53" y="108"/>
                      <a:pt x="54" y="103"/>
                      <a:pt x="54" y="102"/>
                    </a:cubicBezTo>
                    <a:cubicBezTo>
                      <a:pt x="54" y="101"/>
                      <a:pt x="51" y="86"/>
                      <a:pt x="51" y="86"/>
                    </a:cubicBezTo>
                    <a:cubicBezTo>
                      <a:pt x="51" y="86"/>
                      <a:pt x="65" y="82"/>
                      <a:pt x="66" y="82"/>
                    </a:cubicBezTo>
                    <a:cubicBezTo>
                      <a:pt x="68" y="82"/>
                      <a:pt x="74" y="65"/>
                      <a:pt x="74" y="65"/>
                    </a:cubicBezTo>
                    <a:cubicBezTo>
                      <a:pt x="74" y="65"/>
                      <a:pt x="88" y="68"/>
                      <a:pt x="91" y="67"/>
                    </a:cubicBezTo>
                    <a:cubicBezTo>
                      <a:pt x="94" y="65"/>
                      <a:pt x="92" y="55"/>
                      <a:pt x="94" y="54"/>
                    </a:cubicBezTo>
                    <a:cubicBezTo>
                      <a:pt x="96" y="53"/>
                      <a:pt x="98" y="53"/>
                      <a:pt x="99" y="52"/>
                    </a:cubicBezTo>
                    <a:cubicBezTo>
                      <a:pt x="105" y="45"/>
                      <a:pt x="105" y="45"/>
                      <a:pt x="105" y="45"/>
                    </a:cubicBezTo>
                    <a:cubicBezTo>
                      <a:pt x="107" y="46"/>
                      <a:pt x="110" y="47"/>
                      <a:pt x="110" y="47"/>
                    </a:cubicBezTo>
                    <a:cubicBezTo>
                      <a:pt x="110" y="47"/>
                      <a:pt x="113" y="54"/>
                      <a:pt x="115" y="56"/>
                    </a:cubicBezTo>
                    <a:cubicBezTo>
                      <a:pt x="117" y="57"/>
                      <a:pt x="124" y="57"/>
                      <a:pt x="126" y="59"/>
                    </a:cubicBezTo>
                    <a:cubicBezTo>
                      <a:pt x="128" y="61"/>
                      <a:pt x="134" y="71"/>
                      <a:pt x="134" y="74"/>
                    </a:cubicBezTo>
                    <a:cubicBezTo>
                      <a:pt x="133" y="77"/>
                      <a:pt x="130" y="80"/>
                      <a:pt x="133" y="83"/>
                    </a:cubicBezTo>
                    <a:cubicBezTo>
                      <a:pt x="136" y="85"/>
                      <a:pt x="149" y="86"/>
                      <a:pt x="151" y="86"/>
                    </a:cubicBezTo>
                    <a:cubicBezTo>
                      <a:pt x="154" y="87"/>
                      <a:pt x="162" y="91"/>
                      <a:pt x="164" y="93"/>
                    </a:cubicBezTo>
                    <a:cubicBezTo>
                      <a:pt x="167" y="95"/>
                      <a:pt x="174" y="106"/>
                      <a:pt x="174" y="107"/>
                    </a:cubicBezTo>
                    <a:cubicBezTo>
                      <a:pt x="174" y="108"/>
                      <a:pt x="208" y="107"/>
                      <a:pt x="210" y="108"/>
                    </a:cubicBezTo>
                    <a:cubicBezTo>
                      <a:pt x="212" y="110"/>
                      <a:pt x="236" y="118"/>
                      <a:pt x="239" y="118"/>
                    </a:cubicBezTo>
                    <a:cubicBezTo>
                      <a:pt x="242" y="117"/>
                      <a:pt x="256" y="111"/>
                      <a:pt x="259" y="111"/>
                    </a:cubicBezTo>
                    <a:cubicBezTo>
                      <a:pt x="261" y="111"/>
                      <a:pt x="275" y="111"/>
                      <a:pt x="278" y="109"/>
                    </a:cubicBezTo>
                    <a:cubicBezTo>
                      <a:pt x="282" y="107"/>
                      <a:pt x="294" y="101"/>
                      <a:pt x="293" y="98"/>
                    </a:cubicBezTo>
                    <a:cubicBezTo>
                      <a:pt x="293" y="95"/>
                      <a:pt x="288" y="94"/>
                      <a:pt x="289" y="91"/>
                    </a:cubicBezTo>
                    <a:cubicBezTo>
                      <a:pt x="291" y="88"/>
                      <a:pt x="293" y="85"/>
                      <a:pt x="296" y="85"/>
                    </a:cubicBezTo>
                    <a:cubicBezTo>
                      <a:pt x="299" y="85"/>
                      <a:pt x="306" y="89"/>
                      <a:pt x="310" y="88"/>
                    </a:cubicBezTo>
                    <a:cubicBezTo>
                      <a:pt x="313" y="86"/>
                      <a:pt x="324" y="82"/>
                      <a:pt x="325" y="80"/>
                    </a:cubicBezTo>
                    <a:cubicBezTo>
                      <a:pt x="326" y="79"/>
                      <a:pt x="334" y="72"/>
                      <a:pt x="336" y="71"/>
                    </a:cubicBezTo>
                    <a:cubicBezTo>
                      <a:pt x="337" y="71"/>
                      <a:pt x="344" y="69"/>
                      <a:pt x="346" y="69"/>
                    </a:cubicBezTo>
                    <a:cubicBezTo>
                      <a:pt x="348" y="69"/>
                      <a:pt x="352" y="74"/>
                      <a:pt x="353" y="73"/>
                    </a:cubicBezTo>
                    <a:cubicBezTo>
                      <a:pt x="354" y="73"/>
                      <a:pt x="355" y="71"/>
                      <a:pt x="355" y="70"/>
                    </a:cubicBezTo>
                    <a:cubicBezTo>
                      <a:pt x="356" y="70"/>
                      <a:pt x="356" y="66"/>
                      <a:pt x="354" y="64"/>
                    </a:cubicBezTo>
                    <a:cubicBezTo>
                      <a:pt x="352" y="62"/>
                      <a:pt x="345" y="57"/>
                      <a:pt x="342" y="57"/>
                    </a:cubicBezTo>
                    <a:cubicBezTo>
                      <a:pt x="339" y="57"/>
                      <a:pt x="334" y="61"/>
                      <a:pt x="333" y="61"/>
                    </a:cubicBezTo>
                    <a:cubicBezTo>
                      <a:pt x="331" y="61"/>
                      <a:pt x="325" y="61"/>
                      <a:pt x="324" y="61"/>
                    </a:cubicBezTo>
                    <a:cubicBezTo>
                      <a:pt x="323" y="61"/>
                      <a:pt x="320" y="57"/>
                      <a:pt x="320" y="56"/>
                    </a:cubicBezTo>
                    <a:cubicBezTo>
                      <a:pt x="319" y="55"/>
                      <a:pt x="329" y="41"/>
                      <a:pt x="329" y="40"/>
                    </a:cubicBezTo>
                    <a:cubicBezTo>
                      <a:pt x="330" y="40"/>
                      <a:pt x="340" y="43"/>
                      <a:pt x="341" y="42"/>
                    </a:cubicBezTo>
                    <a:cubicBezTo>
                      <a:pt x="342" y="41"/>
                      <a:pt x="349" y="37"/>
                      <a:pt x="350" y="35"/>
                    </a:cubicBezTo>
                    <a:cubicBezTo>
                      <a:pt x="350" y="33"/>
                      <a:pt x="357" y="24"/>
                      <a:pt x="359" y="21"/>
                    </a:cubicBezTo>
                    <a:cubicBezTo>
                      <a:pt x="361" y="18"/>
                      <a:pt x="361" y="15"/>
                      <a:pt x="360" y="14"/>
                    </a:cubicBezTo>
                    <a:cubicBezTo>
                      <a:pt x="360" y="13"/>
                      <a:pt x="354" y="13"/>
                      <a:pt x="354" y="11"/>
                    </a:cubicBezTo>
                    <a:cubicBezTo>
                      <a:pt x="354" y="9"/>
                      <a:pt x="358" y="5"/>
                      <a:pt x="362" y="4"/>
                    </a:cubicBezTo>
                    <a:cubicBezTo>
                      <a:pt x="365" y="3"/>
                      <a:pt x="381" y="0"/>
                      <a:pt x="385" y="3"/>
                    </a:cubicBezTo>
                    <a:cubicBezTo>
                      <a:pt x="390" y="6"/>
                      <a:pt x="399" y="7"/>
                      <a:pt x="400" y="9"/>
                    </a:cubicBezTo>
                    <a:cubicBezTo>
                      <a:pt x="402" y="11"/>
                      <a:pt x="411" y="33"/>
                      <a:pt x="412" y="35"/>
                    </a:cubicBezTo>
                    <a:cubicBezTo>
                      <a:pt x="412" y="38"/>
                      <a:pt x="412" y="40"/>
                      <a:pt x="415" y="42"/>
                    </a:cubicBezTo>
                    <a:cubicBezTo>
                      <a:pt x="418" y="44"/>
                      <a:pt x="432" y="46"/>
                      <a:pt x="434" y="48"/>
                    </a:cubicBezTo>
                    <a:cubicBezTo>
                      <a:pt x="436" y="50"/>
                      <a:pt x="439" y="61"/>
                      <a:pt x="440" y="61"/>
                    </a:cubicBezTo>
                    <a:cubicBezTo>
                      <a:pt x="441" y="61"/>
                      <a:pt x="449" y="61"/>
                      <a:pt x="451" y="60"/>
                    </a:cubicBezTo>
                    <a:cubicBezTo>
                      <a:pt x="453" y="58"/>
                      <a:pt x="464" y="51"/>
                      <a:pt x="466" y="54"/>
                    </a:cubicBezTo>
                    <a:cubicBezTo>
                      <a:pt x="468" y="56"/>
                      <a:pt x="468" y="60"/>
                      <a:pt x="468" y="61"/>
                    </a:cubicBezTo>
                    <a:cubicBezTo>
                      <a:pt x="467" y="63"/>
                      <a:pt x="462" y="69"/>
                      <a:pt x="462" y="71"/>
                    </a:cubicBezTo>
                    <a:cubicBezTo>
                      <a:pt x="461" y="74"/>
                      <a:pt x="457" y="86"/>
                      <a:pt x="456" y="86"/>
                    </a:cubicBezTo>
                    <a:cubicBezTo>
                      <a:pt x="456" y="86"/>
                      <a:pt x="447" y="84"/>
                      <a:pt x="444" y="85"/>
                    </a:cubicBezTo>
                    <a:cubicBezTo>
                      <a:pt x="442" y="86"/>
                      <a:pt x="437" y="87"/>
                      <a:pt x="439" y="89"/>
                    </a:cubicBezTo>
                    <a:cubicBezTo>
                      <a:pt x="440" y="91"/>
                      <a:pt x="439" y="103"/>
                      <a:pt x="437" y="104"/>
                    </a:cubicBezTo>
                    <a:cubicBezTo>
                      <a:pt x="437" y="104"/>
                      <a:pt x="435" y="104"/>
                      <a:pt x="434" y="105"/>
                    </a:cubicBezTo>
                    <a:cubicBezTo>
                      <a:pt x="433" y="105"/>
                      <a:pt x="432" y="105"/>
                      <a:pt x="431" y="105"/>
                    </a:cubicBezTo>
                    <a:cubicBezTo>
                      <a:pt x="428" y="106"/>
                      <a:pt x="426" y="111"/>
                      <a:pt x="425" y="112"/>
                    </a:cubicBezTo>
                    <a:cubicBezTo>
                      <a:pt x="423" y="112"/>
                      <a:pt x="418" y="114"/>
                      <a:pt x="417" y="115"/>
                    </a:cubicBezTo>
                    <a:cubicBezTo>
                      <a:pt x="416" y="116"/>
                      <a:pt x="418" y="119"/>
                      <a:pt x="415" y="119"/>
                    </a:cubicBezTo>
                    <a:cubicBezTo>
                      <a:pt x="413" y="119"/>
                      <a:pt x="408" y="116"/>
                      <a:pt x="405" y="118"/>
                    </a:cubicBezTo>
                    <a:cubicBezTo>
                      <a:pt x="402" y="120"/>
                      <a:pt x="400" y="125"/>
                      <a:pt x="398" y="126"/>
                    </a:cubicBezTo>
                    <a:cubicBezTo>
                      <a:pt x="396" y="127"/>
                      <a:pt x="390" y="130"/>
                      <a:pt x="390" y="131"/>
                    </a:cubicBezTo>
                    <a:cubicBezTo>
                      <a:pt x="388" y="134"/>
                      <a:pt x="388" y="134"/>
                      <a:pt x="388" y="134"/>
                    </a:cubicBezTo>
                    <a:cubicBezTo>
                      <a:pt x="387" y="134"/>
                      <a:pt x="387" y="134"/>
                      <a:pt x="386" y="134"/>
                    </a:cubicBezTo>
                    <a:cubicBezTo>
                      <a:pt x="384" y="134"/>
                      <a:pt x="376" y="139"/>
                      <a:pt x="373" y="141"/>
                    </a:cubicBezTo>
                    <a:cubicBezTo>
                      <a:pt x="371" y="142"/>
                      <a:pt x="367" y="141"/>
                      <a:pt x="366" y="139"/>
                    </a:cubicBezTo>
                    <a:cubicBezTo>
                      <a:pt x="366" y="137"/>
                      <a:pt x="370" y="131"/>
                      <a:pt x="371" y="130"/>
                    </a:cubicBezTo>
                    <a:cubicBezTo>
                      <a:pt x="372" y="129"/>
                      <a:pt x="373" y="127"/>
                      <a:pt x="370" y="125"/>
                    </a:cubicBezTo>
                    <a:cubicBezTo>
                      <a:pt x="367" y="123"/>
                      <a:pt x="362" y="125"/>
                      <a:pt x="361" y="126"/>
                    </a:cubicBezTo>
                    <a:cubicBezTo>
                      <a:pt x="359" y="128"/>
                      <a:pt x="352" y="136"/>
                      <a:pt x="350" y="138"/>
                    </a:cubicBezTo>
                    <a:cubicBezTo>
                      <a:pt x="348" y="140"/>
                      <a:pt x="343" y="140"/>
                      <a:pt x="341" y="140"/>
                    </a:cubicBezTo>
                    <a:cubicBezTo>
                      <a:pt x="339" y="139"/>
                      <a:pt x="335" y="142"/>
                      <a:pt x="335" y="145"/>
                    </a:cubicBezTo>
                    <a:cubicBezTo>
                      <a:pt x="335" y="148"/>
                      <a:pt x="339" y="150"/>
                      <a:pt x="341" y="150"/>
                    </a:cubicBezTo>
                    <a:cubicBezTo>
                      <a:pt x="344" y="150"/>
                      <a:pt x="345" y="149"/>
                      <a:pt x="347" y="149"/>
                    </a:cubicBezTo>
                    <a:cubicBezTo>
                      <a:pt x="348" y="149"/>
                      <a:pt x="347" y="156"/>
                      <a:pt x="348" y="157"/>
                    </a:cubicBezTo>
                    <a:cubicBezTo>
                      <a:pt x="349" y="158"/>
                      <a:pt x="353" y="159"/>
                      <a:pt x="355" y="158"/>
                    </a:cubicBezTo>
                    <a:cubicBezTo>
                      <a:pt x="356" y="156"/>
                      <a:pt x="359" y="153"/>
                      <a:pt x="360" y="152"/>
                    </a:cubicBezTo>
                    <a:cubicBezTo>
                      <a:pt x="362" y="151"/>
                      <a:pt x="374" y="155"/>
                      <a:pt x="375" y="155"/>
                    </a:cubicBezTo>
                    <a:cubicBezTo>
                      <a:pt x="377" y="156"/>
                      <a:pt x="374" y="159"/>
                      <a:pt x="374" y="161"/>
                    </a:cubicBezTo>
                    <a:cubicBezTo>
                      <a:pt x="374" y="162"/>
                      <a:pt x="366" y="162"/>
                      <a:pt x="363" y="164"/>
                    </a:cubicBezTo>
                    <a:cubicBezTo>
                      <a:pt x="359" y="167"/>
                      <a:pt x="348" y="176"/>
                      <a:pt x="350" y="178"/>
                    </a:cubicBezTo>
                    <a:cubicBezTo>
                      <a:pt x="352" y="180"/>
                      <a:pt x="357" y="182"/>
                      <a:pt x="358" y="184"/>
                    </a:cubicBezTo>
                    <a:cubicBezTo>
                      <a:pt x="359" y="186"/>
                      <a:pt x="362" y="193"/>
                      <a:pt x="362" y="195"/>
                    </a:cubicBezTo>
                    <a:cubicBezTo>
                      <a:pt x="363" y="197"/>
                      <a:pt x="369" y="202"/>
                      <a:pt x="369" y="204"/>
                    </a:cubicBezTo>
                    <a:cubicBezTo>
                      <a:pt x="369" y="207"/>
                      <a:pt x="370" y="210"/>
                      <a:pt x="369" y="211"/>
                    </a:cubicBezTo>
                    <a:cubicBezTo>
                      <a:pt x="369" y="212"/>
                      <a:pt x="359" y="216"/>
                      <a:pt x="359" y="217"/>
                    </a:cubicBezTo>
                    <a:cubicBezTo>
                      <a:pt x="359" y="218"/>
                      <a:pt x="372" y="218"/>
                      <a:pt x="372" y="220"/>
                    </a:cubicBezTo>
                    <a:cubicBezTo>
                      <a:pt x="372" y="222"/>
                      <a:pt x="370" y="226"/>
                      <a:pt x="369" y="229"/>
                    </a:cubicBezTo>
                    <a:cubicBezTo>
                      <a:pt x="367" y="231"/>
                      <a:pt x="360" y="239"/>
                      <a:pt x="358" y="242"/>
                    </a:cubicBezTo>
                    <a:cubicBezTo>
                      <a:pt x="357" y="244"/>
                      <a:pt x="353" y="245"/>
                      <a:pt x="353" y="248"/>
                    </a:cubicBezTo>
                    <a:cubicBezTo>
                      <a:pt x="353" y="250"/>
                      <a:pt x="354" y="255"/>
                      <a:pt x="353" y="256"/>
                    </a:cubicBezTo>
                    <a:cubicBezTo>
                      <a:pt x="351" y="257"/>
                      <a:pt x="344" y="262"/>
                      <a:pt x="342" y="264"/>
                    </a:cubicBezTo>
                    <a:cubicBezTo>
                      <a:pt x="340" y="266"/>
                      <a:pt x="331" y="273"/>
                      <a:pt x="330" y="274"/>
                    </a:cubicBezTo>
                    <a:cubicBezTo>
                      <a:pt x="329" y="276"/>
                      <a:pt x="321" y="280"/>
                      <a:pt x="318" y="280"/>
                    </a:cubicBezTo>
                    <a:cubicBezTo>
                      <a:pt x="314" y="280"/>
                      <a:pt x="311" y="282"/>
                      <a:pt x="309" y="280"/>
                    </a:cubicBezTo>
                    <a:cubicBezTo>
                      <a:pt x="307" y="277"/>
                      <a:pt x="305" y="281"/>
                      <a:pt x="304" y="283"/>
                    </a:cubicBezTo>
                    <a:cubicBezTo>
                      <a:pt x="303" y="285"/>
                      <a:pt x="302" y="287"/>
                      <a:pt x="299" y="287"/>
                    </a:cubicBezTo>
                    <a:cubicBezTo>
                      <a:pt x="296" y="287"/>
                      <a:pt x="286" y="288"/>
                      <a:pt x="284" y="289"/>
                    </a:cubicBezTo>
                    <a:cubicBezTo>
                      <a:pt x="283" y="291"/>
                      <a:pt x="281" y="291"/>
                      <a:pt x="282" y="294"/>
                    </a:cubicBezTo>
                    <a:cubicBezTo>
                      <a:pt x="283" y="296"/>
                      <a:pt x="283" y="298"/>
                      <a:pt x="280" y="298"/>
                    </a:cubicBezTo>
                    <a:cubicBezTo>
                      <a:pt x="278" y="298"/>
                      <a:pt x="278" y="298"/>
                      <a:pt x="277" y="297"/>
                    </a:cubicBezTo>
                    <a:cubicBezTo>
                      <a:pt x="277" y="295"/>
                      <a:pt x="277" y="290"/>
                      <a:pt x="276" y="289"/>
                    </a:cubicBezTo>
                    <a:cubicBezTo>
                      <a:pt x="275" y="287"/>
                      <a:pt x="268" y="286"/>
                      <a:pt x="266" y="287"/>
                    </a:cubicBezTo>
                    <a:cubicBezTo>
                      <a:pt x="265" y="287"/>
                      <a:pt x="264" y="288"/>
                      <a:pt x="263" y="289"/>
                    </a:cubicBezTo>
                    <a:cubicBezTo>
                      <a:pt x="263" y="289"/>
                      <a:pt x="254" y="284"/>
                      <a:pt x="253" y="284"/>
                    </a:cubicBezTo>
                    <a:cubicBezTo>
                      <a:pt x="252" y="283"/>
                      <a:pt x="256" y="279"/>
                      <a:pt x="254" y="278"/>
                    </a:cubicBezTo>
                    <a:cubicBezTo>
                      <a:pt x="252" y="277"/>
                      <a:pt x="249" y="277"/>
                      <a:pt x="247" y="277"/>
                    </a:cubicBezTo>
                    <a:cubicBezTo>
                      <a:pt x="246" y="276"/>
                      <a:pt x="243" y="275"/>
                      <a:pt x="242" y="275"/>
                    </a:cubicBezTo>
                    <a:cubicBezTo>
                      <a:pt x="241" y="276"/>
                      <a:pt x="227" y="280"/>
                      <a:pt x="225" y="280"/>
                    </a:cubicBezTo>
                    <a:cubicBezTo>
                      <a:pt x="225" y="280"/>
                      <a:pt x="223" y="281"/>
                      <a:pt x="221" y="281"/>
                    </a:cubicBezTo>
                    <a:cubicBezTo>
                      <a:pt x="219" y="281"/>
                      <a:pt x="217" y="281"/>
                      <a:pt x="216" y="282"/>
                    </a:cubicBezTo>
                    <a:cubicBezTo>
                      <a:pt x="215" y="282"/>
                      <a:pt x="216" y="290"/>
                      <a:pt x="215" y="291"/>
                    </a:cubicBezTo>
                    <a:cubicBezTo>
                      <a:pt x="214" y="291"/>
                      <a:pt x="213" y="289"/>
                      <a:pt x="212" y="289"/>
                    </a:cubicBezTo>
                    <a:cubicBezTo>
                      <a:pt x="211" y="289"/>
                      <a:pt x="211" y="289"/>
                      <a:pt x="210" y="290"/>
                    </a:cubicBezTo>
                    <a:cubicBezTo>
                      <a:pt x="207" y="286"/>
                      <a:pt x="207" y="286"/>
                      <a:pt x="207" y="286"/>
                    </a:cubicBezTo>
                    <a:cubicBezTo>
                      <a:pt x="207" y="286"/>
                      <a:pt x="204" y="286"/>
                      <a:pt x="203" y="286"/>
                    </a:cubicBezTo>
                    <a:cubicBezTo>
                      <a:pt x="201" y="286"/>
                      <a:pt x="199" y="285"/>
                      <a:pt x="197" y="283"/>
                    </a:cubicBezTo>
                    <a:cubicBezTo>
                      <a:pt x="195" y="281"/>
                      <a:pt x="200" y="277"/>
                      <a:pt x="198" y="276"/>
                    </a:cubicBezTo>
                    <a:cubicBezTo>
                      <a:pt x="197" y="275"/>
                      <a:pt x="193" y="272"/>
                      <a:pt x="193" y="271"/>
                    </a:cubicBezTo>
                    <a:cubicBezTo>
                      <a:pt x="193" y="269"/>
                      <a:pt x="192" y="268"/>
                      <a:pt x="190" y="268"/>
                    </a:cubicBezTo>
                    <a:cubicBezTo>
                      <a:pt x="189" y="268"/>
                      <a:pt x="186" y="270"/>
                      <a:pt x="184" y="269"/>
                    </a:cubicBezTo>
                    <a:cubicBezTo>
                      <a:pt x="183" y="268"/>
                      <a:pt x="183" y="265"/>
                      <a:pt x="184" y="263"/>
                    </a:cubicBezTo>
                    <a:cubicBezTo>
                      <a:pt x="185" y="260"/>
                      <a:pt x="192" y="255"/>
                      <a:pt x="192" y="253"/>
                    </a:cubicBezTo>
                    <a:cubicBezTo>
                      <a:pt x="193" y="251"/>
                      <a:pt x="194" y="241"/>
                      <a:pt x="193" y="239"/>
                    </a:cubicBezTo>
                    <a:cubicBezTo>
                      <a:pt x="192" y="238"/>
                      <a:pt x="191" y="239"/>
                      <a:pt x="189" y="238"/>
                    </a:cubicBezTo>
                    <a:cubicBezTo>
                      <a:pt x="188" y="237"/>
                      <a:pt x="188" y="233"/>
                      <a:pt x="185" y="232"/>
                    </a:cubicBezTo>
                    <a:cubicBezTo>
                      <a:pt x="183" y="232"/>
                      <a:pt x="182" y="234"/>
                      <a:pt x="181" y="234"/>
                    </a:cubicBezTo>
                    <a:cubicBezTo>
                      <a:pt x="179" y="234"/>
                      <a:pt x="175" y="234"/>
                      <a:pt x="174" y="233"/>
                    </a:cubicBezTo>
                    <a:cubicBezTo>
                      <a:pt x="173" y="232"/>
                      <a:pt x="175" y="226"/>
                      <a:pt x="173" y="225"/>
                    </a:cubicBezTo>
                    <a:cubicBezTo>
                      <a:pt x="172" y="224"/>
                      <a:pt x="167" y="227"/>
                      <a:pt x="165" y="226"/>
                    </a:cubicBezTo>
                    <a:cubicBezTo>
                      <a:pt x="163" y="225"/>
                      <a:pt x="162" y="225"/>
                      <a:pt x="160" y="226"/>
                    </a:cubicBezTo>
                    <a:cubicBezTo>
                      <a:pt x="158" y="227"/>
                      <a:pt x="154" y="232"/>
                      <a:pt x="151" y="233"/>
                    </a:cubicBezTo>
                    <a:cubicBezTo>
                      <a:pt x="149" y="233"/>
                      <a:pt x="144" y="236"/>
                      <a:pt x="142" y="237"/>
                    </a:cubicBezTo>
                    <a:cubicBezTo>
                      <a:pt x="141" y="237"/>
                      <a:pt x="140" y="238"/>
                      <a:pt x="140" y="238"/>
                    </a:cubicBezTo>
                    <a:cubicBezTo>
                      <a:pt x="138" y="237"/>
                      <a:pt x="138" y="234"/>
                      <a:pt x="137" y="234"/>
                    </a:cubicBezTo>
                    <a:cubicBezTo>
                      <a:pt x="135" y="234"/>
                      <a:pt x="130" y="233"/>
                      <a:pt x="128" y="233"/>
                    </a:cubicBezTo>
                    <a:cubicBezTo>
                      <a:pt x="126" y="233"/>
                      <a:pt x="122" y="234"/>
                      <a:pt x="121" y="236"/>
                    </a:cubicBezTo>
                    <a:cubicBezTo>
                      <a:pt x="120" y="237"/>
                      <a:pt x="120" y="241"/>
                      <a:pt x="118" y="240"/>
                    </a:cubicBezTo>
                    <a:cubicBezTo>
                      <a:pt x="116" y="239"/>
                      <a:pt x="118" y="235"/>
                      <a:pt x="116" y="234"/>
                    </a:cubicBezTo>
                    <a:cubicBezTo>
                      <a:pt x="113" y="234"/>
                      <a:pt x="114" y="237"/>
                      <a:pt x="110" y="237"/>
                    </a:cubicBezTo>
                    <a:cubicBezTo>
                      <a:pt x="105" y="237"/>
                      <a:pt x="101" y="236"/>
                      <a:pt x="97" y="235"/>
                    </a:cubicBezTo>
                    <a:cubicBezTo>
                      <a:pt x="94" y="234"/>
                      <a:pt x="89" y="233"/>
                      <a:pt x="86" y="231"/>
                    </a:cubicBezTo>
                    <a:cubicBezTo>
                      <a:pt x="83" y="229"/>
                      <a:pt x="81" y="225"/>
                      <a:pt x="81" y="225"/>
                    </a:cubicBezTo>
                    <a:cubicBezTo>
                      <a:pt x="75" y="224"/>
                      <a:pt x="75" y="224"/>
                      <a:pt x="75" y="224"/>
                    </a:cubicBezTo>
                    <a:cubicBezTo>
                      <a:pt x="75" y="224"/>
                      <a:pt x="72" y="221"/>
                      <a:pt x="70" y="220"/>
                    </a:cubicBezTo>
                    <a:cubicBezTo>
                      <a:pt x="68" y="219"/>
                      <a:pt x="65" y="215"/>
                      <a:pt x="65" y="215"/>
                    </a:cubicBezTo>
                    <a:cubicBezTo>
                      <a:pt x="60" y="215"/>
                      <a:pt x="60" y="215"/>
                      <a:pt x="60" y="215"/>
                    </a:cubicBezTo>
                    <a:cubicBezTo>
                      <a:pt x="57" y="218"/>
                      <a:pt x="57" y="218"/>
                      <a:pt x="57" y="218"/>
                    </a:cubicBezTo>
                    <a:cubicBezTo>
                      <a:pt x="57" y="218"/>
                      <a:pt x="57" y="217"/>
                      <a:pt x="56" y="217"/>
                    </a:cubicBezTo>
                    <a:cubicBezTo>
                      <a:pt x="53" y="215"/>
                      <a:pt x="41" y="208"/>
                      <a:pt x="41" y="207"/>
                    </a:cubicBezTo>
                    <a:cubicBezTo>
                      <a:pt x="41" y="206"/>
                      <a:pt x="38" y="198"/>
                      <a:pt x="38" y="198"/>
                    </a:cubicBezTo>
                    <a:cubicBezTo>
                      <a:pt x="38" y="198"/>
                      <a:pt x="45" y="197"/>
                      <a:pt x="46" y="196"/>
                    </a:cubicBezTo>
                    <a:cubicBezTo>
                      <a:pt x="46" y="195"/>
                      <a:pt x="41" y="187"/>
                      <a:pt x="41" y="187"/>
                    </a:cubicBezTo>
                    <a:cubicBezTo>
                      <a:pt x="46" y="186"/>
                      <a:pt x="46" y="186"/>
                      <a:pt x="46" y="186"/>
                    </a:cubicBezTo>
                    <a:cubicBezTo>
                      <a:pt x="47" y="186"/>
                      <a:pt x="50" y="180"/>
                      <a:pt x="51" y="179"/>
                    </a:cubicBezTo>
                    <a:cubicBezTo>
                      <a:pt x="52" y="178"/>
                      <a:pt x="52" y="174"/>
                      <a:pt x="52" y="172"/>
                    </a:cubicBezTo>
                    <a:cubicBezTo>
                      <a:pt x="51" y="171"/>
                      <a:pt x="46" y="169"/>
                      <a:pt x="45" y="169"/>
                    </a:cubicBezTo>
                    <a:cubicBezTo>
                      <a:pt x="44" y="169"/>
                      <a:pt x="42" y="169"/>
                      <a:pt x="41" y="169"/>
                    </a:cubicBezTo>
                    <a:cubicBezTo>
                      <a:pt x="35" y="173"/>
                      <a:pt x="35" y="173"/>
                      <a:pt x="35" y="173"/>
                    </a:cubicBezTo>
                    <a:cubicBezTo>
                      <a:pt x="35" y="172"/>
                      <a:pt x="33" y="172"/>
                      <a:pt x="31" y="172"/>
                    </a:cubicBezTo>
                    <a:cubicBezTo>
                      <a:pt x="29" y="172"/>
                      <a:pt x="27" y="172"/>
                      <a:pt x="26" y="171"/>
                    </a:cubicBezTo>
                    <a:cubicBezTo>
                      <a:pt x="23" y="169"/>
                      <a:pt x="21" y="169"/>
                      <a:pt x="19" y="166"/>
                    </a:cubicBezTo>
                    <a:cubicBezTo>
                      <a:pt x="17" y="163"/>
                      <a:pt x="13" y="161"/>
                      <a:pt x="12" y="160"/>
                    </a:cubicBezTo>
                    <a:cubicBezTo>
                      <a:pt x="10" y="160"/>
                      <a:pt x="11" y="160"/>
                      <a:pt x="11" y="156"/>
                    </a:cubicBezTo>
                    <a:cubicBezTo>
                      <a:pt x="11" y="156"/>
                      <a:pt x="11" y="155"/>
                      <a:pt x="11" y="155"/>
                    </a:cubicBezTo>
                    <a:cubicBezTo>
                      <a:pt x="11" y="151"/>
                      <a:pt x="11" y="147"/>
                      <a:pt x="10" y="147"/>
                    </a:cubicBezTo>
                    <a:cubicBezTo>
                      <a:pt x="8" y="146"/>
                      <a:pt x="5" y="146"/>
                      <a:pt x="3" y="145"/>
                    </a:cubicBezTo>
                    <a:cubicBezTo>
                      <a:pt x="1" y="144"/>
                      <a:pt x="0" y="141"/>
                      <a:pt x="1" y="138"/>
                    </a:cubicBezTo>
                    <a:cubicBezTo>
                      <a:pt x="1" y="137"/>
                      <a:pt x="1" y="136"/>
                      <a:pt x="2" y="13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75" name="Freeform 55"/>
            <p:cNvSpPr>
              <a:spLocks/>
            </p:cNvSpPr>
            <p:nvPr/>
          </p:nvSpPr>
          <p:spPr bwMode="auto">
            <a:xfrm>
              <a:off x="7172376" y="3747853"/>
              <a:ext cx="234018" cy="94221"/>
            </a:xfrm>
            <a:custGeom>
              <a:avLst/>
              <a:gdLst>
                <a:gd name="T0" fmla="*/ 25181 w 84"/>
                <a:gd name="T1" fmla="*/ 9377 h 36"/>
                <a:gd name="T2" fmla="*/ 0 w 84"/>
                <a:gd name="T3" fmla="*/ 9377 h 36"/>
                <a:gd name="T4" fmla="*/ 3358 w 84"/>
                <a:gd name="T5" fmla="*/ 7977 h 36"/>
                <a:gd name="T6" fmla="*/ 23289 w 84"/>
                <a:gd name="T7" fmla="*/ 7561 h 36"/>
                <a:gd name="T8" fmla="*/ 32213 w 84"/>
                <a:gd name="T9" fmla="*/ 7117 h 36"/>
                <a:gd name="T10" fmla="*/ 49444 w 84"/>
                <a:gd name="T11" fmla="*/ 7117 h 36"/>
                <a:gd name="T12" fmla="*/ 68952 w 84"/>
                <a:gd name="T13" fmla="*/ 6619 h 36"/>
                <a:gd name="T14" fmla="*/ 91465 w 84"/>
                <a:gd name="T15" fmla="*/ 5779 h 36"/>
                <a:gd name="T16" fmla="*/ 68952 w 84"/>
                <a:gd name="T17" fmla="*/ 5024 h 36"/>
                <a:gd name="T18" fmla="*/ 38538 w 84"/>
                <a:gd name="T19" fmla="*/ 4859 h 36"/>
                <a:gd name="T20" fmla="*/ 32213 w 84"/>
                <a:gd name="T21" fmla="*/ 4399 h 36"/>
                <a:gd name="T22" fmla="*/ 43902 w 84"/>
                <a:gd name="T23" fmla="*/ 3125 h 36"/>
                <a:gd name="T24" fmla="*/ 32213 w 84"/>
                <a:gd name="T25" fmla="*/ 2192 h 36"/>
                <a:gd name="T26" fmla="*/ 47569 w 84"/>
                <a:gd name="T27" fmla="*/ 851 h 36"/>
                <a:gd name="T28" fmla="*/ 97024 w 84"/>
                <a:gd name="T29" fmla="*/ 1864 h 36"/>
                <a:gd name="T30" fmla="*/ 110819 w 84"/>
                <a:gd name="T31" fmla="*/ 0 h 36"/>
                <a:gd name="T32" fmla="*/ 148295 w 84"/>
                <a:gd name="T33" fmla="*/ 851 h 36"/>
                <a:gd name="T34" fmla="*/ 206605 w 84"/>
                <a:gd name="T35" fmla="*/ 851 h 36"/>
                <a:gd name="T36" fmla="*/ 242818 w 84"/>
                <a:gd name="T37" fmla="*/ 1709 h 36"/>
                <a:gd name="T38" fmla="*/ 265675 w 84"/>
                <a:gd name="T39" fmla="*/ 2421 h 36"/>
                <a:gd name="T40" fmla="*/ 262146 w 84"/>
                <a:gd name="T41" fmla="*/ 3105 h 36"/>
                <a:gd name="T42" fmla="*/ 218243 w 84"/>
                <a:gd name="T43" fmla="*/ 5024 h 36"/>
                <a:gd name="T44" fmla="*/ 183379 w 84"/>
                <a:gd name="T45" fmla="*/ 5300 h 36"/>
                <a:gd name="T46" fmla="*/ 177761 w 84"/>
                <a:gd name="T47" fmla="*/ 7117 h 36"/>
                <a:gd name="T48" fmla="*/ 158419 w 84"/>
                <a:gd name="T49" fmla="*/ 7117 h 36"/>
                <a:gd name="T50" fmla="*/ 148295 w 84"/>
                <a:gd name="T51" fmla="*/ 6272 h 36"/>
                <a:gd name="T52" fmla="*/ 107424 w 84"/>
                <a:gd name="T53" fmla="*/ 8829 h 36"/>
                <a:gd name="T54" fmla="*/ 105453 w 84"/>
                <a:gd name="T55" fmla="*/ 9377 h 36"/>
                <a:gd name="T56" fmla="*/ 105453 w 84"/>
                <a:gd name="T57" fmla="*/ 9377 h 36"/>
                <a:gd name="T58" fmla="*/ 57854 w 84"/>
                <a:gd name="T59" fmla="*/ 9377 h 36"/>
                <a:gd name="T60" fmla="*/ 25181 w 84"/>
                <a:gd name="T61" fmla="*/ 9377 h 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4" h="36">
                  <a:moveTo>
                    <a:pt x="8" y="35"/>
                  </a:moveTo>
                  <a:cubicBezTo>
                    <a:pt x="7" y="35"/>
                    <a:pt x="0" y="36"/>
                    <a:pt x="0" y="35"/>
                  </a:cubicBezTo>
                  <a:cubicBezTo>
                    <a:pt x="0" y="34"/>
                    <a:pt x="0" y="32"/>
                    <a:pt x="1" y="30"/>
                  </a:cubicBezTo>
                  <a:cubicBezTo>
                    <a:pt x="2" y="29"/>
                    <a:pt x="6" y="29"/>
                    <a:pt x="7" y="29"/>
                  </a:cubicBezTo>
                  <a:cubicBezTo>
                    <a:pt x="8" y="29"/>
                    <a:pt x="9" y="28"/>
                    <a:pt x="10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7"/>
                    <a:pt x="21" y="26"/>
                    <a:pt x="22" y="25"/>
                  </a:cubicBezTo>
                  <a:cubicBezTo>
                    <a:pt x="24" y="24"/>
                    <a:pt x="29" y="24"/>
                    <a:pt x="29" y="22"/>
                  </a:cubicBezTo>
                  <a:cubicBezTo>
                    <a:pt x="29" y="21"/>
                    <a:pt x="24" y="19"/>
                    <a:pt x="22" y="19"/>
                  </a:cubicBezTo>
                  <a:cubicBezTo>
                    <a:pt x="20" y="18"/>
                    <a:pt x="14" y="19"/>
                    <a:pt x="12" y="18"/>
                  </a:cubicBezTo>
                  <a:cubicBezTo>
                    <a:pt x="12" y="17"/>
                    <a:pt x="10" y="16"/>
                    <a:pt x="10" y="16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2" y="6"/>
                    <a:pt x="14" y="3"/>
                    <a:pt x="15" y="3"/>
                  </a:cubicBezTo>
                  <a:cubicBezTo>
                    <a:pt x="16" y="3"/>
                    <a:pt x="30" y="7"/>
                    <a:pt x="31" y="7"/>
                  </a:cubicBezTo>
                  <a:cubicBezTo>
                    <a:pt x="32" y="7"/>
                    <a:pt x="32" y="0"/>
                    <a:pt x="35" y="0"/>
                  </a:cubicBezTo>
                  <a:cubicBezTo>
                    <a:pt x="38" y="0"/>
                    <a:pt x="45" y="3"/>
                    <a:pt x="47" y="3"/>
                  </a:cubicBezTo>
                  <a:cubicBezTo>
                    <a:pt x="48" y="3"/>
                    <a:pt x="61" y="3"/>
                    <a:pt x="65" y="3"/>
                  </a:cubicBezTo>
                  <a:cubicBezTo>
                    <a:pt x="68" y="3"/>
                    <a:pt x="76" y="5"/>
                    <a:pt x="77" y="6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10"/>
                    <a:pt x="84" y="10"/>
                    <a:pt x="83" y="11"/>
                  </a:cubicBezTo>
                  <a:cubicBezTo>
                    <a:pt x="82" y="13"/>
                    <a:pt x="72" y="18"/>
                    <a:pt x="69" y="19"/>
                  </a:cubicBezTo>
                  <a:cubicBezTo>
                    <a:pt x="66" y="20"/>
                    <a:pt x="60" y="20"/>
                    <a:pt x="58" y="20"/>
                  </a:cubicBezTo>
                  <a:cubicBezTo>
                    <a:pt x="56" y="20"/>
                    <a:pt x="58" y="26"/>
                    <a:pt x="56" y="27"/>
                  </a:cubicBezTo>
                  <a:cubicBezTo>
                    <a:pt x="54" y="28"/>
                    <a:pt x="51" y="28"/>
                    <a:pt x="50" y="27"/>
                  </a:cubicBezTo>
                  <a:cubicBezTo>
                    <a:pt x="49" y="27"/>
                    <a:pt x="49" y="24"/>
                    <a:pt x="47" y="24"/>
                  </a:cubicBezTo>
                  <a:cubicBezTo>
                    <a:pt x="45" y="24"/>
                    <a:pt x="36" y="31"/>
                    <a:pt x="34" y="33"/>
                  </a:cubicBezTo>
                  <a:cubicBezTo>
                    <a:pt x="33" y="33"/>
                    <a:pt x="33" y="34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5"/>
                    <a:pt x="10" y="35"/>
                    <a:pt x="8" y="35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76" name="Freeform 56"/>
            <p:cNvSpPr>
              <a:spLocks/>
            </p:cNvSpPr>
            <p:nvPr/>
          </p:nvSpPr>
          <p:spPr bwMode="auto">
            <a:xfrm>
              <a:off x="7152173" y="3927058"/>
              <a:ext cx="617875" cy="589345"/>
            </a:xfrm>
            <a:custGeom>
              <a:avLst/>
              <a:gdLst>
                <a:gd name="T0" fmla="*/ 16130 w 221"/>
                <a:gd name="T1" fmla="*/ 34102 h 223"/>
                <a:gd name="T2" fmla="*/ 16130 w 221"/>
                <a:gd name="T3" fmla="*/ 31515 h 223"/>
                <a:gd name="T4" fmla="*/ 14509 w 221"/>
                <a:gd name="T5" fmla="*/ 29319 h 223"/>
                <a:gd name="T6" fmla="*/ 55339 w 221"/>
                <a:gd name="T7" fmla="*/ 25573 h 223"/>
                <a:gd name="T8" fmla="*/ 55050 w 221"/>
                <a:gd name="T9" fmla="*/ 19812 h 223"/>
                <a:gd name="T10" fmla="*/ 91418 w 221"/>
                <a:gd name="T11" fmla="*/ 19930 h 223"/>
                <a:gd name="T12" fmla="*/ 152609 w 221"/>
                <a:gd name="T13" fmla="*/ 11937 h 223"/>
                <a:gd name="T14" fmla="*/ 180406 w 221"/>
                <a:gd name="T15" fmla="*/ 8576 h 223"/>
                <a:gd name="T16" fmla="*/ 143070 w 221"/>
                <a:gd name="T17" fmla="*/ 2851 h 223"/>
                <a:gd name="T18" fmla="*/ 231275 w 221"/>
                <a:gd name="T19" fmla="*/ 1475 h 223"/>
                <a:gd name="T20" fmla="*/ 234443 w 221"/>
                <a:gd name="T21" fmla="*/ 0 h 223"/>
                <a:gd name="T22" fmla="*/ 253428 w 221"/>
                <a:gd name="T23" fmla="*/ 2851 h 223"/>
                <a:gd name="T24" fmla="*/ 258529 w 221"/>
                <a:gd name="T25" fmla="*/ 2851 h 223"/>
                <a:gd name="T26" fmla="*/ 284188 w 221"/>
                <a:gd name="T27" fmla="*/ 7344 h 223"/>
                <a:gd name="T28" fmla="*/ 267804 w 221"/>
                <a:gd name="T29" fmla="*/ 10766 h 223"/>
                <a:gd name="T30" fmla="*/ 304283 w 221"/>
                <a:gd name="T31" fmla="*/ 15401 h 223"/>
                <a:gd name="T32" fmla="*/ 304283 w 221"/>
                <a:gd name="T33" fmla="*/ 18076 h 223"/>
                <a:gd name="T34" fmla="*/ 380458 w 221"/>
                <a:gd name="T35" fmla="*/ 20935 h 223"/>
                <a:gd name="T36" fmla="*/ 420851 w 221"/>
                <a:gd name="T37" fmla="*/ 22399 h 223"/>
                <a:gd name="T38" fmla="*/ 496033 w 221"/>
                <a:gd name="T39" fmla="*/ 23406 h 223"/>
                <a:gd name="T40" fmla="*/ 517844 w 221"/>
                <a:gd name="T41" fmla="*/ 19103 h 223"/>
                <a:gd name="T42" fmla="*/ 527286 w 221"/>
                <a:gd name="T43" fmla="*/ 21955 h 223"/>
                <a:gd name="T44" fmla="*/ 582520 w 221"/>
                <a:gd name="T45" fmla="*/ 22745 h 223"/>
                <a:gd name="T46" fmla="*/ 602569 w 221"/>
                <a:gd name="T47" fmla="*/ 21955 h 223"/>
                <a:gd name="T48" fmla="*/ 637041 w 221"/>
                <a:gd name="T49" fmla="*/ 18589 h 223"/>
                <a:gd name="T50" fmla="*/ 683029 w 221"/>
                <a:gd name="T51" fmla="*/ 16538 h 223"/>
                <a:gd name="T52" fmla="*/ 712946 w 221"/>
                <a:gd name="T53" fmla="*/ 18589 h 223"/>
                <a:gd name="T54" fmla="*/ 738524 w 221"/>
                <a:gd name="T55" fmla="*/ 20163 h 223"/>
                <a:gd name="T56" fmla="*/ 712946 w 221"/>
                <a:gd name="T57" fmla="*/ 21499 h 223"/>
                <a:gd name="T58" fmla="*/ 683029 w 221"/>
                <a:gd name="T59" fmla="*/ 25104 h 223"/>
                <a:gd name="T60" fmla="*/ 642587 w 221"/>
                <a:gd name="T61" fmla="*/ 29947 h 223"/>
                <a:gd name="T62" fmla="*/ 619011 w 221"/>
                <a:gd name="T63" fmla="*/ 34830 h 223"/>
                <a:gd name="T64" fmla="*/ 602569 w 221"/>
                <a:gd name="T65" fmla="*/ 31406 h 223"/>
                <a:gd name="T66" fmla="*/ 598082 w 221"/>
                <a:gd name="T67" fmla="*/ 28843 h 223"/>
                <a:gd name="T68" fmla="*/ 548491 w 221"/>
                <a:gd name="T69" fmla="*/ 26591 h 223"/>
                <a:gd name="T70" fmla="*/ 517844 w 221"/>
                <a:gd name="T71" fmla="*/ 24068 h 223"/>
                <a:gd name="T72" fmla="*/ 521741 w 221"/>
                <a:gd name="T73" fmla="*/ 26591 h 223"/>
                <a:gd name="T74" fmla="*/ 515479 w 221"/>
                <a:gd name="T75" fmla="*/ 29442 h 223"/>
                <a:gd name="T76" fmla="*/ 525165 w 221"/>
                <a:gd name="T77" fmla="*/ 33482 h 223"/>
                <a:gd name="T78" fmla="*/ 525165 w 221"/>
                <a:gd name="T79" fmla="*/ 35523 h 223"/>
                <a:gd name="T80" fmla="*/ 466670 w 221"/>
                <a:gd name="T81" fmla="*/ 36582 h 223"/>
                <a:gd name="T82" fmla="*/ 435450 w 221"/>
                <a:gd name="T83" fmla="*/ 40783 h 223"/>
                <a:gd name="T84" fmla="*/ 360153 w 221"/>
                <a:gd name="T85" fmla="*/ 46544 h 223"/>
                <a:gd name="T86" fmla="*/ 299588 w 221"/>
                <a:gd name="T87" fmla="*/ 50514 h 223"/>
                <a:gd name="T88" fmla="*/ 289746 w 221"/>
                <a:gd name="T89" fmla="*/ 59736 h 223"/>
                <a:gd name="T90" fmla="*/ 277547 w 221"/>
                <a:gd name="T91" fmla="*/ 63501 h 223"/>
                <a:gd name="T92" fmla="*/ 252104 w 221"/>
                <a:gd name="T93" fmla="*/ 66359 h 223"/>
                <a:gd name="T94" fmla="*/ 216877 w 221"/>
                <a:gd name="T95" fmla="*/ 67017 h 223"/>
                <a:gd name="T96" fmla="*/ 163680 w 221"/>
                <a:gd name="T97" fmla="*/ 55919 h 223"/>
                <a:gd name="T98" fmla="*/ 121402 w 221"/>
                <a:gd name="T99" fmla="*/ 45082 h 223"/>
                <a:gd name="T100" fmla="*/ 103052 w 221"/>
                <a:gd name="T101" fmla="*/ 34102 h 223"/>
                <a:gd name="T102" fmla="*/ 60606 w 221"/>
                <a:gd name="T103" fmla="*/ 37834 h 22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21" h="223">
                  <a:moveTo>
                    <a:pt x="18" y="123"/>
                  </a:moveTo>
                  <a:cubicBezTo>
                    <a:pt x="16" y="121"/>
                    <a:pt x="5" y="113"/>
                    <a:pt x="5" y="111"/>
                  </a:cubicBezTo>
                  <a:cubicBezTo>
                    <a:pt x="5" y="109"/>
                    <a:pt x="15" y="108"/>
                    <a:pt x="15" y="107"/>
                  </a:cubicBezTo>
                  <a:cubicBezTo>
                    <a:pt x="15" y="105"/>
                    <a:pt x="7" y="104"/>
                    <a:pt x="5" y="103"/>
                  </a:cubicBezTo>
                  <a:cubicBezTo>
                    <a:pt x="3" y="102"/>
                    <a:pt x="3" y="102"/>
                    <a:pt x="0" y="100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5" y="94"/>
                    <a:pt x="17" y="95"/>
                    <a:pt x="19" y="94"/>
                  </a:cubicBezTo>
                  <a:cubicBezTo>
                    <a:pt x="21" y="93"/>
                    <a:pt x="19" y="86"/>
                    <a:pt x="17" y="83"/>
                  </a:cubicBezTo>
                  <a:cubicBezTo>
                    <a:pt x="15" y="81"/>
                    <a:pt x="7" y="75"/>
                    <a:pt x="8" y="73"/>
                  </a:cubicBezTo>
                  <a:cubicBezTo>
                    <a:pt x="9" y="71"/>
                    <a:pt x="15" y="64"/>
                    <a:pt x="16" y="64"/>
                  </a:cubicBezTo>
                  <a:cubicBezTo>
                    <a:pt x="18" y="64"/>
                    <a:pt x="19" y="67"/>
                    <a:pt x="21" y="67"/>
                  </a:cubicBezTo>
                  <a:cubicBezTo>
                    <a:pt x="22" y="67"/>
                    <a:pt x="26" y="65"/>
                    <a:pt x="27" y="65"/>
                  </a:cubicBezTo>
                  <a:cubicBezTo>
                    <a:pt x="28" y="64"/>
                    <a:pt x="36" y="52"/>
                    <a:pt x="37" y="50"/>
                  </a:cubicBezTo>
                  <a:cubicBezTo>
                    <a:pt x="38" y="49"/>
                    <a:pt x="46" y="41"/>
                    <a:pt x="46" y="39"/>
                  </a:cubicBezTo>
                  <a:cubicBezTo>
                    <a:pt x="47" y="37"/>
                    <a:pt x="47" y="35"/>
                    <a:pt x="47" y="34"/>
                  </a:cubicBezTo>
                  <a:cubicBezTo>
                    <a:pt x="47" y="33"/>
                    <a:pt x="54" y="33"/>
                    <a:pt x="54" y="28"/>
                  </a:cubicBezTo>
                  <a:cubicBezTo>
                    <a:pt x="54" y="24"/>
                    <a:pt x="46" y="24"/>
                    <a:pt x="46" y="23"/>
                  </a:cubicBezTo>
                  <a:cubicBezTo>
                    <a:pt x="45" y="22"/>
                    <a:pt x="41" y="10"/>
                    <a:pt x="43" y="9"/>
                  </a:cubicBezTo>
                  <a:cubicBezTo>
                    <a:pt x="44" y="8"/>
                    <a:pt x="53" y="10"/>
                    <a:pt x="55" y="10"/>
                  </a:cubicBezTo>
                  <a:cubicBezTo>
                    <a:pt x="57" y="10"/>
                    <a:pt x="68" y="5"/>
                    <a:pt x="69" y="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0"/>
                    <a:pt x="74" y="1"/>
                  </a:cubicBezTo>
                  <a:cubicBezTo>
                    <a:pt x="74" y="2"/>
                    <a:pt x="75" y="7"/>
                    <a:pt x="76" y="9"/>
                  </a:cubicBezTo>
                  <a:cubicBezTo>
                    <a:pt x="77" y="9"/>
                    <a:pt x="76" y="8"/>
                    <a:pt x="76" y="8"/>
                  </a:cubicBezTo>
                  <a:cubicBezTo>
                    <a:pt x="76" y="8"/>
                    <a:pt x="76" y="8"/>
                    <a:pt x="77" y="9"/>
                  </a:cubicBezTo>
                  <a:cubicBezTo>
                    <a:pt x="79" y="12"/>
                    <a:pt x="80" y="15"/>
                    <a:pt x="80" y="15"/>
                  </a:cubicBezTo>
                  <a:cubicBezTo>
                    <a:pt x="80" y="15"/>
                    <a:pt x="85" y="23"/>
                    <a:pt x="85" y="24"/>
                  </a:cubicBezTo>
                  <a:cubicBezTo>
                    <a:pt x="84" y="25"/>
                    <a:pt x="77" y="26"/>
                    <a:pt x="77" y="26"/>
                  </a:cubicBezTo>
                  <a:cubicBezTo>
                    <a:pt x="77" y="26"/>
                    <a:pt x="80" y="34"/>
                    <a:pt x="80" y="35"/>
                  </a:cubicBezTo>
                  <a:cubicBezTo>
                    <a:pt x="80" y="36"/>
                    <a:pt x="92" y="43"/>
                    <a:pt x="95" y="45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89" y="55"/>
                    <a:pt x="89" y="56"/>
                  </a:cubicBezTo>
                  <a:cubicBezTo>
                    <a:pt x="89" y="57"/>
                    <a:pt x="90" y="59"/>
                    <a:pt x="91" y="59"/>
                  </a:cubicBezTo>
                  <a:cubicBezTo>
                    <a:pt x="92" y="60"/>
                    <a:pt x="102" y="64"/>
                    <a:pt x="104" y="65"/>
                  </a:cubicBezTo>
                  <a:cubicBezTo>
                    <a:pt x="106" y="66"/>
                    <a:pt x="111" y="68"/>
                    <a:pt x="114" y="68"/>
                  </a:cubicBezTo>
                  <a:cubicBezTo>
                    <a:pt x="117" y="68"/>
                    <a:pt x="122" y="67"/>
                    <a:pt x="123" y="68"/>
                  </a:cubicBezTo>
                  <a:cubicBezTo>
                    <a:pt x="125" y="68"/>
                    <a:pt x="125" y="71"/>
                    <a:pt x="126" y="73"/>
                  </a:cubicBezTo>
                  <a:cubicBezTo>
                    <a:pt x="127" y="74"/>
                    <a:pt x="135" y="75"/>
                    <a:pt x="137" y="75"/>
                  </a:cubicBezTo>
                  <a:cubicBezTo>
                    <a:pt x="138" y="76"/>
                    <a:pt x="145" y="76"/>
                    <a:pt x="148" y="76"/>
                  </a:cubicBezTo>
                  <a:cubicBezTo>
                    <a:pt x="150" y="76"/>
                    <a:pt x="149" y="65"/>
                    <a:pt x="149" y="65"/>
                  </a:cubicBezTo>
                  <a:cubicBezTo>
                    <a:pt x="153" y="65"/>
                    <a:pt x="152" y="62"/>
                    <a:pt x="155" y="62"/>
                  </a:cubicBezTo>
                  <a:cubicBezTo>
                    <a:pt x="157" y="63"/>
                    <a:pt x="155" y="67"/>
                    <a:pt x="157" y="68"/>
                  </a:cubicBezTo>
                  <a:cubicBezTo>
                    <a:pt x="158" y="71"/>
                    <a:pt x="158" y="71"/>
                    <a:pt x="158" y="71"/>
                  </a:cubicBezTo>
                  <a:cubicBezTo>
                    <a:pt x="158" y="71"/>
                    <a:pt x="159" y="73"/>
                    <a:pt x="161" y="73"/>
                  </a:cubicBezTo>
                  <a:cubicBezTo>
                    <a:pt x="163" y="73"/>
                    <a:pt x="172" y="74"/>
                    <a:pt x="174" y="74"/>
                  </a:cubicBezTo>
                  <a:cubicBezTo>
                    <a:pt x="176" y="74"/>
                    <a:pt x="179" y="74"/>
                    <a:pt x="180" y="74"/>
                  </a:cubicBezTo>
                  <a:cubicBezTo>
                    <a:pt x="181" y="74"/>
                    <a:pt x="180" y="71"/>
                    <a:pt x="180" y="71"/>
                  </a:cubicBezTo>
                  <a:cubicBezTo>
                    <a:pt x="181" y="65"/>
                    <a:pt x="181" y="65"/>
                    <a:pt x="181" y="65"/>
                  </a:cubicBezTo>
                  <a:cubicBezTo>
                    <a:pt x="183" y="64"/>
                    <a:pt x="188" y="61"/>
                    <a:pt x="190" y="61"/>
                  </a:cubicBezTo>
                  <a:cubicBezTo>
                    <a:pt x="193" y="60"/>
                    <a:pt x="197" y="55"/>
                    <a:pt x="199" y="54"/>
                  </a:cubicBezTo>
                  <a:cubicBezTo>
                    <a:pt x="201" y="53"/>
                    <a:pt x="202" y="53"/>
                    <a:pt x="204" y="54"/>
                  </a:cubicBezTo>
                  <a:cubicBezTo>
                    <a:pt x="206" y="55"/>
                    <a:pt x="211" y="52"/>
                    <a:pt x="212" y="53"/>
                  </a:cubicBezTo>
                  <a:cubicBezTo>
                    <a:pt x="214" y="54"/>
                    <a:pt x="212" y="60"/>
                    <a:pt x="213" y="61"/>
                  </a:cubicBezTo>
                  <a:cubicBezTo>
                    <a:pt x="214" y="62"/>
                    <a:pt x="218" y="62"/>
                    <a:pt x="220" y="62"/>
                  </a:cubicBezTo>
                  <a:cubicBezTo>
                    <a:pt x="221" y="66"/>
                    <a:pt x="221" y="66"/>
                    <a:pt x="221" y="66"/>
                  </a:cubicBezTo>
                  <a:cubicBezTo>
                    <a:pt x="221" y="66"/>
                    <a:pt x="219" y="70"/>
                    <a:pt x="218" y="71"/>
                  </a:cubicBezTo>
                  <a:cubicBezTo>
                    <a:pt x="217" y="72"/>
                    <a:pt x="214" y="70"/>
                    <a:pt x="213" y="70"/>
                  </a:cubicBezTo>
                  <a:cubicBezTo>
                    <a:pt x="212" y="70"/>
                    <a:pt x="206" y="75"/>
                    <a:pt x="205" y="76"/>
                  </a:cubicBezTo>
                  <a:cubicBezTo>
                    <a:pt x="203" y="76"/>
                    <a:pt x="204" y="80"/>
                    <a:pt x="204" y="82"/>
                  </a:cubicBezTo>
                  <a:cubicBezTo>
                    <a:pt x="204" y="83"/>
                    <a:pt x="198" y="97"/>
                    <a:pt x="197" y="97"/>
                  </a:cubicBezTo>
                  <a:cubicBezTo>
                    <a:pt x="196" y="97"/>
                    <a:pt x="192" y="96"/>
                    <a:pt x="192" y="97"/>
                  </a:cubicBezTo>
                  <a:cubicBezTo>
                    <a:pt x="191" y="98"/>
                    <a:pt x="189" y="112"/>
                    <a:pt x="189" y="112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84" y="108"/>
                    <a:pt x="183" y="101"/>
                    <a:pt x="183" y="101"/>
                  </a:cubicBezTo>
                  <a:cubicBezTo>
                    <a:pt x="182" y="101"/>
                    <a:pt x="181" y="102"/>
                    <a:pt x="180" y="102"/>
                  </a:cubicBezTo>
                  <a:cubicBezTo>
                    <a:pt x="178" y="102"/>
                    <a:pt x="176" y="100"/>
                    <a:pt x="175" y="98"/>
                  </a:cubicBezTo>
                  <a:cubicBezTo>
                    <a:pt x="174" y="97"/>
                    <a:pt x="178" y="95"/>
                    <a:pt x="179" y="94"/>
                  </a:cubicBezTo>
                  <a:cubicBezTo>
                    <a:pt x="180" y="94"/>
                    <a:pt x="184" y="89"/>
                    <a:pt x="183" y="88"/>
                  </a:cubicBezTo>
                  <a:cubicBezTo>
                    <a:pt x="182" y="87"/>
                    <a:pt x="166" y="87"/>
                    <a:pt x="164" y="87"/>
                  </a:cubicBezTo>
                  <a:cubicBezTo>
                    <a:pt x="163" y="87"/>
                    <a:pt x="164" y="81"/>
                    <a:pt x="163" y="81"/>
                  </a:cubicBezTo>
                  <a:cubicBezTo>
                    <a:pt x="163" y="80"/>
                    <a:pt x="156" y="77"/>
                    <a:pt x="155" y="78"/>
                  </a:cubicBezTo>
                  <a:cubicBezTo>
                    <a:pt x="154" y="78"/>
                    <a:pt x="152" y="82"/>
                    <a:pt x="152" y="82"/>
                  </a:cubicBezTo>
                  <a:cubicBezTo>
                    <a:pt x="151" y="83"/>
                    <a:pt x="156" y="86"/>
                    <a:pt x="156" y="87"/>
                  </a:cubicBezTo>
                  <a:cubicBezTo>
                    <a:pt x="156" y="88"/>
                    <a:pt x="149" y="90"/>
                    <a:pt x="149" y="92"/>
                  </a:cubicBezTo>
                  <a:cubicBezTo>
                    <a:pt x="149" y="93"/>
                    <a:pt x="154" y="94"/>
                    <a:pt x="154" y="96"/>
                  </a:cubicBezTo>
                  <a:cubicBezTo>
                    <a:pt x="154" y="98"/>
                    <a:pt x="154" y="100"/>
                    <a:pt x="155" y="102"/>
                  </a:cubicBezTo>
                  <a:cubicBezTo>
                    <a:pt x="156" y="103"/>
                    <a:pt x="157" y="107"/>
                    <a:pt x="157" y="109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5" y="115"/>
                    <a:pt x="152" y="115"/>
                    <a:pt x="151" y="114"/>
                  </a:cubicBezTo>
                  <a:cubicBezTo>
                    <a:pt x="149" y="114"/>
                    <a:pt x="140" y="116"/>
                    <a:pt x="140" y="119"/>
                  </a:cubicBezTo>
                  <a:cubicBezTo>
                    <a:pt x="140" y="122"/>
                    <a:pt x="143" y="123"/>
                    <a:pt x="142" y="124"/>
                  </a:cubicBezTo>
                  <a:cubicBezTo>
                    <a:pt x="141" y="126"/>
                    <a:pt x="131" y="130"/>
                    <a:pt x="130" y="133"/>
                  </a:cubicBezTo>
                  <a:cubicBezTo>
                    <a:pt x="128" y="135"/>
                    <a:pt x="121" y="141"/>
                    <a:pt x="119" y="144"/>
                  </a:cubicBezTo>
                  <a:cubicBezTo>
                    <a:pt x="116" y="146"/>
                    <a:pt x="109" y="150"/>
                    <a:pt x="108" y="152"/>
                  </a:cubicBezTo>
                  <a:cubicBezTo>
                    <a:pt x="107" y="153"/>
                    <a:pt x="107" y="157"/>
                    <a:pt x="105" y="157"/>
                  </a:cubicBezTo>
                  <a:cubicBezTo>
                    <a:pt x="102" y="157"/>
                    <a:pt x="91" y="161"/>
                    <a:pt x="90" y="164"/>
                  </a:cubicBezTo>
                  <a:cubicBezTo>
                    <a:pt x="90" y="167"/>
                    <a:pt x="92" y="182"/>
                    <a:pt x="91" y="183"/>
                  </a:cubicBezTo>
                  <a:cubicBezTo>
                    <a:pt x="90" y="185"/>
                    <a:pt x="87" y="192"/>
                    <a:pt x="87" y="194"/>
                  </a:cubicBezTo>
                  <a:cubicBezTo>
                    <a:pt x="88" y="196"/>
                    <a:pt x="89" y="203"/>
                    <a:pt x="88" y="204"/>
                  </a:cubicBezTo>
                  <a:cubicBezTo>
                    <a:pt x="88" y="205"/>
                    <a:pt x="85" y="205"/>
                    <a:pt x="83" y="207"/>
                  </a:cubicBezTo>
                  <a:cubicBezTo>
                    <a:pt x="82" y="208"/>
                    <a:pt x="80" y="212"/>
                    <a:pt x="80" y="213"/>
                  </a:cubicBezTo>
                  <a:cubicBezTo>
                    <a:pt x="80" y="214"/>
                    <a:pt x="75" y="214"/>
                    <a:pt x="75" y="216"/>
                  </a:cubicBezTo>
                  <a:cubicBezTo>
                    <a:pt x="75" y="218"/>
                    <a:pt x="75" y="223"/>
                    <a:pt x="71" y="223"/>
                  </a:cubicBezTo>
                  <a:cubicBezTo>
                    <a:pt x="67" y="223"/>
                    <a:pt x="66" y="222"/>
                    <a:pt x="65" y="218"/>
                  </a:cubicBezTo>
                  <a:cubicBezTo>
                    <a:pt x="64" y="214"/>
                    <a:pt x="60" y="206"/>
                    <a:pt x="57" y="200"/>
                  </a:cubicBezTo>
                  <a:cubicBezTo>
                    <a:pt x="54" y="193"/>
                    <a:pt x="50" y="189"/>
                    <a:pt x="49" y="182"/>
                  </a:cubicBezTo>
                  <a:cubicBezTo>
                    <a:pt x="48" y="176"/>
                    <a:pt x="46" y="172"/>
                    <a:pt x="43" y="168"/>
                  </a:cubicBezTo>
                  <a:cubicBezTo>
                    <a:pt x="40" y="164"/>
                    <a:pt x="36" y="152"/>
                    <a:pt x="36" y="147"/>
                  </a:cubicBezTo>
                  <a:cubicBezTo>
                    <a:pt x="35" y="141"/>
                    <a:pt x="34" y="118"/>
                    <a:pt x="33" y="115"/>
                  </a:cubicBezTo>
                  <a:cubicBezTo>
                    <a:pt x="33" y="113"/>
                    <a:pt x="32" y="111"/>
                    <a:pt x="31" y="111"/>
                  </a:cubicBezTo>
                  <a:cubicBezTo>
                    <a:pt x="30" y="111"/>
                    <a:pt x="29" y="118"/>
                    <a:pt x="28" y="118"/>
                  </a:cubicBezTo>
                  <a:cubicBezTo>
                    <a:pt x="27" y="119"/>
                    <a:pt x="20" y="124"/>
                    <a:pt x="18" y="12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77" name="Freeform 57"/>
            <p:cNvSpPr>
              <a:spLocks/>
            </p:cNvSpPr>
            <p:nvPr/>
          </p:nvSpPr>
          <p:spPr bwMode="auto">
            <a:xfrm>
              <a:off x="7126919" y="3805125"/>
              <a:ext cx="164991" cy="92374"/>
            </a:xfrm>
            <a:custGeom>
              <a:avLst/>
              <a:gdLst>
                <a:gd name="T0" fmla="*/ 30873 w 59"/>
                <a:gd name="T1" fmla="*/ 7219 h 35"/>
                <a:gd name="T2" fmla="*/ 5852 w 59"/>
                <a:gd name="T3" fmla="*/ 4043 h 35"/>
                <a:gd name="T4" fmla="*/ 30873 w 59"/>
                <a:gd name="T5" fmla="*/ 2830 h 35"/>
                <a:gd name="T6" fmla="*/ 55149 w 59"/>
                <a:gd name="T7" fmla="*/ 680 h 35"/>
                <a:gd name="T8" fmla="*/ 76719 w 59"/>
                <a:gd name="T9" fmla="*/ 0 h 35"/>
                <a:gd name="T10" fmla="*/ 86507 w 59"/>
                <a:gd name="T11" fmla="*/ 971 h 35"/>
                <a:gd name="T12" fmla="*/ 86507 w 59"/>
                <a:gd name="T13" fmla="*/ 1456 h 35"/>
                <a:gd name="T14" fmla="*/ 76719 w 59"/>
                <a:gd name="T15" fmla="*/ 2080 h 35"/>
                <a:gd name="T16" fmla="*/ 57348 w 59"/>
                <a:gd name="T17" fmla="*/ 2380 h 35"/>
                <a:gd name="T18" fmla="*/ 55149 w 59"/>
                <a:gd name="T19" fmla="*/ 4043 h 35"/>
                <a:gd name="T20" fmla="*/ 80755 w 59"/>
                <a:gd name="T21" fmla="*/ 4043 h 35"/>
                <a:gd name="T22" fmla="*/ 112886 w 59"/>
                <a:gd name="T23" fmla="*/ 4043 h 35"/>
                <a:gd name="T24" fmla="*/ 164190 w 59"/>
                <a:gd name="T25" fmla="*/ 4043 h 35"/>
                <a:gd name="T26" fmla="*/ 164190 w 59"/>
                <a:gd name="T27" fmla="*/ 4043 h 35"/>
                <a:gd name="T28" fmla="*/ 171523 w 59"/>
                <a:gd name="T29" fmla="*/ 6063 h 35"/>
                <a:gd name="T30" fmla="*/ 193528 w 59"/>
                <a:gd name="T31" fmla="*/ 6523 h 35"/>
                <a:gd name="T32" fmla="*/ 198354 w 59"/>
                <a:gd name="T33" fmla="*/ 8951 h 35"/>
                <a:gd name="T34" fmla="*/ 178214 w 59"/>
                <a:gd name="T35" fmla="*/ 8951 h 35"/>
                <a:gd name="T36" fmla="*/ 143690 w 59"/>
                <a:gd name="T37" fmla="*/ 9319 h 35"/>
                <a:gd name="T38" fmla="*/ 112886 w 59"/>
                <a:gd name="T39" fmla="*/ 10313 h 35"/>
                <a:gd name="T40" fmla="*/ 110782 w 59"/>
                <a:gd name="T41" fmla="*/ 7533 h 35"/>
                <a:gd name="T42" fmla="*/ 91603 w 59"/>
                <a:gd name="T43" fmla="*/ 6266 h 35"/>
                <a:gd name="T44" fmla="*/ 73987 w 59"/>
                <a:gd name="T45" fmla="*/ 8661 h 35"/>
                <a:gd name="T46" fmla="*/ 26817 w 59"/>
                <a:gd name="T47" fmla="*/ 10409 h 35"/>
                <a:gd name="T48" fmla="*/ 5852 w 59"/>
                <a:gd name="T49" fmla="*/ 9661 h 35"/>
                <a:gd name="T50" fmla="*/ 20786 w 59"/>
                <a:gd name="T51" fmla="*/ 8251 h 35"/>
                <a:gd name="T52" fmla="*/ 30873 w 59"/>
                <a:gd name="T53" fmla="*/ 7219 h 3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59" h="35">
                  <a:moveTo>
                    <a:pt x="9" y="24"/>
                  </a:moveTo>
                  <a:cubicBezTo>
                    <a:pt x="8" y="22"/>
                    <a:pt x="0" y="15"/>
                    <a:pt x="2" y="13"/>
                  </a:cubicBezTo>
                  <a:cubicBezTo>
                    <a:pt x="3" y="11"/>
                    <a:pt x="8" y="11"/>
                    <a:pt x="9" y="9"/>
                  </a:cubicBezTo>
                  <a:cubicBezTo>
                    <a:pt x="10" y="8"/>
                    <a:pt x="15" y="3"/>
                    <a:pt x="16" y="2"/>
                  </a:cubicBezTo>
                  <a:cubicBezTo>
                    <a:pt x="18" y="2"/>
                    <a:pt x="23" y="0"/>
                    <a:pt x="23" y="0"/>
                  </a:cubicBezTo>
                  <a:cubicBezTo>
                    <a:pt x="23" y="0"/>
                    <a:pt x="26" y="2"/>
                    <a:pt x="26" y="3"/>
                  </a:cubicBezTo>
                  <a:cubicBezTo>
                    <a:pt x="26" y="4"/>
                    <a:pt x="26" y="4"/>
                    <a:pt x="26" y="5"/>
                  </a:cubicBezTo>
                  <a:cubicBezTo>
                    <a:pt x="25" y="6"/>
                    <a:pt x="24" y="7"/>
                    <a:pt x="23" y="7"/>
                  </a:cubicBezTo>
                  <a:cubicBezTo>
                    <a:pt x="22" y="7"/>
                    <a:pt x="18" y="7"/>
                    <a:pt x="17" y="8"/>
                  </a:cubicBezTo>
                  <a:cubicBezTo>
                    <a:pt x="16" y="10"/>
                    <a:pt x="16" y="12"/>
                    <a:pt x="16" y="13"/>
                  </a:cubicBezTo>
                  <a:cubicBezTo>
                    <a:pt x="16" y="14"/>
                    <a:pt x="23" y="13"/>
                    <a:pt x="24" y="13"/>
                  </a:cubicBezTo>
                  <a:cubicBezTo>
                    <a:pt x="26" y="13"/>
                    <a:pt x="32" y="13"/>
                    <a:pt x="34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8" y="16"/>
                    <a:pt x="49" y="19"/>
                    <a:pt x="51" y="20"/>
                  </a:cubicBezTo>
                  <a:cubicBezTo>
                    <a:pt x="53" y="21"/>
                    <a:pt x="56" y="21"/>
                    <a:pt x="58" y="22"/>
                  </a:cubicBezTo>
                  <a:cubicBezTo>
                    <a:pt x="59" y="22"/>
                    <a:pt x="59" y="26"/>
                    <a:pt x="59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45" y="30"/>
                    <a:pt x="43" y="31"/>
                  </a:cubicBezTo>
                  <a:cubicBezTo>
                    <a:pt x="41" y="32"/>
                    <a:pt x="36" y="34"/>
                    <a:pt x="34" y="34"/>
                  </a:cubicBezTo>
                  <a:cubicBezTo>
                    <a:pt x="32" y="35"/>
                    <a:pt x="34" y="25"/>
                    <a:pt x="33" y="25"/>
                  </a:cubicBezTo>
                  <a:cubicBezTo>
                    <a:pt x="33" y="24"/>
                    <a:pt x="29" y="20"/>
                    <a:pt x="27" y="21"/>
                  </a:cubicBezTo>
                  <a:cubicBezTo>
                    <a:pt x="26" y="22"/>
                    <a:pt x="23" y="27"/>
                    <a:pt x="22" y="29"/>
                  </a:cubicBezTo>
                  <a:cubicBezTo>
                    <a:pt x="21" y="30"/>
                    <a:pt x="10" y="34"/>
                    <a:pt x="8" y="35"/>
                  </a:cubicBezTo>
                  <a:cubicBezTo>
                    <a:pt x="7" y="35"/>
                    <a:pt x="4" y="32"/>
                    <a:pt x="2" y="32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7" y="26"/>
                    <a:pt x="9" y="26"/>
                    <a:pt x="9" y="2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78" name="Freeform 58"/>
            <p:cNvSpPr>
              <a:spLocks/>
            </p:cNvSpPr>
            <p:nvPr/>
          </p:nvSpPr>
          <p:spPr bwMode="auto">
            <a:xfrm>
              <a:off x="6998966" y="3897498"/>
              <a:ext cx="348502" cy="295596"/>
            </a:xfrm>
            <a:custGeom>
              <a:avLst/>
              <a:gdLst>
                <a:gd name="T0" fmla="*/ 19577 w 125"/>
                <a:gd name="T1" fmla="*/ 27513 h 112"/>
                <a:gd name="T2" fmla="*/ 29041 w 125"/>
                <a:gd name="T3" fmla="*/ 26767 h 112"/>
                <a:gd name="T4" fmla="*/ 48092 w 125"/>
                <a:gd name="T5" fmla="*/ 26519 h 112"/>
                <a:gd name="T6" fmla="*/ 53688 w 125"/>
                <a:gd name="T7" fmla="*/ 24639 h 112"/>
                <a:gd name="T8" fmla="*/ 42160 w 125"/>
                <a:gd name="T9" fmla="*/ 24056 h 112"/>
                <a:gd name="T10" fmla="*/ 38793 w 125"/>
                <a:gd name="T11" fmla="*/ 21961 h 112"/>
                <a:gd name="T12" fmla="*/ 14146 w 125"/>
                <a:gd name="T13" fmla="*/ 21243 h 112"/>
                <a:gd name="T14" fmla="*/ 0 w 125"/>
                <a:gd name="T15" fmla="*/ 19239 h 112"/>
                <a:gd name="T16" fmla="*/ 19577 w 125"/>
                <a:gd name="T17" fmla="*/ 19239 h 112"/>
                <a:gd name="T18" fmla="*/ 92244 w 125"/>
                <a:gd name="T19" fmla="*/ 19019 h 112"/>
                <a:gd name="T20" fmla="*/ 121312 w 125"/>
                <a:gd name="T21" fmla="*/ 18163 h 112"/>
                <a:gd name="T22" fmla="*/ 131884 w 125"/>
                <a:gd name="T23" fmla="*/ 14870 h 112"/>
                <a:gd name="T24" fmla="*/ 171124 w 125"/>
                <a:gd name="T25" fmla="*/ 13467 h 112"/>
                <a:gd name="T26" fmla="*/ 185550 w 125"/>
                <a:gd name="T27" fmla="*/ 13801 h 112"/>
                <a:gd name="T28" fmla="*/ 200893 w 125"/>
                <a:gd name="T29" fmla="*/ 12714 h 112"/>
                <a:gd name="T30" fmla="*/ 200893 w 125"/>
                <a:gd name="T31" fmla="*/ 10409 h 112"/>
                <a:gd name="T32" fmla="*/ 214689 w 125"/>
                <a:gd name="T33" fmla="*/ 9661 h 112"/>
                <a:gd name="T34" fmla="*/ 211412 w 125"/>
                <a:gd name="T35" fmla="*/ 7533 h 112"/>
                <a:gd name="T36" fmla="*/ 224317 w 125"/>
                <a:gd name="T37" fmla="*/ 6939 h 112"/>
                <a:gd name="T38" fmla="*/ 243813 w 125"/>
                <a:gd name="T39" fmla="*/ 7533 h 112"/>
                <a:gd name="T40" fmla="*/ 252964 w 125"/>
                <a:gd name="T41" fmla="*/ 5053 h 112"/>
                <a:gd name="T42" fmla="*/ 249150 w 125"/>
                <a:gd name="T43" fmla="*/ 2830 h 112"/>
                <a:gd name="T44" fmla="*/ 271667 w 125"/>
                <a:gd name="T45" fmla="*/ 1456 h 112"/>
                <a:gd name="T46" fmla="*/ 293723 w 125"/>
                <a:gd name="T47" fmla="*/ 971 h 112"/>
                <a:gd name="T48" fmla="*/ 317061 w 125"/>
                <a:gd name="T49" fmla="*/ 971 h 112"/>
                <a:gd name="T50" fmla="*/ 339344 w 125"/>
                <a:gd name="T51" fmla="*/ 0 h 112"/>
                <a:gd name="T52" fmla="*/ 361670 w 125"/>
                <a:gd name="T53" fmla="*/ 1981 h 112"/>
                <a:gd name="T54" fmla="*/ 384459 w 125"/>
                <a:gd name="T55" fmla="*/ 3400 h 112"/>
                <a:gd name="T56" fmla="*/ 400093 w 125"/>
                <a:gd name="T57" fmla="*/ 3537 h 112"/>
                <a:gd name="T58" fmla="*/ 400093 w 125"/>
                <a:gd name="T59" fmla="*/ 3537 h 112"/>
                <a:gd name="T60" fmla="*/ 395047 w 125"/>
                <a:gd name="T61" fmla="*/ 5053 h 112"/>
                <a:gd name="T62" fmla="*/ 350810 w 125"/>
                <a:gd name="T63" fmla="*/ 6523 h 112"/>
                <a:gd name="T64" fmla="*/ 312525 w 125"/>
                <a:gd name="T65" fmla="*/ 6266 h 112"/>
                <a:gd name="T66" fmla="*/ 323400 w 125"/>
                <a:gd name="T67" fmla="*/ 10409 h 112"/>
                <a:gd name="T68" fmla="*/ 350098 w 125"/>
                <a:gd name="T69" fmla="*/ 11981 h 112"/>
                <a:gd name="T70" fmla="*/ 326677 w 125"/>
                <a:gd name="T71" fmla="*/ 13801 h 112"/>
                <a:gd name="T72" fmla="*/ 323400 w 125"/>
                <a:gd name="T73" fmla="*/ 15373 h 112"/>
                <a:gd name="T74" fmla="*/ 293723 w 125"/>
                <a:gd name="T75" fmla="*/ 18737 h 112"/>
                <a:gd name="T76" fmla="*/ 262703 w 125"/>
                <a:gd name="T77" fmla="*/ 23120 h 112"/>
                <a:gd name="T78" fmla="*/ 243813 w 125"/>
                <a:gd name="T79" fmla="*/ 23763 h 112"/>
                <a:gd name="T80" fmla="*/ 227455 w 125"/>
                <a:gd name="T81" fmla="*/ 23061 h 112"/>
                <a:gd name="T82" fmla="*/ 200893 w 125"/>
                <a:gd name="T83" fmla="*/ 25501 h 112"/>
                <a:gd name="T84" fmla="*/ 229580 w 125"/>
                <a:gd name="T85" fmla="*/ 28641 h 112"/>
                <a:gd name="T86" fmla="*/ 238120 w 125"/>
                <a:gd name="T87" fmla="*/ 31866 h 112"/>
                <a:gd name="T88" fmla="*/ 188723 w 125"/>
                <a:gd name="T89" fmla="*/ 32306 h 112"/>
                <a:gd name="T90" fmla="*/ 176170 w 125"/>
                <a:gd name="T91" fmla="*/ 33720 h 112"/>
                <a:gd name="T92" fmla="*/ 152756 w 125"/>
                <a:gd name="T93" fmla="*/ 32306 h 112"/>
                <a:gd name="T94" fmla="*/ 131884 w 125"/>
                <a:gd name="T95" fmla="*/ 29333 h 112"/>
                <a:gd name="T96" fmla="*/ 88907 w 125"/>
                <a:gd name="T97" fmla="*/ 29504 h 112"/>
                <a:gd name="T98" fmla="*/ 14146 w 125"/>
                <a:gd name="T99" fmla="*/ 29639 h 112"/>
                <a:gd name="T100" fmla="*/ 3385 w 125"/>
                <a:gd name="T101" fmla="*/ 29504 h 112"/>
                <a:gd name="T102" fmla="*/ 19577 w 125"/>
                <a:gd name="T103" fmla="*/ 27513 h 11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25" h="112">
                  <a:moveTo>
                    <a:pt x="6" y="92"/>
                  </a:moveTo>
                  <a:cubicBezTo>
                    <a:pt x="6" y="92"/>
                    <a:pt x="7" y="90"/>
                    <a:pt x="9" y="89"/>
                  </a:cubicBezTo>
                  <a:cubicBezTo>
                    <a:pt x="10" y="89"/>
                    <a:pt x="14" y="89"/>
                    <a:pt x="15" y="88"/>
                  </a:cubicBezTo>
                  <a:cubicBezTo>
                    <a:pt x="16" y="87"/>
                    <a:pt x="17" y="83"/>
                    <a:pt x="17" y="82"/>
                  </a:cubicBezTo>
                  <a:cubicBezTo>
                    <a:pt x="17" y="81"/>
                    <a:pt x="13" y="81"/>
                    <a:pt x="13" y="80"/>
                  </a:cubicBezTo>
                  <a:cubicBezTo>
                    <a:pt x="13" y="79"/>
                    <a:pt x="12" y="74"/>
                    <a:pt x="12" y="73"/>
                  </a:cubicBezTo>
                  <a:cubicBezTo>
                    <a:pt x="11" y="72"/>
                    <a:pt x="6" y="71"/>
                    <a:pt x="4" y="71"/>
                  </a:cubicBezTo>
                  <a:cubicBezTo>
                    <a:pt x="3" y="71"/>
                    <a:pt x="1" y="67"/>
                    <a:pt x="0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64"/>
                    <a:pt x="27" y="63"/>
                    <a:pt x="29" y="63"/>
                  </a:cubicBezTo>
                  <a:cubicBezTo>
                    <a:pt x="31" y="63"/>
                    <a:pt x="37" y="61"/>
                    <a:pt x="38" y="60"/>
                  </a:cubicBezTo>
                  <a:cubicBezTo>
                    <a:pt x="40" y="59"/>
                    <a:pt x="39" y="51"/>
                    <a:pt x="41" y="50"/>
                  </a:cubicBezTo>
                  <a:cubicBezTo>
                    <a:pt x="44" y="49"/>
                    <a:pt x="52" y="45"/>
                    <a:pt x="54" y="45"/>
                  </a:cubicBezTo>
                  <a:cubicBezTo>
                    <a:pt x="55" y="44"/>
                    <a:pt x="57" y="47"/>
                    <a:pt x="58" y="46"/>
                  </a:cubicBezTo>
                  <a:cubicBezTo>
                    <a:pt x="60" y="46"/>
                    <a:pt x="63" y="44"/>
                    <a:pt x="63" y="42"/>
                  </a:cubicBezTo>
                  <a:cubicBezTo>
                    <a:pt x="63" y="40"/>
                    <a:pt x="62" y="37"/>
                    <a:pt x="63" y="35"/>
                  </a:cubicBezTo>
                  <a:cubicBezTo>
                    <a:pt x="65" y="34"/>
                    <a:pt x="66" y="32"/>
                    <a:pt x="67" y="32"/>
                  </a:cubicBezTo>
                  <a:cubicBezTo>
                    <a:pt x="69" y="31"/>
                    <a:pt x="65" y="26"/>
                    <a:pt x="66" y="25"/>
                  </a:cubicBezTo>
                  <a:cubicBezTo>
                    <a:pt x="67" y="24"/>
                    <a:pt x="69" y="23"/>
                    <a:pt x="70" y="23"/>
                  </a:cubicBezTo>
                  <a:cubicBezTo>
                    <a:pt x="71" y="23"/>
                    <a:pt x="74" y="26"/>
                    <a:pt x="76" y="25"/>
                  </a:cubicBezTo>
                  <a:cubicBezTo>
                    <a:pt x="77" y="24"/>
                    <a:pt x="79" y="19"/>
                    <a:pt x="79" y="17"/>
                  </a:cubicBezTo>
                  <a:cubicBezTo>
                    <a:pt x="79" y="15"/>
                    <a:pt x="77" y="10"/>
                    <a:pt x="78" y="9"/>
                  </a:cubicBezTo>
                  <a:cubicBezTo>
                    <a:pt x="79" y="8"/>
                    <a:pt x="84" y="6"/>
                    <a:pt x="85" y="5"/>
                  </a:cubicBezTo>
                  <a:cubicBezTo>
                    <a:pt x="87" y="4"/>
                    <a:pt x="89" y="3"/>
                    <a:pt x="92" y="3"/>
                  </a:cubicBezTo>
                  <a:cubicBezTo>
                    <a:pt x="95" y="3"/>
                    <a:pt x="97" y="3"/>
                    <a:pt x="99" y="3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1"/>
                    <a:pt x="111" y="3"/>
                    <a:pt x="113" y="6"/>
                  </a:cubicBezTo>
                  <a:cubicBezTo>
                    <a:pt x="115" y="9"/>
                    <a:pt x="117" y="9"/>
                    <a:pt x="120" y="11"/>
                  </a:cubicBezTo>
                  <a:cubicBezTo>
                    <a:pt x="121" y="12"/>
                    <a:pt x="123" y="12"/>
                    <a:pt x="125" y="12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3" y="17"/>
                    <a:pt x="112" y="22"/>
                    <a:pt x="110" y="22"/>
                  </a:cubicBezTo>
                  <a:cubicBezTo>
                    <a:pt x="108" y="22"/>
                    <a:pt x="99" y="20"/>
                    <a:pt x="98" y="21"/>
                  </a:cubicBezTo>
                  <a:cubicBezTo>
                    <a:pt x="96" y="22"/>
                    <a:pt x="100" y="34"/>
                    <a:pt x="101" y="35"/>
                  </a:cubicBezTo>
                  <a:cubicBezTo>
                    <a:pt x="101" y="36"/>
                    <a:pt x="109" y="36"/>
                    <a:pt x="109" y="40"/>
                  </a:cubicBezTo>
                  <a:cubicBezTo>
                    <a:pt x="109" y="45"/>
                    <a:pt x="102" y="45"/>
                    <a:pt x="102" y="46"/>
                  </a:cubicBezTo>
                  <a:cubicBezTo>
                    <a:pt x="102" y="47"/>
                    <a:pt x="102" y="49"/>
                    <a:pt x="101" y="51"/>
                  </a:cubicBezTo>
                  <a:cubicBezTo>
                    <a:pt x="101" y="53"/>
                    <a:pt x="93" y="61"/>
                    <a:pt x="92" y="62"/>
                  </a:cubicBezTo>
                  <a:cubicBezTo>
                    <a:pt x="91" y="64"/>
                    <a:pt x="83" y="76"/>
                    <a:pt x="82" y="77"/>
                  </a:cubicBezTo>
                  <a:cubicBezTo>
                    <a:pt x="81" y="77"/>
                    <a:pt x="77" y="79"/>
                    <a:pt x="76" y="79"/>
                  </a:cubicBezTo>
                  <a:cubicBezTo>
                    <a:pt x="74" y="79"/>
                    <a:pt x="73" y="76"/>
                    <a:pt x="71" y="76"/>
                  </a:cubicBezTo>
                  <a:cubicBezTo>
                    <a:pt x="70" y="76"/>
                    <a:pt x="64" y="83"/>
                    <a:pt x="63" y="85"/>
                  </a:cubicBezTo>
                  <a:cubicBezTo>
                    <a:pt x="62" y="87"/>
                    <a:pt x="70" y="93"/>
                    <a:pt x="72" y="95"/>
                  </a:cubicBezTo>
                  <a:cubicBezTo>
                    <a:pt x="74" y="98"/>
                    <a:pt x="76" y="105"/>
                    <a:pt x="74" y="106"/>
                  </a:cubicBezTo>
                  <a:cubicBezTo>
                    <a:pt x="72" y="107"/>
                    <a:pt x="60" y="106"/>
                    <a:pt x="59" y="107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3" y="110"/>
                    <a:pt x="50" y="109"/>
                    <a:pt x="48" y="107"/>
                  </a:cubicBezTo>
                  <a:cubicBezTo>
                    <a:pt x="45" y="104"/>
                    <a:pt x="43" y="99"/>
                    <a:pt x="41" y="97"/>
                  </a:cubicBezTo>
                  <a:cubicBezTo>
                    <a:pt x="39" y="96"/>
                    <a:pt x="33" y="97"/>
                    <a:pt x="28" y="98"/>
                  </a:cubicBezTo>
                  <a:cubicBezTo>
                    <a:pt x="23" y="98"/>
                    <a:pt x="10" y="99"/>
                    <a:pt x="4" y="99"/>
                  </a:cubicBezTo>
                  <a:cubicBezTo>
                    <a:pt x="3" y="98"/>
                    <a:pt x="2" y="98"/>
                    <a:pt x="1" y="98"/>
                  </a:cubicBezTo>
                  <a:lnTo>
                    <a:pt x="6" y="92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79" name="Freeform 59"/>
            <p:cNvSpPr>
              <a:spLocks/>
            </p:cNvSpPr>
            <p:nvPr/>
          </p:nvSpPr>
          <p:spPr bwMode="auto">
            <a:xfrm>
              <a:off x="6982131" y="3858701"/>
              <a:ext cx="313147" cy="206917"/>
            </a:xfrm>
            <a:custGeom>
              <a:avLst/>
              <a:gdLst>
                <a:gd name="T0" fmla="*/ 40095 w 112"/>
                <a:gd name="T1" fmla="*/ 7579 h 79"/>
                <a:gd name="T2" fmla="*/ 64170 w 112"/>
                <a:gd name="T3" fmla="*/ 7634 h 79"/>
                <a:gd name="T4" fmla="*/ 97127 w 112"/>
                <a:gd name="T5" fmla="*/ 5813 h 79"/>
                <a:gd name="T6" fmla="*/ 112591 w 112"/>
                <a:gd name="T7" fmla="*/ 3444 h 79"/>
                <a:gd name="T8" fmla="*/ 152701 w 112"/>
                <a:gd name="T9" fmla="*/ 3152 h 79"/>
                <a:gd name="T10" fmla="*/ 180478 w 112"/>
                <a:gd name="T11" fmla="*/ 3152 h 79"/>
                <a:gd name="T12" fmla="*/ 201685 w 112"/>
                <a:gd name="T13" fmla="*/ 3999 h 79"/>
                <a:gd name="T14" fmla="*/ 247817 w 112"/>
                <a:gd name="T15" fmla="*/ 2429 h 79"/>
                <a:gd name="T16" fmla="*/ 264392 w 112"/>
                <a:gd name="T17" fmla="*/ 1 h 79"/>
                <a:gd name="T18" fmla="*/ 284323 w 112"/>
                <a:gd name="T19" fmla="*/ 1323 h 79"/>
                <a:gd name="T20" fmla="*/ 287913 w 112"/>
                <a:gd name="T21" fmla="*/ 3771 h 79"/>
                <a:gd name="T22" fmla="*/ 317638 w 112"/>
                <a:gd name="T23" fmla="*/ 3115 h 79"/>
                <a:gd name="T24" fmla="*/ 350907 w 112"/>
                <a:gd name="T25" fmla="*/ 2660 h 79"/>
                <a:gd name="T26" fmla="*/ 371460 w 112"/>
                <a:gd name="T27" fmla="*/ 2660 h 79"/>
                <a:gd name="T28" fmla="*/ 371460 w 112"/>
                <a:gd name="T29" fmla="*/ 3115 h 79"/>
                <a:gd name="T30" fmla="*/ 375051 w 112"/>
                <a:gd name="T31" fmla="*/ 3999 h 79"/>
                <a:gd name="T32" fmla="*/ 350907 w 112"/>
                <a:gd name="T33" fmla="*/ 4883 h 79"/>
                <a:gd name="T34" fmla="*/ 328918 w 112"/>
                <a:gd name="T35" fmla="*/ 4883 h 79"/>
                <a:gd name="T36" fmla="*/ 304977 w 112"/>
                <a:gd name="T37" fmla="*/ 5346 h 79"/>
                <a:gd name="T38" fmla="*/ 283034 w 112"/>
                <a:gd name="T39" fmla="*/ 6336 h 79"/>
                <a:gd name="T40" fmla="*/ 284323 w 112"/>
                <a:gd name="T41" fmla="*/ 8488 h 79"/>
                <a:gd name="T42" fmla="*/ 274294 w 112"/>
                <a:gd name="T43" fmla="*/ 10745 h 79"/>
                <a:gd name="T44" fmla="*/ 253593 w 112"/>
                <a:gd name="T45" fmla="*/ 10230 h 79"/>
                <a:gd name="T46" fmla="*/ 241083 w 112"/>
                <a:gd name="T47" fmla="*/ 10745 h 79"/>
                <a:gd name="T48" fmla="*/ 244331 w 112"/>
                <a:gd name="T49" fmla="*/ 12584 h 79"/>
                <a:gd name="T50" fmla="*/ 231528 w 112"/>
                <a:gd name="T51" fmla="*/ 13368 h 79"/>
                <a:gd name="T52" fmla="*/ 231528 w 112"/>
                <a:gd name="T53" fmla="*/ 15233 h 79"/>
                <a:gd name="T54" fmla="*/ 213327 w 112"/>
                <a:gd name="T55" fmla="*/ 16154 h 79"/>
                <a:gd name="T56" fmla="*/ 201685 w 112"/>
                <a:gd name="T57" fmla="*/ 16100 h 79"/>
                <a:gd name="T58" fmla="*/ 157962 w 112"/>
                <a:gd name="T59" fmla="*/ 17222 h 79"/>
                <a:gd name="T60" fmla="*/ 147124 w 112"/>
                <a:gd name="T61" fmla="*/ 19925 h 79"/>
                <a:gd name="T62" fmla="*/ 115953 w 112"/>
                <a:gd name="T63" fmla="*/ 20825 h 79"/>
                <a:gd name="T64" fmla="*/ 40095 w 112"/>
                <a:gd name="T65" fmla="*/ 21032 h 79"/>
                <a:gd name="T66" fmla="*/ 20767 w 112"/>
                <a:gd name="T67" fmla="*/ 21032 h 79"/>
                <a:gd name="T68" fmla="*/ 14538 w 112"/>
                <a:gd name="T69" fmla="*/ 20330 h 79"/>
                <a:gd name="T70" fmla="*/ 36504 w 112"/>
                <a:gd name="T71" fmla="*/ 18403 h 79"/>
                <a:gd name="T72" fmla="*/ 36504 w 112"/>
                <a:gd name="T73" fmla="*/ 16729 h 79"/>
                <a:gd name="T74" fmla="*/ 9714 w 112"/>
                <a:gd name="T75" fmla="*/ 16154 h 79"/>
                <a:gd name="T76" fmla="*/ 0 w 112"/>
                <a:gd name="T77" fmla="*/ 10823 h 79"/>
                <a:gd name="T78" fmla="*/ 16132 w 112"/>
                <a:gd name="T79" fmla="*/ 9429 h 79"/>
                <a:gd name="T80" fmla="*/ 20767 w 112"/>
                <a:gd name="T81" fmla="*/ 7216 h 79"/>
                <a:gd name="T82" fmla="*/ 40095 w 112"/>
                <a:gd name="T83" fmla="*/ 7579 h 7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12" h="79">
                  <a:moveTo>
                    <a:pt x="12" y="28"/>
                  </a:moveTo>
                  <a:cubicBezTo>
                    <a:pt x="14" y="28"/>
                    <a:pt x="16" y="30"/>
                    <a:pt x="19" y="29"/>
                  </a:cubicBezTo>
                  <a:cubicBezTo>
                    <a:pt x="22" y="27"/>
                    <a:pt x="27" y="23"/>
                    <a:pt x="29" y="22"/>
                  </a:cubicBezTo>
                  <a:cubicBezTo>
                    <a:pt x="31" y="21"/>
                    <a:pt x="31" y="14"/>
                    <a:pt x="34" y="13"/>
                  </a:cubicBezTo>
                  <a:cubicBezTo>
                    <a:pt x="35" y="12"/>
                    <a:pt x="41" y="12"/>
                    <a:pt x="46" y="12"/>
                  </a:cubicBezTo>
                  <a:cubicBezTo>
                    <a:pt x="50" y="12"/>
                    <a:pt x="54" y="12"/>
                    <a:pt x="54" y="12"/>
                  </a:cubicBezTo>
                  <a:cubicBezTo>
                    <a:pt x="56" y="12"/>
                    <a:pt x="59" y="15"/>
                    <a:pt x="60" y="15"/>
                  </a:cubicBezTo>
                  <a:cubicBezTo>
                    <a:pt x="62" y="14"/>
                    <a:pt x="73" y="10"/>
                    <a:pt x="74" y="9"/>
                  </a:cubicBezTo>
                  <a:cubicBezTo>
                    <a:pt x="75" y="7"/>
                    <a:pt x="78" y="2"/>
                    <a:pt x="79" y="1"/>
                  </a:cubicBezTo>
                  <a:cubicBezTo>
                    <a:pt x="81" y="0"/>
                    <a:pt x="85" y="4"/>
                    <a:pt x="85" y="5"/>
                  </a:cubicBezTo>
                  <a:cubicBezTo>
                    <a:pt x="86" y="5"/>
                    <a:pt x="84" y="15"/>
                    <a:pt x="86" y="14"/>
                  </a:cubicBezTo>
                  <a:cubicBezTo>
                    <a:pt x="88" y="14"/>
                    <a:pt x="93" y="12"/>
                    <a:pt x="95" y="11"/>
                  </a:cubicBezTo>
                  <a:cubicBezTo>
                    <a:pt x="97" y="10"/>
                    <a:pt x="105" y="10"/>
                    <a:pt x="105" y="1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0"/>
                    <a:pt x="111" y="11"/>
                    <a:pt x="111" y="11"/>
                  </a:cubicBezTo>
                  <a:cubicBezTo>
                    <a:pt x="111" y="15"/>
                    <a:pt x="110" y="15"/>
                    <a:pt x="112" y="15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3" y="18"/>
                    <a:pt x="101" y="18"/>
                    <a:pt x="98" y="18"/>
                  </a:cubicBezTo>
                  <a:cubicBezTo>
                    <a:pt x="95" y="18"/>
                    <a:pt x="93" y="19"/>
                    <a:pt x="91" y="20"/>
                  </a:cubicBezTo>
                  <a:cubicBezTo>
                    <a:pt x="90" y="21"/>
                    <a:pt x="85" y="23"/>
                    <a:pt x="84" y="24"/>
                  </a:cubicBezTo>
                  <a:cubicBezTo>
                    <a:pt x="83" y="25"/>
                    <a:pt x="85" y="30"/>
                    <a:pt x="85" y="32"/>
                  </a:cubicBezTo>
                  <a:cubicBezTo>
                    <a:pt x="85" y="34"/>
                    <a:pt x="83" y="39"/>
                    <a:pt x="82" y="40"/>
                  </a:cubicBezTo>
                  <a:cubicBezTo>
                    <a:pt x="80" y="41"/>
                    <a:pt x="77" y="38"/>
                    <a:pt x="76" y="38"/>
                  </a:cubicBezTo>
                  <a:cubicBezTo>
                    <a:pt x="75" y="38"/>
                    <a:pt x="73" y="39"/>
                    <a:pt x="72" y="40"/>
                  </a:cubicBezTo>
                  <a:cubicBezTo>
                    <a:pt x="71" y="41"/>
                    <a:pt x="75" y="46"/>
                    <a:pt x="73" y="47"/>
                  </a:cubicBezTo>
                  <a:cubicBezTo>
                    <a:pt x="72" y="47"/>
                    <a:pt x="71" y="49"/>
                    <a:pt x="69" y="50"/>
                  </a:cubicBezTo>
                  <a:cubicBezTo>
                    <a:pt x="68" y="52"/>
                    <a:pt x="69" y="55"/>
                    <a:pt x="69" y="57"/>
                  </a:cubicBezTo>
                  <a:cubicBezTo>
                    <a:pt x="69" y="59"/>
                    <a:pt x="66" y="61"/>
                    <a:pt x="64" y="61"/>
                  </a:cubicBezTo>
                  <a:cubicBezTo>
                    <a:pt x="63" y="62"/>
                    <a:pt x="61" y="59"/>
                    <a:pt x="60" y="60"/>
                  </a:cubicBezTo>
                  <a:cubicBezTo>
                    <a:pt x="58" y="60"/>
                    <a:pt x="50" y="64"/>
                    <a:pt x="47" y="65"/>
                  </a:cubicBezTo>
                  <a:cubicBezTo>
                    <a:pt x="45" y="66"/>
                    <a:pt x="46" y="74"/>
                    <a:pt x="44" y="75"/>
                  </a:cubicBezTo>
                  <a:cubicBezTo>
                    <a:pt x="43" y="76"/>
                    <a:pt x="37" y="78"/>
                    <a:pt x="35" y="78"/>
                  </a:cubicBezTo>
                  <a:cubicBezTo>
                    <a:pt x="33" y="78"/>
                    <a:pt x="14" y="79"/>
                    <a:pt x="12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77"/>
                    <a:pt x="4" y="76"/>
                    <a:pt x="4" y="76"/>
                  </a:cubicBezTo>
                  <a:cubicBezTo>
                    <a:pt x="3" y="74"/>
                    <a:pt x="10" y="70"/>
                    <a:pt x="11" y="69"/>
                  </a:cubicBezTo>
                  <a:cubicBezTo>
                    <a:pt x="11" y="67"/>
                    <a:pt x="11" y="65"/>
                    <a:pt x="11" y="63"/>
                  </a:cubicBezTo>
                  <a:cubicBezTo>
                    <a:pt x="10" y="61"/>
                    <a:pt x="3" y="62"/>
                    <a:pt x="3" y="61"/>
                  </a:cubicBezTo>
                  <a:cubicBezTo>
                    <a:pt x="3" y="59"/>
                    <a:pt x="1" y="42"/>
                    <a:pt x="0" y="41"/>
                  </a:cubicBezTo>
                  <a:cubicBezTo>
                    <a:pt x="0" y="39"/>
                    <a:pt x="4" y="37"/>
                    <a:pt x="5" y="35"/>
                  </a:cubicBezTo>
                  <a:cubicBezTo>
                    <a:pt x="5" y="33"/>
                    <a:pt x="6" y="30"/>
                    <a:pt x="6" y="27"/>
                  </a:cubicBezTo>
                  <a:lnTo>
                    <a:pt x="12" y="28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Freeform 60"/>
            <p:cNvSpPr>
              <a:spLocks/>
            </p:cNvSpPr>
            <p:nvPr/>
          </p:nvSpPr>
          <p:spPr bwMode="auto">
            <a:xfrm>
              <a:off x="6887850" y="3690581"/>
              <a:ext cx="365338" cy="199527"/>
            </a:xfrm>
            <a:custGeom>
              <a:avLst/>
              <a:gdLst>
                <a:gd name="T0" fmla="*/ 25555 w 131"/>
                <a:gd name="T1" fmla="*/ 11069 h 76"/>
                <a:gd name="T2" fmla="*/ 0 w 131"/>
                <a:gd name="T3" fmla="*/ 11069 h 76"/>
                <a:gd name="T4" fmla="*/ 0 w 131"/>
                <a:gd name="T5" fmla="*/ 1344 h 76"/>
                <a:gd name="T6" fmla="*/ 64419 w 131"/>
                <a:gd name="T7" fmla="*/ 0 h 76"/>
                <a:gd name="T8" fmla="*/ 58492 w 131"/>
                <a:gd name="T9" fmla="*/ 1779 h 76"/>
                <a:gd name="T10" fmla="*/ 67805 w 131"/>
                <a:gd name="T11" fmla="*/ 3857 h 76"/>
                <a:gd name="T12" fmla="*/ 93794 w 131"/>
                <a:gd name="T13" fmla="*/ 4540 h 76"/>
                <a:gd name="T14" fmla="*/ 116156 w 131"/>
                <a:gd name="T15" fmla="*/ 3195 h 76"/>
                <a:gd name="T16" fmla="*/ 132456 w 131"/>
                <a:gd name="T17" fmla="*/ 3857 h 76"/>
                <a:gd name="T18" fmla="*/ 147595 w 131"/>
                <a:gd name="T19" fmla="*/ 5481 h 76"/>
                <a:gd name="T20" fmla="*/ 224883 w 131"/>
                <a:gd name="T21" fmla="*/ 4637 h 76"/>
                <a:gd name="T22" fmla="*/ 247925 w 131"/>
                <a:gd name="T23" fmla="*/ 9169 h 76"/>
                <a:gd name="T24" fmla="*/ 263788 w 131"/>
                <a:gd name="T25" fmla="*/ 9783 h 76"/>
                <a:gd name="T26" fmla="*/ 263788 w 131"/>
                <a:gd name="T27" fmla="*/ 11246 h 76"/>
                <a:gd name="T28" fmla="*/ 308195 w 131"/>
                <a:gd name="T29" fmla="*/ 11654 h 76"/>
                <a:gd name="T30" fmla="*/ 353009 w 131"/>
                <a:gd name="T31" fmla="*/ 8724 h 76"/>
                <a:gd name="T32" fmla="*/ 360704 w 131"/>
                <a:gd name="T33" fmla="*/ 8370 h 76"/>
                <a:gd name="T34" fmla="*/ 372516 w 131"/>
                <a:gd name="T35" fmla="*/ 9363 h 76"/>
                <a:gd name="T36" fmla="*/ 360704 w 131"/>
                <a:gd name="T37" fmla="*/ 10504 h 76"/>
                <a:gd name="T38" fmla="*/ 366159 w 131"/>
                <a:gd name="T39" fmla="*/ 11069 h 76"/>
                <a:gd name="T40" fmla="*/ 398356 w 131"/>
                <a:gd name="T41" fmla="*/ 11246 h 76"/>
                <a:gd name="T42" fmla="*/ 420796 w 131"/>
                <a:gd name="T43" fmla="*/ 12359 h 76"/>
                <a:gd name="T44" fmla="*/ 398356 w 131"/>
                <a:gd name="T45" fmla="*/ 13030 h 76"/>
                <a:gd name="T46" fmla="*/ 378330 w 131"/>
                <a:gd name="T47" fmla="*/ 13570 h 76"/>
                <a:gd name="T48" fmla="*/ 360704 w 131"/>
                <a:gd name="T49" fmla="*/ 13570 h 76"/>
                <a:gd name="T50" fmla="*/ 360704 w 131"/>
                <a:gd name="T51" fmla="*/ 13030 h 76"/>
                <a:gd name="T52" fmla="*/ 351204 w 131"/>
                <a:gd name="T53" fmla="*/ 12359 h 76"/>
                <a:gd name="T54" fmla="*/ 328172 w 131"/>
                <a:gd name="T55" fmla="*/ 12593 h 76"/>
                <a:gd name="T56" fmla="*/ 304920 w 131"/>
                <a:gd name="T57" fmla="*/ 14647 h 76"/>
                <a:gd name="T58" fmla="*/ 283395 w 131"/>
                <a:gd name="T59" fmla="*/ 15730 h 76"/>
                <a:gd name="T60" fmla="*/ 304920 w 131"/>
                <a:gd name="T61" fmla="*/ 18907 h 76"/>
                <a:gd name="T62" fmla="*/ 295065 w 131"/>
                <a:gd name="T63" fmla="*/ 19755 h 76"/>
                <a:gd name="T64" fmla="*/ 283395 w 131"/>
                <a:gd name="T65" fmla="*/ 20891 h 76"/>
                <a:gd name="T66" fmla="*/ 257367 w 131"/>
                <a:gd name="T67" fmla="*/ 20891 h 76"/>
                <a:gd name="T68" fmla="*/ 260198 w 131"/>
                <a:gd name="T69" fmla="*/ 19284 h 76"/>
                <a:gd name="T70" fmla="*/ 160499 w 131"/>
                <a:gd name="T71" fmla="*/ 14373 h 76"/>
                <a:gd name="T72" fmla="*/ 141209 w 131"/>
                <a:gd name="T73" fmla="*/ 11246 h 76"/>
                <a:gd name="T74" fmla="*/ 103280 w 131"/>
                <a:gd name="T75" fmla="*/ 11069 h 76"/>
                <a:gd name="T76" fmla="*/ 96891 w 131"/>
                <a:gd name="T77" fmla="*/ 8724 h 76"/>
                <a:gd name="T78" fmla="*/ 64419 w 131"/>
                <a:gd name="T79" fmla="*/ 7392 h 76"/>
                <a:gd name="T80" fmla="*/ 35311 w 131"/>
                <a:gd name="T81" fmla="*/ 8697 h 76"/>
                <a:gd name="T82" fmla="*/ 25555 w 131"/>
                <a:gd name="T83" fmla="*/ 11069 h 7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31" h="76">
                  <a:moveTo>
                    <a:pt x="8" y="40"/>
                  </a:moveTo>
                  <a:cubicBezTo>
                    <a:pt x="7" y="40"/>
                    <a:pt x="3" y="40"/>
                    <a:pt x="0" y="4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2"/>
                    <a:pt x="19" y="4"/>
                    <a:pt x="18" y="6"/>
                  </a:cubicBezTo>
                  <a:cubicBezTo>
                    <a:pt x="16" y="10"/>
                    <a:pt x="19" y="13"/>
                    <a:pt x="21" y="14"/>
                  </a:cubicBezTo>
                  <a:cubicBezTo>
                    <a:pt x="21" y="14"/>
                    <a:pt x="26" y="16"/>
                    <a:pt x="29" y="16"/>
                  </a:cubicBezTo>
                  <a:cubicBezTo>
                    <a:pt x="31" y="16"/>
                    <a:pt x="33" y="14"/>
                    <a:pt x="36" y="11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5" y="20"/>
                    <a:pt x="46" y="20"/>
                  </a:cubicBezTo>
                  <a:cubicBezTo>
                    <a:pt x="47" y="20"/>
                    <a:pt x="69" y="17"/>
                    <a:pt x="70" y="17"/>
                  </a:cubicBezTo>
                  <a:cubicBezTo>
                    <a:pt x="71" y="18"/>
                    <a:pt x="77" y="32"/>
                    <a:pt x="77" y="33"/>
                  </a:cubicBezTo>
                  <a:cubicBezTo>
                    <a:pt x="76" y="34"/>
                    <a:pt x="81" y="35"/>
                    <a:pt x="82" y="35"/>
                  </a:cubicBezTo>
                  <a:cubicBezTo>
                    <a:pt x="82" y="35"/>
                    <a:pt x="81" y="41"/>
                    <a:pt x="82" y="41"/>
                  </a:cubicBezTo>
                  <a:cubicBezTo>
                    <a:pt x="83" y="41"/>
                    <a:pt x="95" y="42"/>
                    <a:pt x="96" y="42"/>
                  </a:cubicBezTo>
                  <a:cubicBezTo>
                    <a:pt x="97" y="42"/>
                    <a:pt x="108" y="33"/>
                    <a:pt x="110" y="32"/>
                  </a:cubicBezTo>
                  <a:cubicBezTo>
                    <a:pt x="111" y="31"/>
                    <a:pt x="111" y="31"/>
                    <a:pt x="112" y="30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4" y="39"/>
                    <a:pt x="114" y="40"/>
                  </a:cubicBezTo>
                  <a:cubicBezTo>
                    <a:pt x="116" y="41"/>
                    <a:pt x="122" y="40"/>
                    <a:pt x="124" y="41"/>
                  </a:cubicBezTo>
                  <a:cubicBezTo>
                    <a:pt x="126" y="41"/>
                    <a:pt x="131" y="43"/>
                    <a:pt x="131" y="44"/>
                  </a:cubicBezTo>
                  <a:cubicBezTo>
                    <a:pt x="131" y="46"/>
                    <a:pt x="126" y="46"/>
                    <a:pt x="124" y="47"/>
                  </a:cubicBezTo>
                  <a:cubicBezTo>
                    <a:pt x="123" y="48"/>
                    <a:pt x="120" y="49"/>
                    <a:pt x="118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8"/>
                    <a:pt x="112" y="48"/>
                    <a:pt x="112" y="47"/>
                  </a:cubicBezTo>
                  <a:cubicBezTo>
                    <a:pt x="112" y="46"/>
                    <a:pt x="109" y="44"/>
                    <a:pt x="109" y="44"/>
                  </a:cubicBezTo>
                  <a:cubicBezTo>
                    <a:pt x="109" y="44"/>
                    <a:pt x="104" y="46"/>
                    <a:pt x="102" y="46"/>
                  </a:cubicBezTo>
                  <a:cubicBezTo>
                    <a:pt x="101" y="47"/>
                    <a:pt x="96" y="52"/>
                    <a:pt x="95" y="53"/>
                  </a:cubicBezTo>
                  <a:cubicBezTo>
                    <a:pt x="94" y="55"/>
                    <a:pt x="89" y="55"/>
                    <a:pt x="88" y="57"/>
                  </a:cubicBezTo>
                  <a:cubicBezTo>
                    <a:pt x="86" y="59"/>
                    <a:pt x="94" y="66"/>
                    <a:pt x="95" y="68"/>
                  </a:cubicBezTo>
                  <a:cubicBezTo>
                    <a:pt x="95" y="70"/>
                    <a:pt x="93" y="70"/>
                    <a:pt x="92" y="71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4" y="76"/>
                    <a:pt x="80" y="76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80" y="69"/>
                    <a:pt x="51" y="52"/>
                    <a:pt x="50" y="52"/>
                  </a:cubicBezTo>
                  <a:cubicBezTo>
                    <a:pt x="48" y="51"/>
                    <a:pt x="46" y="42"/>
                    <a:pt x="44" y="41"/>
                  </a:cubicBezTo>
                  <a:cubicBezTo>
                    <a:pt x="42" y="40"/>
                    <a:pt x="34" y="40"/>
                    <a:pt x="32" y="40"/>
                  </a:cubicBezTo>
                  <a:cubicBezTo>
                    <a:pt x="31" y="39"/>
                    <a:pt x="31" y="32"/>
                    <a:pt x="30" y="32"/>
                  </a:cubicBezTo>
                  <a:cubicBezTo>
                    <a:pt x="29" y="31"/>
                    <a:pt x="22" y="27"/>
                    <a:pt x="20" y="27"/>
                  </a:cubicBezTo>
                  <a:cubicBezTo>
                    <a:pt x="19" y="27"/>
                    <a:pt x="15" y="30"/>
                    <a:pt x="11" y="31"/>
                  </a:cubicBezTo>
                  <a:cubicBezTo>
                    <a:pt x="7" y="32"/>
                    <a:pt x="9" y="40"/>
                    <a:pt x="8" y="4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61"/>
            <p:cNvSpPr>
              <a:spLocks/>
            </p:cNvSpPr>
            <p:nvPr/>
          </p:nvSpPr>
          <p:spPr bwMode="auto">
            <a:xfrm>
              <a:off x="6812089" y="3760785"/>
              <a:ext cx="301362" cy="175510"/>
            </a:xfrm>
            <a:custGeom>
              <a:avLst/>
              <a:gdLst>
                <a:gd name="T0" fmla="*/ 19697 w 108"/>
                <a:gd name="T1" fmla="*/ 1324 h 67"/>
                <a:gd name="T2" fmla="*/ 53292 w 108"/>
                <a:gd name="T3" fmla="*/ 1324 h 67"/>
                <a:gd name="T4" fmla="*/ 73793 w 108"/>
                <a:gd name="T5" fmla="*/ 3444 h 67"/>
                <a:gd name="T6" fmla="*/ 88327 w 108"/>
                <a:gd name="T7" fmla="*/ 3444 h 67"/>
                <a:gd name="T8" fmla="*/ 113552 w 108"/>
                <a:gd name="T9" fmla="*/ 3444 h 67"/>
                <a:gd name="T10" fmla="*/ 122305 w 108"/>
                <a:gd name="T11" fmla="*/ 1208 h 67"/>
                <a:gd name="T12" fmla="*/ 152505 w 108"/>
                <a:gd name="T13" fmla="*/ 0 h 67"/>
                <a:gd name="T14" fmla="*/ 184214 w 108"/>
                <a:gd name="T15" fmla="*/ 1324 h 67"/>
                <a:gd name="T16" fmla="*/ 191595 w 108"/>
                <a:gd name="T17" fmla="*/ 3444 h 67"/>
                <a:gd name="T18" fmla="*/ 231528 w 108"/>
                <a:gd name="T19" fmla="*/ 3773 h 67"/>
                <a:gd name="T20" fmla="*/ 250073 w 108"/>
                <a:gd name="T21" fmla="*/ 6671 h 67"/>
                <a:gd name="T22" fmla="*/ 350253 w 108"/>
                <a:gd name="T23" fmla="*/ 11411 h 67"/>
                <a:gd name="T24" fmla="*/ 346375 w 108"/>
                <a:gd name="T25" fmla="*/ 12988 h 67"/>
                <a:gd name="T26" fmla="*/ 306730 w 108"/>
                <a:gd name="T27" fmla="*/ 13412 h 67"/>
                <a:gd name="T28" fmla="*/ 291448 w 108"/>
                <a:gd name="T29" fmla="*/ 15824 h 67"/>
                <a:gd name="T30" fmla="*/ 260006 w 108"/>
                <a:gd name="T31" fmla="*/ 17700 h 67"/>
                <a:gd name="T32" fmla="*/ 237269 w 108"/>
                <a:gd name="T33" fmla="*/ 17236 h 67"/>
                <a:gd name="T34" fmla="*/ 217505 w 108"/>
                <a:gd name="T35" fmla="*/ 17073 h 67"/>
                <a:gd name="T36" fmla="*/ 217505 w 108"/>
                <a:gd name="T37" fmla="*/ 14701 h 67"/>
                <a:gd name="T38" fmla="*/ 191595 w 108"/>
                <a:gd name="T39" fmla="*/ 14528 h 67"/>
                <a:gd name="T40" fmla="*/ 163268 w 108"/>
                <a:gd name="T41" fmla="*/ 12600 h 67"/>
                <a:gd name="T42" fmla="*/ 119000 w 108"/>
                <a:gd name="T43" fmla="*/ 11372 h 67"/>
                <a:gd name="T44" fmla="*/ 80383 w 108"/>
                <a:gd name="T45" fmla="*/ 11372 h 67"/>
                <a:gd name="T46" fmla="*/ 54108 w 108"/>
                <a:gd name="T47" fmla="*/ 12795 h 67"/>
                <a:gd name="T48" fmla="*/ 35860 w 108"/>
                <a:gd name="T49" fmla="*/ 12795 h 67"/>
                <a:gd name="T50" fmla="*/ 35860 w 108"/>
                <a:gd name="T51" fmla="*/ 9024 h 67"/>
                <a:gd name="T52" fmla="*/ 9343 w 108"/>
                <a:gd name="T53" fmla="*/ 6671 h 67"/>
                <a:gd name="T54" fmla="*/ 9343 w 108"/>
                <a:gd name="T55" fmla="*/ 4003 h 67"/>
                <a:gd name="T56" fmla="*/ 0 w 108"/>
                <a:gd name="T57" fmla="*/ 2198 h 67"/>
                <a:gd name="T58" fmla="*/ 19697 w 108"/>
                <a:gd name="T59" fmla="*/ 1324 h 6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08" h="67">
                  <a:moveTo>
                    <a:pt x="6" y="5"/>
                  </a:moveTo>
                  <a:cubicBezTo>
                    <a:pt x="8" y="4"/>
                    <a:pt x="13" y="3"/>
                    <a:pt x="16" y="5"/>
                  </a:cubicBezTo>
                  <a:cubicBezTo>
                    <a:pt x="18" y="7"/>
                    <a:pt x="22" y="12"/>
                    <a:pt x="23" y="13"/>
                  </a:cubicBezTo>
                  <a:cubicBezTo>
                    <a:pt x="24" y="13"/>
                    <a:pt x="25" y="13"/>
                    <a:pt x="27" y="13"/>
                  </a:cubicBezTo>
                  <a:cubicBezTo>
                    <a:pt x="30" y="13"/>
                    <a:pt x="34" y="13"/>
                    <a:pt x="35" y="13"/>
                  </a:cubicBezTo>
                  <a:cubicBezTo>
                    <a:pt x="36" y="13"/>
                    <a:pt x="34" y="5"/>
                    <a:pt x="38" y="4"/>
                  </a:cubicBezTo>
                  <a:cubicBezTo>
                    <a:pt x="42" y="3"/>
                    <a:pt x="46" y="0"/>
                    <a:pt x="47" y="0"/>
                  </a:cubicBezTo>
                  <a:cubicBezTo>
                    <a:pt x="49" y="0"/>
                    <a:pt x="56" y="4"/>
                    <a:pt x="57" y="5"/>
                  </a:cubicBezTo>
                  <a:cubicBezTo>
                    <a:pt x="58" y="5"/>
                    <a:pt x="58" y="12"/>
                    <a:pt x="59" y="13"/>
                  </a:cubicBezTo>
                  <a:cubicBezTo>
                    <a:pt x="61" y="13"/>
                    <a:pt x="69" y="13"/>
                    <a:pt x="71" y="14"/>
                  </a:cubicBezTo>
                  <a:cubicBezTo>
                    <a:pt x="73" y="15"/>
                    <a:pt x="75" y="24"/>
                    <a:pt x="77" y="25"/>
                  </a:cubicBezTo>
                  <a:cubicBezTo>
                    <a:pt x="78" y="25"/>
                    <a:pt x="107" y="42"/>
                    <a:pt x="108" y="43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2" y="49"/>
                    <a:pt x="96" y="49"/>
                    <a:pt x="95" y="50"/>
                  </a:cubicBezTo>
                  <a:cubicBezTo>
                    <a:pt x="92" y="51"/>
                    <a:pt x="92" y="58"/>
                    <a:pt x="90" y="59"/>
                  </a:cubicBezTo>
                  <a:cubicBezTo>
                    <a:pt x="88" y="60"/>
                    <a:pt x="83" y="64"/>
                    <a:pt x="80" y="66"/>
                  </a:cubicBezTo>
                  <a:cubicBezTo>
                    <a:pt x="77" y="67"/>
                    <a:pt x="75" y="65"/>
                    <a:pt x="73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59"/>
                    <a:pt x="67" y="55"/>
                    <a:pt x="67" y="55"/>
                  </a:cubicBezTo>
                  <a:cubicBezTo>
                    <a:pt x="65" y="55"/>
                    <a:pt x="61" y="55"/>
                    <a:pt x="59" y="54"/>
                  </a:cubicBezTo>
                  <a:cubicBezTo>
                    <a:pt x="58" y="53"/>
                    <a:pt x="52" y="47"/>
                    <a:pt x="50" y="47"/>
                  </a:cubicBezTo>
                  <a:cubicBezTo>
                    <a:pt x="48" y="46"/>
                    <a:pt x="41" y="43"/>
                    <a:pt x="37" y="42"/>
                  </a:cubicBezTo>
                  <a:cubicBezTo>
                    <a:pt x="34" y="41"/>
                    <a:pt x="28" y="42"/>
                    <a:pt x="25" y="42"/>
                  </a:cubicBezTo>
                  <a:cubicBezTo>
                    <a:pt x="21" y="42"/>
                    <a:pt x="18" y="47"/>
                    <a:pt x="17" y="48"/>
                  </a:cubicBezTo>
                  <a:cubicBezTo>
                    <a:pt x="17" y="48"/>
                    <a:pt x="15" y="48"/>
                    <a:pt x="11" y="48"/>
                  </a:cubicBezTo>
                  <a:cubicBezTo>
                    <a:pt x="11" y="43"/>
                    <a:pt x="11" y="35"/>
                    <a:pt x="11" y="34"/>
                  </a:cubicBezTo>
                  <a:cubicBezTo>
                    <a:pt x="11" y="32"/>
                    <a:pt x="3" y="27"/>
                    <a:pt x="3" y="25"/>
                  </a:cubicBezTo>
                  <a:cubicBezTo>
                    <a:pt x="1" y="22"/>
                    <a:pt x="3" y="17"/>
                    <a:pt x="3" y="15"/>
                  </a:cubicBezTo>
                  <a:cubicBezTo>
                    <a:pt x="3" y="13"/>
                    <a:pt x="1" y="10"/>
                    <a:pt x="0" y="8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62"/>
            <p:cNvSpPr>
              <a:spLocks/>
            </p:cNvSpPr>
            <p:nvPr/>
          </p:nvSpPr>
          <p:spPr bwMode="auto">
            <a:xfrm>
              <a:off x="6808721" y="4128433"/>
              <a:ext cx="89230" cy="77594"/>
            </a:xfrm>
            <a:custGeom>
              <a:avLst/>
              <a:gdLst>
                <a:gd name="T0" fmla="*/ 5621 w 32"/>
                <a:gd name="T1" fmla="*/ 6359 h 30"/>
                <a:gd name="T2" fmla="*/ 0 w 32"/>
                <a:gd name="T3" fmla="*/ 4542 h 30"/>
                <a:gd name="T4" fmla="*/ 32454 w 32"/>
                <a:gd name="T5" fmla="*/ 4218 h 30"/>
                <a:gd name="T6" fmla="*/ 59178 w 32"/>
                <a:gd name="T7" fmla="*/ 3108 h 30"/>
                <a:gd name="T8" fmla="*/ 96786 w 32"/>
                <a:gd name="T9" fmla="*/ 1 h 30"/>
                <a:gd name="T10" fmla="*/ 98014 w 32"/>
                <a:gd name="T11" fmla="*/ 2801 h 30"/>
                <a:gd name="T12" fmla="*/ 103198 w 32"/>
                <a:gd name="T13" fmla="*/ 3244 h 30"/>
                <a:gd name="T14" fmla="*/ 87419 w 32"/>
                <a:gd name="T15" fmla="*/ 3822 h 30"/>
                <a:gd name="T16" fmla="*/ 70058 w 32"/>
                <a:gd name="T17" fmla="*/ 6566 h 30"/>
                <a:gd name="T18" fmla="*/ 5621 w 32"/>
                <a:gd name="T19" fmla="*/ 6359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2" h="30">
                  <a:moveTo>
                    <a:pt x="2" y="29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" y="20"/>
                    <a:pt x="8" y="19"/>
                    <a:pt x="10" y="19"/>
                  </a:cubicBezTo>
                  <a:cubicBezTo>
                    <a:pt x="13" y="19"/>
                    <a:pt x="17" y="15"/>
                    <a:pt x="19" y="14"/>
                  </a:cubicBezTo>
                  <a:cubicBezTo>
                    <a:pt x="22" y="13"/>
                    <a:pt x="29" y="0"/>
                    <a:pt x="30" y="1"/>
                  </a:cubicBezTo>
                  <a:cubicBezTo>
                    <a:pt x="31" y="2"/>
                    <a:pt x="29" y="8"/>
                    <a:pt x="31" y="13"/>
                  </a:cubicBezTo>
                  <a:cubicBezTo>
                    <a:pt x="31" y="14"/>
                    <a:pt x="31" y="14"/>
                    <a:pt x="32" y="15"/>
                  </a:cubicBezTo>
                  <a:cubicBezTo>
                    <a:pt x="32" y="15"/>
                    <a:pt x="27" y="16"/>
                    <a:pt x="27" y="17"/>
                  </a:cubicBezTo>
                  <a:cubicBezTo>
                    <a:pt x="27" y="19"/>
                    <a:pt x="22" y="30"/>
                    <a:pt x="22" y="30"/>
                  </a:cubicBezTo>
                  <a:lnTo>
                    <a:pt x="2" y="29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3" name="Freeform 63"/>
            <p:cNvSpPr>
              <a:spLocks/>
            </p:cNvSpPr>
            <p:nvPr/>
          </p:nvSpPr>
          <p:spPr bwMode="auto">
            <a:xfrm>
              <a:off x="6800304" y="4169078"/>
              <a:ext cx="168358" cy="168120"/>
            </a:xfrm>
            <a:custGeom>
              <a:avLst/>
              <a:gdLst>
                <a:gd name="T0" fmla="*/ 0 w 60"/>
                <a:gd name="T1" fmla="*/ 12430 h 64"/>
                <a:gd name="T2" fmla="*/ 80542 w 60"/>
                <a:gd name="T3" fmla="*/ 10580 h 64"/>
                <a:gd name="T4" fmla="*/ 101980 w 60"/>
                <a:gd name="T5" fmla="*/ 5936 h 64"/>
                <a:gd name="T6" fmla="*/ 89597 w 60"/>
                <a:gd name="T7" fmla="*/ 4175 h 64"/>
                <a:gd name="T8" fmla="*/ 105495 w 60"/>
                <a:gd name="T9" fmla="*/ 621 h 64"/>
                <a:gd name="T10" fmla="*/ 124037 w 60"/>
                <a:gd name="T11" fmla="*/ 0 h 64"/>
                <a:gd name="T12" fmla="*/ 149328 w 60"/>
                <a:gd name="T13" fmla="*/ 1786 h 64"/>
                <a:gd name="T14" fmla="*/ 181388 w 60"/>
                <a:gd name="T15" fmla="*/ 2539 h 64"/>
                <a:gd name="T16" fmla="*/ 206728 w 60"/>
                <a:gd name="T17" fmla="*/ 4659 h 64"/>
                <a:gd name="T18" fmla="*/ 206728 w 60"/>
                <a:gd name="T19" fmla="*/ 6148 h 64"/>
                <a:gd name="T20" fmla="*/ 175825 w 60"/>
                <a:gd name="T21" fmla="*/ 9834 h 64"/>
                <a:gd name="T22" fmla="*/ 163255 w 60"/>
                <a:gd name="T23" fmla="*/ 10087 h 64"/>
                <a:gd name="T24" fmla="*/ 159245 w 60"/>
                <a:gd name="T25" fmla="*/ 12498 h 64"/>
                <a:gd name="T26" fmla="*/ 131750 w 60"/>
                <a:gd name="T27" fmla="*/ 13394 h 64"/>
                <a:gd name="T28" fmla="*/ 120730 w 60"/>
                <a:gd name="T29" fmla="*/ 15043 h 64"/>
                <a:gd name="T30" fmla="*/ 89597 w 60"/>
                <a:gd name="T31" fmla="*/ 15373 h 64"/>
                <a:gd name="T32" fmla="*/ 80542 w 60"/>
                <a:gd name="T33" fmla="*/ 17064 h 64"/>
                <a:gd name="T34" fmla="*/ 32255 w 60"/>
                <a:gd name="T35" fmla="*/ 17771 h 64"/>
                <a:gd name="T36" fmla="*/ 0 w 60"/>
                <a:gd name="T37" fmla="*/ 12430 h 6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64">
                  <a:moveTo>
                    <a:pt x="0" y="44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30" y="4"/>
                    <a:pt x="30" y="2"/>
                  </a:cubicBezTo>
                  <a:cubicBezTo>
                    <a:pt x="30" y="1"/>
                    <a:pt x="35" y="0"/>
                    <a:pt x="35" y="0"/>
                  </a:cubicBezTo>
                  <a:cubicBezTo>
                    <a:pt x="37" y="4"/>
                    <a:pt x="40" y="6"/>
                    <a:pt x="42" y="6"/>
                  </a:cubicBezTo>
                  <a:cubicBezTo>
                    <a:pt x="44" y="7"/>
                    <a:pt x="49" y="6"/>
                    <a:pt x="51" y="9"/>
                  </a:cubicBezTo>
                  <a:cubicBezTo>
                    <a:pt x="52" y="12"/>
                    <a:pt x="57" y="17"/>
                    <a:pt x="58" y="17"/>
                  </a:cubicBezTo>
                  <a:cubicBezTo>
                    <a:pt x="60" y="18"/>
                    <a:pt x="60" y="20"/>
                    <a:pt x="58" y="22"/>
                  </a:cubicBezTo>
                  <a:cubicBezTo>
                    <a:pt x="57" y="24"/>
                    <a:pt x="52" y="34"/>
                    <a:pt x="50" y="35"/>
                  </a:cubicBezTo>
                  <a:cubicBezTo>
                    <a:pt x="49" y="35"/>
                    <a:pt x="46" y="34"/>
                    <a:pt x="46" y="36"/>
                  </a:cubicBezTo>
                  <a:cubicBezTo>
                    <a:pt x="45" y="39"/>
                    <a:pt x="46" y="44"/>
                    <a:pt x="45" y="45"/>
                  </a:cubicBezTo>
                  <a:cubicBezTo>
                    <a:pt x="44" y="46"/>
                    <a:pt x="39" y="46"/>
                    <a:pt x="37" y="48"/>
                  </a:cubicBezTo>
                  <a:cubicBezTo>
                    <a:pt x="35" y="51"/>
                    <a:pt x="36" y="53"/>
                    <a:pt x="34" y="54"/>
                  </a:cubicBezTo>
                  <a:cubicBezTo>
                    <a:pt x="32" y="55"/>
                    <a:pt x="27" y="54"/>
                    <a:pt x="25" y="55"/>
                  </a:cubicBezTo>
                  <a:cubicBezTo>
                    <a:pt x="24" y="57"/>
                    <a:pt x="26" y="61"/>
                    <a:pt x="23" y="61"/>
                  </a:cubicBezTo>
                  <a:cubicBezTo>
                    <a:pt x="21" y="61"/>
                    <a:pt x="14" y="62"/>
                    <a:pt x="9" y="64"/>
                  </a:cubicBezTo>
                  <a:cubicBezTo>
                    <a:pt x="0" y="44"/>
                    <a:pt x="0" y="44"/>
                    <a:pt x="0" y="4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4" name="Freeform 64"/>
            <p:cNvSpPr>
              <a:spLocks/>
            </p:cNvSpPr>
            <p:nvPr/>
          </p:nvSpPr>
          <p:spPr bwMode="auto">
            <a:xfrm>
              <a:off x="6675718" y="4048992"/>
              <a:ext cx="48824" cy="36950"/>
            </a:xfrm>
            <a:custGeom>
              <a:avLst/>
              <a:gdLst>
                <a:gd name="T0" fmla="*/ 45516 w 17"/>
                <a:gd name="T1" fmla="*/ 3400 h 14"/>
                <a:gd name="T2" fmla="*/ 9169 w 17"/>
                <a:gd name="T3" fmla="*/ 2380 h 14"/>
                <a:gd name="T4" fmla="*/ 45516 w 17"/>
                <a:gd name="T5" fmla="*/ 1 h 14"/>
                <a:gd name="T6" fmla="*/ 80753 w 17"/>
                <a:gd name="T7" fmla="*/ 680 h 14"/>
                <a:gd name="T8" fmla="*/ 72125 w 17"/>
                <a:gd name="T9" fmla="*/ 1981 h 14"/>
                <a:gd name="T10" fmla="*/ 86853 w 17"/>
                <a:gd name="T11" fmla="*/ 4043 h 14"/>
                <a:gd name="T12" fmla="*/ 56999 w 17"/>
                <a:gd name="T13" fmla="*/ 4244 h 14"/>
                <a:gd name="T14" fmla="*/ 45516 w 17"/>
                <a:gd name="T15" fmla="*/ 3400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7" h="14">
                  <a:moveTo>
                    <a:pt x="9" y="11"/>
                  </a:moveTo>
                  <a:cubicBezTo>
                    <a:pt x="9" y="11"/>
                    <a:pt x="0" y="9"/>
                    <a:pt x="2" y="8"/>
                  </a:cubicBezTo>
                  <a:cubicBezTo>
                    <a:pt x="4" y="7"/>
                    <a:pt x="6" y="1"/>
                    <a:pt x="9" y="1"/>
                  </a:cubicBezTo>
                  <a:cubicBezTo>
                    <a:pt x="12" y="0"/>
                    <a:pt x="16" y="2"/>
                    <a:pt x="16" y="2"/>
                  </a:cubicBezTo>
                  <a:cubicBezTo>
                    <a:pt x="14" y="3"/>
                    <a:pt x="13" y="3"/>
                    <a:pt x="14" y="6"/>
                  </a:cubicBezTo>
                  <a:cubicBezTo>
                    <a:pt x="15" y="9"/>
                    <a:pt x="16" y="11"/>
                    <a:pt x="17" y="13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5" name="Freeform 65"/>
            <p:cNvSpPr>
              <a:spLocks/>
            </p:cNvSpPr>
            <p:nvPr/>
          </p:nvSpPr>
          <p:spPr bwMode="auto">
            <a:xfrm>
              <a:off x="6684136" y="3433782"/>
              <a:ext cx="870413" cy="365800"/>
            </a:xfrm>
            <a:custGeom>
              <a:avLst/>
              <a:gdLst>
                <a:gd name="T0" fmla="*/ 9333 w 312"/>
                <a:gd name="T1" fmla="*/ 14792 h 140"/>
                <a:gd name="T2" fmla="*/ 48447 w 312"/>
                <a:gd name="T3" fmla="*/ 14853 h 140"/>
                <a:gd name="T4" fmla="*/ 60557 w 312"/>
                <a:gd name="T5" fmla="*/ 12344 h 140"/>
                <a:gd name="T6" fmla="*/ 171720 w 312"/>
                <a:gd name="T7" fmla="*/ 10459 h 140"/>
                <a:gd name="T8" fmla="*/ 231420 w 312"/>
                <a:gd name="T9" fmla="*/ 12699 h 140"/>
                <a:gd name="T10" fmla="*/ 290496 w 312"/>
                <a:gd name="T11" fmla="*/ 11221 h 140"/>
                <a:gd name="T12" fmla="*/ 338519 w 312"/>
                <a:gd name="T13" fmla="*/ 12344 h 140"/>
                <a:gd name="T14" fmla="*/ 374339 w 312"/>
                <a:gd name="T15" fmla="*/ 10502 h 140"/>
                <a:gd name="T16" fmla="*/ 362086 w 312"/>
                <a:gd name="T17" fmla="*/ 7934 h 140"/>
                <a:gd name="T18" fmla="*/ 368455 w 312"/>
                <a:gd name="T19" fmla="*/ 3734 h 140"/>
                <a:gd name="T20" fmla="*/ 487264 w 312"/>
                <a:gd name="T21" fmla="*/ 2112 h 140"/>
                <a:gd name="T22" fmla="*/ 560943 w 312"/>
                <a:gd name="T23" fmla="*/ 0 h 140"/>
                <a:gd name="T24" fmla="*/ 610549 w 312"/>
                <a:gd name="T25" fmla="*/ 3085 h 140"/>
                <a:gd name="T26" fmla="*/ 668030 w 312"/>
                <a:gd name="T27" fmla="*/ 5229 h 140"/>
                <a:gd name="T28" fmla="*/ 747055 w 312"/>
                <a:gd name="T29" fmla="*/ 2987 h 140"/>
                <a:gd name="T30" fmla="*/ 827147 w 312"/>
                <a:gd name="T31" fmla="*/ 11771 h 140"/>
                <a:gd name="T32" fmla="*/ 875455 w 312"/>
                <a:gd name="T33" fmla="*/ 11771 h 140"/>
                <a:gd name="T34" fmla="*/ 949172 w 312"/>
                <a:gd name="T35" fmla="*/ 14792 h 140"/>
                <a:gd name="T36" fmla="*/ 994222 w 312"/>
                <a:gd name="T37" fmla="*/ 14939 h 140"/>
                <a:gd name="T38" fmla="*/ 988748 w 312"/>
                <a:gd name="T39" fmla="*/ 17922 h 140"/>
                <a:gd name="T40" fmla="*/ 963950 w 312"/>
                <a:gd name="T41" fmla="*/ 21633 h 140"/>
                <a:gd name="T42" fmla="*/ 881240 w 312"/>
                <a:gd name="T43" fmla="*/ 25348 h 140"/>
                <a:gd name="T44" fmla="*/ 842102 w 312"/>
                <a:gd name="T45" fmla="*/ 30595 h 140"/>
                <a:gd name="T46" fmla="*/ 815258 w 312"/>
                <a:gd name="T47" fmla="*/ 32217 h 140"/>
                <a:gd name="T48" fmla="*/ 717957 w 312"/>
                <a:gd name="T49" fmla="*/ 31522 h 140"/>
                <a:gd name="T50" fmla="*/ 664746 w 312"/>
                <a:gd name="T51" fmla="*/ 32755 h 140"/>
                <a:gd name="T52" fmla="*/ 598684 w 312"/>
                <a:gd name="T53" fmla="*/ 32777 h 140"/>
                <a:gd name="T54" fmla="*/ 545912 w 312"/>
                <a:gd name="T55" fmla="*/ 35849 h 140"/>
                <a:gd name="T56" fmla="*/ 501483 w 312"/>
                <a:gd name="T57" fmla="*/ 34073 h 140"/>
                <a:gd name="T58" fmla="*/ 462490 w 312"/>
                <a:gd name="T59" fmla="*/ 29587 h 140"/>
                <a:gd name="T60" fmla="*/ 368455 w 312"/>
                <a:gd name="T61" fmla="*/ 28574 h 140"/>
                <a:gd name="T62" fmla="*/ 355396 w 312"/>
                <a:gd name="T63" fmla="*/ 26419 h 140"/>
                <a:gd name="T64" fmla="*/ 365265 w 312"/>
                <a:gd name="T65" fmla="*/ 23545 h 140"/>
                <a:gd name="T66" fmla="*/ 333057 w 312"/>
                <a:gd name="T67" fmla="*/ 23248 h 140"/>
                <a:gd name="T68" fmla="*/ 300466 w 312"/>
                <a:gd name="T69" fmla="*/ 25347 h 140"/>
                <a:gd name="T70" fmla="*/ 236629 w 312"/>
                <a:gd name="T71" fmla="*/ 35385 h 140"/>
                <a:gd name="T72" fmla="*/ 200994 w 312"/>
                <a:gd name="T73" fmla="*/ 33299 h 140"/>
                <a:gd name="T74" fmla="*/ 148183 w 312"/>
                <a:gd name="T75" fmla="*/ 34073 h 140"/>
                <a:gd name="T76" fmla="*/ 151995 w 312"/>
                <a:gd name="T77" fmla="*/ 32121 h 140"/>
                <a:gd name="T78" fmla="*/ 118787 w 312"/>
                <a:gd name="T79" fmla="*/ 31444 h 140"/>
                <a:gd name="T80" fmla="*/ 100346 w 312"/>
                <a:gd name="T81" fmla="*/ 29049 h 140"/>
                <a:gd name="T82" fmla="*/ 118787 w 312"/>
                <a:gd name="T83" fmla="*/ 27641 h 140"/>
                <a:gd name="T84" fmla="*/ 118787 w 312"/>
                <a:gd name="T85" fmla="*/ 25401 h 140"/>
                <a:gd name="T86" fmla="*/ 162476 w 312"/>
                <a:gd name="T87" fmla="*/ 24092 h 140"/>
                <a:gd name="T88" fmla="*/ 118787 w 312"/>
                <a:gd name="T89" fmla="*/ 21660 h 140"/>
                <a:gd name="T90" fmla="*/ 70365 w 312"/>
                <a:gd name="T91" fmla="*/ 23900 h 140"/>
                <a:gd name="T92" fmla="*/ 53967 w 312"/>
                <a:gd name="T93" fmla="*/ 20920 h 140"/>
                <a:gd name="T94" fmla="*/ 0 w 312"/>
                <a:gd name="T95" fmla="*/ 17960 h 14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12" h="140">
                  <a:moveTo>
                    <a:pt x="0" y="71"/>
                  </a:moveTo>
                  <a:cubicBezTo>
                    <a:pt x="0" y="71"/>
                    <a:pt x="3" y="58"/>
                    <a:pt x="3" y="57"/>
                  </a:cubicBezTo>
                  <a:cubicBezTo>
                    <a:pt x="3" y="55"/>
                    <a:pt x="7" y="52"/>
                    <a:pt x="8" y="51"/>
                  </a:cubicBezTo>
                  <a:cubicBezTo>
                    <a:pt x="9" y="50"/>
                    <a:pt x="14" y="58"/>
                    <a:pt x="15" y="58"/>
                  </a:cubicBezTo>
                  <a:cubicBezTo>
                    <a:pt x="16" y="58"/>
                    <a:pt x="19" y="55"/>
                    <a:pt x="20" y="54"/>
                  </a:cubicBezTo>
                  <a:cubicBezTo>
                    <a:pt x="21" y="54"/>
                    <a:pt x="18" y="48"/>
                    <a:pt x="19" y="48"/>
                  </a:cubicBezTo>
                  <a:cubicBezTo>
                    <a:pt x="21" y="47"/>
                    <a:pt x="33" y="38"/>
                    <a:pt x="34" y="38"/>
                  </a:cubicBezTo>
                  <a:cubicBezTo>
                    <a:pt x="36" y="38"/>
                    <a:pt x="52" y="39"/>
                    <a:pt x="53" y="40"/>
                  </a:cubicBezTo>
                  <a:cubicBezTo>
                    <a:pt x="54" y="40"/>
                    <a:pt x="61" y="48"/>
                    <a:pt x="63" y="48"/>
                  </a:cubicBezTo>
                  <a:cubicBezTo>
                    <a:pt x="64" y="48"/>
                    <a:pt x="71" y="51"/>
                    <a:pt x="72" y="50"/>
                  </a:cubicBezTo>
                  <a:cubicBezTo>
                    <a:pt x="73" y="49"/>
                    <a:pt x="76" y="45"/>
                    <a:pt x="79" y="45"/>
                  </a:cubicBezTo>
                  <a:cubicBezTo>
                    <a:pt x="82" y="44"/>
                    <a:pt x="88" y="44"/>
                    <a:pt x="90" y="44"/>
                  </a:cubicBezTo>
                  <a:cubicBezTo>
                    <a:pt x="91" y="44"/>
                    <a:pt x="98" y="49"/>
                    <a:pt x="100" y="49"/>
                  </a:cubicBezTo>
                  <a:cubicBezTo>
                    <a:pt x="102" y="49"/>
                    <a:pt x="104" y="48"/>
                    <a:pt x="105" y="48"/>
                  </a:cubicBezTo>
                  <a:cubicBezTo>
                    <a:pt x="107" y="48"/>
                    <a:pt x="113" y="48"/>
                    <a:pt x="114" y="47"/>
                  </a:cubicBezTo>
                  <a:cubicBezTo>
                    <a:pt x="116" y="46"/>
                    <a:pt x="116" y="42"/>
                    <a:pt x="116" y="41"/>
                  </a:cubicBezTo>
                  <a:cubicBezTo>
                    <a:pt x="116" y="40"/>
                    <a:pt x="104" y="37"/>
                    <a:pt x="105" y="35"/>
                  </a:cubicBezTo>
                  <a:cubicBezTo>
                    <a:pt x="106" y="34"/>
                    <a:pt x="111" y="33"/>
                    <a:pt x="112" y="31"/>
                  </a:cubicBezTo>
                  <a:cubicBezTo>
                    <a:pt x="112" y="29"/>
                    <a:pt x="110" y="26"/>
                    <a:pt x="110" y="25"/>
                  </a:cubicBezTo>
                  <a:cubicBezTo>
                    <a:pt x="111" y="25"/>
                    <a:pt x="113" y="15"/>
                    <a:pt x="114" y="15"/>
                  </a:cubicBezTo>
                  <a:cubicBezTo>
                    <a:pt x="115" y="14"/>
                    <a:pt x="119" y="15"/>
                    <a:pt x="122" y="14"/>
                  </a:cubicBezTo>
                  <a:cubicBezTo>
                    <a:pt x="125" y="14"/>
                    <a:pt x="148" y="8"/>
                    <a:pt x="151" y="8"/>
                  </a:cubicBezTo>
                  <a:cubicBezTo>
                    <a:pt x="154" y="7"/>
                    <a:pt x="165" y="4"/>
                    <a:pt x="167" y="3"/>
                  </a:cubicBezTo>
                  <a:cubicBezTo>
                    <a:pt x="168" y="2"/>
                    <a:pt x="172" y="0"/>
                    <a:pt x="174" y="0"/>
                  </a:cubicBezTo>
                  <a:cubicBezTo>
                    <a:pt x="175" y="0"/>
                    <a:pt x="185" y="0"/>
                    <a:pt x="186" y="1"/>
                  </a:cubicBezTo>
                  <a:cubicBezTo>
                    <a:pt x="187" y="2"/>
                    <a:pt x="188" y="11"/>
                    <a:pt x="189" y="12"/>
                  </a:cubicBezTo>
                  <a:cubicBezTo>
                    <a:pt x="190" y="13"/>
                    <a:pt x="205" y="13"/>
                    <a:pt x="206" y="14"/>
                  </a:cubicBezTo>
                  <a:cubicBezTo>
                    <a:pt x="206" y="15"/>
                    <a:pt x="205" y="20"/>
                    <a:pt x="207" y="20"/>
                  </a:cubicBezTo>
                  <a:cubicBezTo>
                    <a:pt x="209" y="20"/>
                    <a:pt x="214" y="18"/>
                    <a:pt x="217" y="17"/>
                  </a:cubicBezTo>
                  <a:cubicBezTo>
                    <a:pt x="220" y="16"/>
                    <a:pt x="229" y="11"/>
                    <a:pt x="231" y="11"/>
                  </a:cubicBezTo>
                  <a:cubicBezTo>
                    <a:pt x="232" y="11"/>
                    <a:pt x="234" y="15"/>
                    <a:pt x="235" y="18"/>
                  </a:cubicBezTo>
                  <a:cubicBezTo>
                    <a:pt x="237" y="20"/>
                    <a:pt x="256" y="46"/>
                    <a:pt x="256" y="46"/>
                  </a:cubicBezTo>
                  <a:cubicBezTo>
                    <a:pt x="256" y="46"/>
                    <a:pt x="263" y="43"/>
                    <a:pt x="264" y="43"/>
                  </a:cubicBezTo>
                  <a:cubicBezTo>
                    <a:pt x="266" y="43"/>
                    <a:pt x="267" y="44"/>
                    <a:pt x="271" y="46"/>
                  </a:cubicBezTo>
                  <a:cubicBezTo>
                    <a:pt x="275" y="48"/>
                    <a:pt x="281" y="45"/>
                    <a:pt x="284" y="46"/>
                  </a:cubicBezTo>
                  <a:cubicBezTo>
                    <a:pt x="287" y="47"/>
                    <a:pt x="292" y="54"/>
                    <a:pt x="294" y="57"/>
                  </a:cubicBezTo>
                  <a:cubicBezTo>
                    <a:pt x="297" y="59"/>
                    <a:pt x="299" y="60"/>
                    <a:pt x="302" y="59"/>
                  </a:cubicBezTo>
                  <a:cubicBezTo>
                    <a:pt x="305" y="59"/>
                    <a:pt x="306" y="57"/>
                    <a:pt x="308" y="59"/>
                  </a:cubicBezTo>
                  <a:cubicBezTo>
                    <a:pt x="309" y="60"/>
                    <a:pt x="311" y="61"/>
                    <a:pt x="312" y="62"/>
                  </a:cubicBezTo>
                  <a:cubicBezTo>
                    <a:pt x="306" y="69"/>
                    <a:pt x="306" y="69"/>
                    <a:pt x="306" y="69"/>
                  </a:cubicBezTo>
                  <a:cubicBezTo>
                    <a:pt x="305" y="70"/>
                    <a:pt x="303" y="70"/>
                    <a:pt x="301" y="71"/>
                  </a:cubicBezTo>
                  <a:cubicBezTo>
                    <a:pt x="299" y="72"/>
                    <a:pt x="301" y="82"/>
                    <a:pt x="298" y="84"/>
                  </a:cubicBezTo>
                  <a:cubicBezTo>
                    <a:pt x="295" y="85"/>
                    <a:pt x="281" y="82"/>
                    <a:pt x="281" y="82"/>
                  </a:cubicBezTo>
                  <a:cubicBezTo>
                    <a:pt x="281" y="82"/>
                    <a:pt x="275" y="99"/>
                    <a:pt x="273" y="99"/>
                  </a:cubicBezTo>
                  <a:cubicBezTo>
                    <a:pt x="272" y="99"/>
                    <a:pt x="258" y="103"/>
                    <a:pt x="258" y="103"/>
                  </a:cubicBezTo>
                  <a:cubicBezTo>
                    <a:pt x="258" y="103"/>
                    <a:pt x="261" y="118"/>
                    <a:pt x="261" y="119"/>
                  </a:cubicBezTo>
                  <a:cubicBezTo>
                    <a:pt x="261" y="120"/>
                    <a:pt x="260" y="125"/>
                    <a:pt x="259" y="129"/>
                  </a:cubicBezTo>
                  <a:cubicBezTo>
                    <a:pt x="252" y="126"/>
                    <a:pt x="252" y="126"/>
                    <a:pt x="252" y="126"/>
                  </a:cubicBezTo>
                  <a:cubicBezTo>
                    <a:pt x="251" y="125"/>
                    <a:pt x="243" y="123"/>
                    <a:pt x="240" y="123"/>
                  </a:cubicBezTo>
                  <a:cubicBezTo>
                    <a:pt x="236" y="123"/>
                    <a:pt x="223" y="123"/>
                    <a:pt x="222" y="123"/>
                  </a:cubicBezTo>
                  <a:cubicBezTo>
                    <a:pt x="220" y="123"/>
                    <a:pt x="213" y="120"/>
                    <a:pt x="210" y="120"/>
                  </a:cubicBezTo>
                  <a:cubicBezTo>
                    <a:pt x="207" y="120"/>
                    <a:pt x="207" y="127"/>
                    <a:pt x="206" y="127"/>
                  </a:cubicBezTo>
                  <a:cubicBezTo>
                    <a:pt x="205" y="127"/>
                    <a:pt x="191" y="123"/>
                    <a:pt x="190" y="123"/>
                  </a:cubicBezTo>
                  <a:cubicBezTo>
                    <a:pt x="189" y="123"/>
                    <a:pt x="187" y="126"/>
                    <a:pt x="185" y="128"/>
                  </a:cubicBezTo>
                  <a:cubicBezTo>
                    <a:pt x="184" y="129"/>
                    <a:pt x="184" y="129"/>
                    <a:pt x="183" y="130"/>
                  </a:cubicBezTo>
                  <a:cubicBezTo>
                    <a:pt x="181" y="131"/>
                    <a:pt x="170" y="140"/>
                    <a:pt x="169" y="140"/>
                  </a:cubicBezTo>
                  <a:cubicBezTo>
                    <a:pt x="168" y="140"/>
                    <a:pt x="156" y="139"/>
                    <a:pt x="155" y="139"/>
                  </a:cubicBezTo>
                  <a:cubicBezTo>
                    <a:pt x="154" y="139"/>
                    <a:pt x="155" y="133"/>
                    <a:pt x="155" y="133"/>
                  </a:cubicBezTo>
                  <a:cubicBezTo>
                    <a:pt x="154" y="133"/>
                    <a:pt x="149" y="132"/>
                    <a:pt x="150" y="131"/>
                  </a:cubicBezTo>
                  <a:cubicBezTo>
                    <a:pt x="150" y="130"/>
                    <a:pt x="144" y="116"/>
                    <a:pt x="143" y="115"/>
                  </a:cubicBezTo>
                  <a:cubicBezTo>
                    <a:pt x="142" y="115"/>
                    <a:pt x="120" y="118"/>
                    <a:pt x="119" y="118"/>
                  </a:cubicBezTo>
                  <a:cubicBezTo>
                    <a:pt x="118" y="118"/>
                    <a:pt x="114" y="112"/>
                    <a:pt x="114" y="112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12" y="106"/>
                    <a:pt x="110" y="106"/>
                    <a:pt x="110" y="103"/>
                  </a:cubicBezTo>
                  <a:cubicBezTo>
                    <a:pt x="110" y="100"/>
                    <a:pt x="108" y="98"/>
                    <a:pt x="108" y="96"/>
                  </a:cubicBezTo>
                  <a:cubicBezTo>
                    <a:pt x="108" y="93"/>
                    <a:pt x="111" y="94"/>
                    <a:pt x="113" y="92"/>
                  </a:cubicBezTo>
                  <a:cubicBezTo>
                    <a:pt x="115" y="90"/>
                    <a:pt x="110" y="89"/>
                    <a:pt x="108" y="88"/>
                  </a:cubicBezTo>
                  <a:cubicBezTo>
                    <a:pt x="107" y="88"/>
                    <a:pt x="104" y="89"/>
                    <a:pt x="103" y="91"/>
                  </a:cubicBezTo>
                  <a:cubicBezTo>
                    <a:pt x="102" y="92"/>
                    <a:pt x="99" y="94"/>
                    <a:pt x="97" y="94"/>
                  </a:cubicBezTo>
                  <a:cubicBezTo>
                    <a:pt x="95" y="94"/>
                    <a:pt x="94" y="96"/>
                    <a:pt x="93" y="98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1" y="138"/>
                    <a:pt x="70" y="138"/>
                    <a:pt x="69" y="138"/>
                  </a:cubicBezTo>
                  <a:cubicBezTo>
                    <a:pt x="68" y="137"/>
                    <a:pt x="64" y="132"/>
                    <a:pt x="62" y="130"/>
                  </a:cubicBezTo>
                  <a:cubicBezTo>
                    <a:pt x="59" y="128"/>
                    <a:pt x="54" y="129"/>
                    <a:pt x="52" y="130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3"/>
                    <a:pt x="46" y="132"/>
                    <a:pt x="45" y="132"/>
                  </a:cubicBezTo>
                  <a:cubicBezTo>
                    <a:pt x="45" y="130"/>
                    <a:pt x="47" y="126"/>
                    <a:pt x="47" y="125"/>
                  </a:cubicBezTo>
                  <a:cubicBezTo>
                    <a:pt x="47" y="125"/>
                    <a:pt x="44" y="121"/>
                    <a:pt x="41" y="121"/>
                  </a:cubicBezTo>
                  <a:cubicBezTo>
                    <a:pt x="39" y="121"/>
                    <a:pt x="38" y="123"/>
                    <a:pt x="37" y="122"/>
                  </a:cubicBezTo>
                  <a:cubicBezTo>
                    <a:pt x="36" y="120"/>
                    <a:pt x="39" y="119"/>
                    <a:pt x="37" y="117"/>
                  </a:cubicBezTo>
                  <a:cubicBezTo>
                    <a:pt x="35" y="115"/>
                    <a:pt x="33" y="114"/>
                    <a:pt x="31" y="113"/>
                  </a:cubicBezTo>
                  <a:cubicBezTo>
                    <a:pt x="29" y="111"/>
                    <a:pt x="30" y="111"/>
                    <a:pt x="29" y="109"/>
                  </a:cubicBezTo>
                  <a:cubicBezTo>
                    <a:pt x="29" y="107"/>
                    <a:pt x="36" y="109"/>
                    <a:pt x="37" y="108"/>
                  </a:cubicBezTo>
                  <a:cubicBezTo>
                    <a:pt x="38" y="108"/>
                    <a:pt x="35" y="105"/>
                    <a:pt x="34" y="104"/>
                  </a:cubicBezTo>
                  <a:cubicBezTo>
                    <a:pt x="33" y="102"/>
                    <a:pt x="36" y="101"/>
                    <a:pt x="37" y="100"/>
                  </a:cubicBezTo>
                  <a:cubicBezTo>
                    <a:pt x="39" y="99"/>
                    <a:pt x="47" y="99"/>
                    <a:pt x="48" y="99"/>
                  </a:cubicBezTo>
                  <a:cubicBezTo>
                    <a:pt x="49" y="99"/>
                    <a:pt x="49" y="95"/>
                    <a:pt x="50" y="94"/>
                  </a:cubicBezTo>
                  <a:cubicBezTo>
                    <a:pt x="50" y="92"/>
                    <a:pt x="50" y="88"/>
                    <a:pt x="48" y="87"/>
                  </a:cubicBezTo>
                  <a:cubicBezTo>
                    <a:pt x="47" y="85"/>
                    <a:pt x="39" y="85"/>
                    <a:pt x="37" y="85"/>
                  </a:cubicBezTo>
                  <a:cubicBezTo>
                    <a:pt x="35" y="85"/>
                    <a:pt x="28" y="88"/>
                    <a:pt x="27" y="90"/>
                  </a:cubicBezTo>
                  <a:cubicBezTo>
                    <a:pt x="26" y="91"/>
                    <a:pt x="24" y="92"/>
                    <a:pt x="2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6"/>
                    <a:pt x="18" y="83"/>
                    <a:pt x="17" y="81"/>
                  </a:cubicBezTo>
                  <a:cubicBezTo>
                    <a:pt x="15" y="79"/>
                    <a:pt x="9" y="78"/>
                    <a:pt x="7" y="77"/>
                  </a:cubicBezTo>
                  <a:cubicBezTo>
                    <a:pt x="5" y="76"/>
                    <a:pt x="0" y="71"/>
                    <a:pt x="0" y="7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6" name="Freeform 66"/>
            <p:cNvSpPr>
              <a:spLocks/>
            </p:cNvSpPr>
            <p:nvPr/>
          </p:nvSpPr>
          <p:spPr bwMode="auto">
            <a:xfrm>
              <a:off x="6610059" y="4919153"/>
              <a:ext cx="159940" cy="280816"/>
            </a:xfrm>
            <a:custGeom>
              <a:avLst/>
              <a:gdLst>
                <a:gd name="T0" fmla="*/ 15952 w 58"/>
                <a:gd name="T1" fmla="*/ 24912 h 107"/>
                <a:gd name="T2" fmla="*/ 7818 w 58"/>
                <a:gd name="T3" fmla="*/ 20825 h 107"/>
                <a:gd name="T4" fmla="*/ 34354 w 58"/>
                <a:gd name="T5" fmla="*/ 16868 h 107"/>
                <a:gd name="T6" fmla="*/ 20974 w 58"/>
                <a:gd name="T7" fmla="*/ 11607 h 107"/>
                <a:gd name="T8" fmla="*/ 38080 w 58"/>
                <a:gd name="T9" fmla="*/ 8690 h 107"/>
                <a:gd name="T10" fmla="*/ 84236 w 58"/>
                <a:gd name="T11" fmla="*/ 6904 h 107"/>
                <a:gd name="T12" fmla="*/ 105221 w 58"/>
                <a:gd name="T13" fmla="*/ 2712 h 107"/>
                <a:gd name="T14" fmla="*/ 120917 w 58"/>
                <a:gd name="T15" fmla="*/ 1774 h 107"/>
                <a:gd name="T16" fmla="*/ 131375 w 58"/>
                <a:gd name="T17" fmla="*/ 0 h 107"/>
                <a:gd name="T18" fmla="*/ 147293 w 58"/>
                <a:gd name="T19" fmla="*/ 2520 h 107"/>
                <a:gd name="T20" fmla="*/ 150960 w 58"/>
                <a:gd name="T21" fmla="*/ 7225 h 107"/>
                <a:gd name="T22" fmla="*/ 133814 w 58"/>
                <a:gd name="T23" fmla="*/ 8690 h 107"/>
                <a:gd name="T24" fmla="*/ 131375 w 58"/>
                <a:gd name="T25" fmla="*/ 12345 h 107"/>
                <a:gd name="T26" fmla="*/ 88054 w 58"/>
                <a:gd name="T27" fmla="*/ 27570 h 107"/>
                <a:gd name="T28" fmla="*/ 59208 w 58"/>
                <a:gd name="T29" fmla="*/ 29424 h 107"/>
                <a:gd name="T30" fmla="*/ 29388 w 58"/>
                <a:gd name="T31" fmla="*/ 28238 h 107"/>
                <a:gd name="T32" fmla="*/ 15952 w 58"/>
                <a:gd name="T33" fmla="*/ 24912 h 10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8" h="107">
                  <a:moveTo>
                    <a:pt x="6" y="91"/>
                  </a:moveTo>
                  <a:cubicBezTo>
                    <a:pt x="6" y="85"/>
                    <a:pt x="0" y="81"/>
                    <a:pt x="3" y="76"/>
                  </a:cubicBezTo>
                  <a:cubicBezTo>
                    <a:pt x="7" y="72"/>
                    <a:pt x="13" y="67"/>
                    <a:pt x="13" y="61"/>
                  </a:cubicBezTo>
                  <a:cubicBezTo>
                    <a:pt x="13" y="54"/>
                    <a:pt x="6" y="47"/>
                    <a:pt x="8" y="42"/>
                  </a:cubicBezTo>
                  <a:cubicBezTo>
                    <a:pt x="10" y="37"/>
                    <a:pt x="11" y="33"/>
                    <a:pt x="14" y="32"/>
                  </a:cubicBezTo>
                  <a:cubicBezTo>
                    <a:pt x="16" y="31"/>
                    <a:pt x="25" y="32"/>
                    <a:pt x="31" y="25"/>
                  </a:cubicBezTo>
                  <a:cubicBezTo>
                    <a:pt x="36" y="18"/>
                    <a:pt x="39" y="12"/>
                    <a:pt x="39" y="10"/>
                  </a:cubicBezTo>
                  <a:cubicBezTo>
                    <a:pt x="40" y="8"/>
                    <a:pt x="45" y="9"/>
                    <a:pt x="45" y="6"/>
                  </a:cubicBezTo>
                  <a:cubicBezTo>
                    <a:pt x="46" y="4"/>
                    <a:pt x="49" y="0"/>
                    <a:pt x="49" y="0"/>
                  </a:cubicBezTo>
                  <a:cubicBezTo>
                    <a:pt x="52" y="1"/>
                    <a:pt x="55" y="5"/>
                    <a:pt x="55" y="9"/>
                  </a:cubicBezTo>
                  <a:cubicBezTo>
                    <a:pt x="55" y="13"/>
                    <a:pt x="58" y="21"/>
                    <a:pt x="56" y="26"/>
                  </a:cubicBezTo>
                  <a:cubicBezTo>
                    <a:pt x="54" y="30"/>
                    <a:pt x="50" y="28"/>
                    <a:pt x="50" y="32"/>
                  </a:cubicBezTo>
                  <a:cubicBezTo>
                    <a:pt x="50" y="36"/>
                    <a:pt x="53" y="39"/>
                    <a:pt x="49" y="45"/>
                  </a:cubicBezTo>
                  <a:cubicBezTo>
                    <a:pt x="46" y="51"/>
                    <a:pt x="35" y="97"/>
                    <a:pt x="33" y="100"/>
                  </a:cubicBezTo>
                  <a:cubicBezTo>
                    <a:pt x="31" y="103"/>
                    <a:pt x="26" y="107"/>
                    <a:pt x="22" y="107"/>
                  </a:cubicBezTo>
                  <a:cubicBezTo>
                    <a:pt x="18" y="107"/>
                    <a:pt x="11" y="103"/>
                    <a:pt x="11" y="103"/>
                  </a:cubicBezTo>
                  <a:cubicBezTo>
                    <a:pt x="8" y="100"/>
                    <a:pt x="5" y="97"/>
                    <a:pt x="6" y="9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7" name="Freeform 67"/>
            <p:cNvSpPr>
              <a:spLocks/>
            </p:cNvSpPr>
            <p:nvPr/>
          </p:nvSpPr>
          <p:spPr bwMode="auto">
            <a:xfrm>
              <a:off x="6655515" y="3781107"/>
              <a:ext cx="114484" cy="83136"/>
            </a:xfrm>
            <a:custGeom>
              <a:avLst/>
              <a:gdLst>
                <a:gd name="T0" fmla="*/ 5722 w 41"/>
                <a:gd name="T1" fmla="*/ 1713 h 31"/>
                <a:gd name="T2" fmla="*/ 36068 w 41"/>
                <a:gd name="T3" fmla="*/ 2791 h 31"/>
                <a:gd name="T4" fmla="*/ 43296 w 41"/>
                <a:gd name="T5" fmla="*/ 813 h 31"/>
                <a:gd name="T6" fmla="*/ 63124 w 41"/>
                <a:gd name="T7" fmla="*/ 2487 h 31"/>
                <a:gd name="T8" fmla="*/ 74432 w 41"/>
                <a:gd name="T9" fmla="*/ 1713 h 31"/>
                <a:gd name="T10" fmla="*/ 89264 w 41"/>
                <a:gd name="T11" fmla="*/ 0 h 31"/>
                <a:gd name="T12" fmla="*/ 95893 w 41"/>
                <a:gd name="T13" fmla="*/ 1 h 31"/>
                <a:gd name="T14" fmla="*/ 108316 w 41"/>
                <a:gd name="T15" fmla="*/ 3610 h 31"/>
                <a:gd name="T16" fmla="*/ 134204 w 41"/>
                <a:gd name="T17" fmla="*/ 5240 h 31"/>
                <a:gd name="T18" fmla="*/ 114323 w 41"/>
                <a:gd name="T19" fmla="*/ 6155 h 31"/>
                <a:gd name="T20" fmla="*/ 108316 w 41"/>
                <a:gd name="T21" fmla="*/ 8535 h 31"/>
                <a:gd name="T22" fmla="*/ 95893 w 41"/>
                <a:gd name="T23" fmla="*/ 10134 h 31"/>
                <a:gd name="T24" fmla="*/ 95893 w 41"/>
                <a:gd name="T25" fmla="*/ 11874 h 31"/>
                <a:gd name="T26" fmla="*/ 71808 w 41"/>
                <a:gd name="T27" fmla="*/ 10518 h 31"/>
                <a:gd name="T28" fmla="*/ 78421 w 41"/>
                <a:gd name="T29" fmla="*/ 8935 h 31"/>
                <a:gd name="T30" fmla="*/ 68930 w 41"/>
                <a:gd name="T31" fmla="*/ 7606 h 31"/>
                <a:gd name="T32" fmla="*/ 36068 w 41"/>
                <a:gd name="T33" fmla="*/ 9508 h 31"/>
                <a:gd name="T34" fmla="*/ 15740 w 41"/>
                <a:gd name="T35" fmla="*/ 7606 h 31"/>
                <a:gd name="T36" fmla="*/ 19878 w 41"/>
                <a:gd name="T37" fmla="*/ 5880 h 31"/>
                <a:gd name="T38" fmla="*/ 14315 w 41"/>
                <a:gd name="T39" fmla="*/ 4512 h 31"/>
                <a:gd name="T40" fmla="*/ 0 w 41"/>
                <a:gd name="T41" fmla="*/ 1923 h 31"/>
                <a:gd name="T42" fmla="*/ 5722 w 41"/>
                <a:gd name="T43" fmla="*/ 1713 h 3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1" h="31">
                  <a:moveTo>
                    <a:pt x="2" y="4"/>
                  </a:moveTo>
                  <a:cubicBezTo>
                    <a:pt x="4" y="3"/>
                    <a:pt x="8" y="7"/>
                    <a:pt x="11" y="7"/>
                  </a:cubicBezTo>
                  <a:cubicBezTo>
                    <a:pt x="13" y="7"/>
                    <a:pt x="13" y="2"/>
                    <a:pt x="13" y="2"/>
                  </a:cubicBezTo>
                  <a:cubicBezTo>
                    <a:pt x="15" y="4"/>
                    <a:pt x="18" y="6"/>
                    <a:pt x="19" y="6"/>
                  </a:cubicBezTo>
                  <a:cubicBezTo>
                    <a:pt x="21" y="6"/>
                    <a:pt x="22" y="5"/>
                    <a:pt x="23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8" y="1"/>
                    <a:pt x="29" y="1"/>
                  </a:cubicBezTo>
                  <a:cubicBezTo>
                    <a:pt x="31" y="4"/>
                    <a:pt x="32" y="6"/>
                    <a:pt x="33" y="9"/>
                  </a:cubicBezTo>
                  <a:cubicBezTo>
                    <a:pt x="34" y="11"/>
                    <a:pt x="41" y="11"/>
                    <a:pt x="41" y="13"/>
                  </a:cubicBezTo>
                  <a:cubicBezTo>
                    <a:pt x="41" y="15"/>
                    <a:pt x="38" y="15"/>
                    <a:pt x="35" y="16"/>
                  </a:cubicBezTo>
                  <a:cubicBezTo>
                    <a:pt x="32" y="16"/>
                    <a:pt x="33" y="20"/>
                    <a:pt x="33" y="22"/>
                  </a:cubicBezTo>
                  <a:cubicBezTo>
                    <a:pt x="33" y="24"/>
                    <a:pt x="31" y="25"/>
                    <a:pt x="29" y="26"/>
                  </a:cubicBezTo>
                  <a:cubicBezTo>
                    <a:pt x="29" y="26"/>
                    <a:pt x="29" y="29"/>
                    <a:pt x="29" y="31"/>
                  </a:cubicBezTo>
                  <a:cubicBezTo>
                    <a:pt x="27" y="31"/>
                    <a:pt x="22" y="27"/>
                    <a:pt x="22" y="27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8" name="Freeform 68"/>
            <p:cNvSpPr>
              <a:spLocks/>
            </p:cNvSpPr>
            <p:nvPr/>
          </p:nvSpPr>
          <p:spPr bwMode="auto">
            <a:xfrm>
              <a:off x="6636996" y="3832837"/>
              <a:ext cx="409111" cy="323308"/>
            </a:xfrm>
            <a:custGeom>
              <a:avLst/>
              <a:gdLst>
                <a:gd name="T0" fmla="*/ 14671 w 147"/>
                <a:gd name="T1" fmla="*/ 6512 h 123"/>
                <a:gd name="T2" fmla="*/ 5369 w 147"/>
                <a:gd name="T3" fmla="*/ 4577 h 123"/>
                <a:gd name="T4" fmla="*/ 0 w 147"/>
                <a:gd name="T5" fmla="*/ 1791 h 123"/>
                <a:gd name="T6" fmla="*/ 8875 w 147"/>
                <a:gd name="T7" fmla="*/ 1 h 123"/>
                <a:gd name="T8" fmla="*/ 28206 w 147"/>
                <a:gd name="T9" fmla="*/ 2548 h 123"/>
                <a:gd name="T10" fmla="*/ 56966 w 147"/>
                <a:gd name="T11" fmla="*/ 1791 h 123"/>
                <a:gd name="T12" fmla="*/ 86761 w 147"/>
                <a:gd name="T13" fmla="*/ 0 h 123"/>
                <a:gd name="T14" fmla="*/ 95702 w 147"/>
                <a:gd name="T15" fmla="*/ 1259 h 123"/>
                <a:gd name="T16" fmla="*/ 90330 w 147"/>
                <a:gd name="T17" fmla="*/ 2261 h 123"/>
                <a:gd name="T18" fmla="*/ 112897 w 147"/>
                <a:gd name="T19" fmla="*/ 3295 h 123"/>
                <a:gd name="T20" fmla="*/ 112897 w 147"/>
                <a:gd name="T21" fmla="*/ 3917 h 123"/>
                <a:gd name="T22" fmla="*/ 118078 w 147"/>
                <a:gd name="T23" fmla="*/ 5321 h 123"/>
                <a:gd name="T24" fmla="*/ 146527 w 147"/>
                <a:gd name="T25" fmla="*/ 6186 h 123"/>
                <a:gd name="T26" fmla="*/ 186626 w 147"/>
                <a:gd name="T27" fmla="*/ 7929 h 123"/>
                <a:gd name="T28" fmla="*/ 229780 w 147"/>
                <a:gd name="T29" fmla="*/ 6670 h 123"/>
                <a:gd name="T30" fmla="*/ 229780 w 147"/>
                <a:gd name="T31" fmla="*/ 5981 h 123"/>
                <a:gd name="T32" fmla="*/ 229780 w 147"/>
                <a:gd name="T33" fmla="*/ 5981 h 123"/>
                <a:gd name="T34" fmla="*/ 247959 w 147"/>
                <a:gd name="T35" fmla="*/ 5981 h 123"/>
                <a:gd name="T36" fmla="*/ 272977 w 147"/>
                <a:gd name="T37" fmla="*/ 4204 h 123"/>
                <a:gd name="T38" fmla="*/ 310514 w 147"/>
                <a:gd name="T39" fmla="*/ 4204 h 123"/>
                <a:gd name="T40" fmla="*/ 351849 w 147"/>
                <a:gd name="T41" fmla="*/ 5573 h 123"/>
                <a:gd name="T42" fmla="*/ 379840 w 147"/>
                <a:gd name="T43" fmla="*/ 7571 h 123"/>
                <a:gd name="T44" fmla="*/ 403785 w 147"/>
                <a:gd name="T45" fmla="*/ 7929 h 123"/>
                <a:gd name="T46" fmla="*/ 403785 w 147"/>
                <a:gd name="T47" fmla="*/ 10442 h 123"/>
                <a:gd name="T48" fmla="*/ 400401 w 147"/>
                <a:gd name="T49" fmla="*/ 12675 h 123"/>
                <a:gd name="T50" fmla="*/ 385626 w 147"/>
                <a:gd name="T51" fmla="*/ 14522 h 123"/>
                <a:gd name="T52" fmla="*/ 395220 w 147"/>
                <a:gd name="T53" fmla="*/ 20050 h 123"/>
                <a:gd name="T54" fmla="*/ 419644 w 147"/>
                <a:gd name="T55" fmla="*/ 20661 h 123"/>
                <a:gd name="T56" fmla="*/ 419644 w 147"/>
                <a:gd name="T57" fmla="*/ 22165 h 123"/>
                <a:gd name="T58" fmla="*/ 398464 w 147"/>
                <a:gd name="T59" fmla="*/ 24272 h 123"/>
                <a:gd name="T60" fmla="*/ 403785 w 147"/>
                <a:gd name="T61" fmla="*/ 25253 h 123"/>
                <a:gd name="T62" fmla="*/ 417623 w 147"/>
                <a:gd name="T63" fmla="*/ 27121 h 123"/>
                <a:gd name="T64" fmla="*/ 441232 w 147"/>
                <a:gd name="T65" fmla="*/ 27589 h 123"/>
                <a:gd name="T66" fmla="*/ 443781 w 147"/>
                <a:gd name="T67" fmla="*/ 29592 h 123"/>
                <a:gd name="T68" fmla="*/ 457714 w 147"/>
                <a:gd name="T69" fmla="*/ 30074 h 123"/>
                <a:gd name="T70" fmla="*/ 451248 w 147"/>
                <a:gd name="T71" fmla="*/ 31924 h 123"/>
                <a:gd name="T72" fmla="*/ 432302 w 147"/>
                <a:gd name="T73" fmla="*/ 32018 h 123"/>
                <a:gd name="T74" fmla="*/ 423427 w 147"/>
                <a:gd name="T75" fmla="*/ 32879 h 123"/>
                <a:gd name="T76" fmla="*/ 408037 w 147"/>
                <a:gd name="T77" fmla="*/ 34667 h 123"/>
                <a:gd name="T78" fmla="*/ 339294 w 147"/>
                <a:gd name="T79" fmla="*/ 33843 h 123"/>
                <a:gd name="T80" fmla="*/ 313857 w 147"/>
                <a:gd name="T81" fmla="*/ 32712 h 123"/>
                <a:gd name="T82" fmla="*/ 299358 w 147"/>
                <a:gd name="T83" fmla="*/ 30074 h 123"/>
                <a:gd name="T84" fmla="*/ 264615 w 147"/>
                <a:gd name="T85" fmla="*/ 31023 h 123"/>
                <a:gd name="T86" fmla="*/ 219350 w 147"/>
                <a:gd name="T87" fmla="*/ 31023 h 123"/>
                <a:gd name="T88" fmla="*/ 195190 w 147"/>
                <a:gd name="T89" fmla="*/ 29115 h 123"/>
                <a:gd name="T90" fmla="*/ 170758 w 147"/>
                <a:gd name="T91" fmla="*/ 28526 h 123"/>
                <a:gd name="T92" fmla="*/ 139003 w 147"/>
                <a:gd name="T93" fmla="*/ 23109 h 123"/>
                <a:gd name="T94" fmla="*/ 118078 w 147"/>
                <a:gd name="T95" fmla="*/ 23400 h 123"/>
                <a:gd name="T96" fmla="*/ 103298 w 147"/>
                <a:gd name="T97" fmla="*/ 23787 h 123"/>
                <a:gd name="T98" fmla="*/ 86761 w 147"/>
                <a:gd name="T99" fmla="*/ 21478 h 123"/>
                <a:gd name="T100" fmla="*/ 86761 w 147"/>
                <a:gd name="T101" fmla="*/ 19391 h 123"/>
                <a:gd name="T102" fmla="*/ 77076 w 147"/>
                <a:gd name="T103" fmla="*/ 18034 h 123"/>
                <a:gd name="T104" fmla="*/ 46626 w 147"/>
                <a:gd name="T105" fmla="*/ 16719 h 123"/>
                <a:gd name="T106" fmla="*/ 31750 w 147"/>
                <a:gd name="T107" fmla="*/ 13851 h 123"/>
                <a:gd name="T108" fmla="*/ 43211 w 147"/>
                <a:gd name="T109" fmla="*/ 11873 h 123"/>
                <a:gd name="T110" fmla="*/ 48559 w 147"/>
                <a:gd name="T111" fmla="*/ 10207 h 123"/>
                <a:gd name="T112" fmla="*/ 28206 w 147"/>
                <a:gd name="T113" fmla="*/ 9265 h 123"/>
                <a:gd name="T114" fmla="*/ 14671 w 147"/>
                <a:gd name="T115" fmla="*/ 6512 h 12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47" h="123">
                  <a:moveTo>
                    <a:pt x="5" y="23"/>
                  </a:moveTo>
                  <a:cubicBezTo>
                    <a:pt x="3" y="19"/>
                    <a:pt x="2" y="19"/>
                    <a:pt x="2" y="16"/>
                  </a:cubicBezTo>
                  <a:cubicBezTo>
                    <a:pt x="2" y="13"/>
                    <a:pt x="1" y="8"/>
                    <a:pt x="0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6" y="2"/>
                    <a:pt x="8" y="7"/>
                    <a:pt x="9" y="9"/>
                  </a:cubicBezTo>
                  <a:cubicBezTo>
                    <a:pt x="12" y="11"/>
                    <a:pt x="18" y="6"/>
                    <a:pt x="18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34" y="12"/>
                    <a:pt x="36" y="12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14"/>
                    <a:pt x="36" y="17"/>
                    <a:pt x="38" y="19"/>
                  </a:cubicBezTo>
                  <a:cubicBezTo>
                    <a:pt x="40" y="20"/>
                    <a:pt x="47" y="20"/>
                    <a:pt x="47" y="22"/>
                  </a:cubicBezTo>
                  <a:cubicBezTo>
                    <a:pt x="47" y="24"/>
                    <a:pt x="55" y="28"/>
                    <a:pt x="60" y="28"/>
                  </a:cubicBezTo>
                  <a:cubicBezTo>
                    <a:pt x="64" y="28"/>
                    <a:pt x="74" y="26"/>
                    <a:pt x="74" y="24"/>
                  </a:cubicBezTo>
                  <a:cubicBezTo>
                    <a:pt x="74" y="24"/>
                    <a:pt x="74" y="22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8" y="21"/>
                    <a:pt x="80" y="21"/>
                    <a:pt x="80" y="21"/>
                  </a:cubicBezTo>
                  <a:cubicBezTo>
                    <a:pt x="81" y="20"/>
                    <a:pt x="84" y="15"/>
                    <a:pt x="88" y="15"/>
                  </a:cubicBezTo>
                  <a:cubicBezTo>
                    <a:pt x="91" y="15"/>
                    <a:pt x="97" y="14"/>
                    <a:pt x="100" y="15"/>
                  </a:cubicBezTo>
                  <a:cubicBezTo>
                    <a:pt x="104" y="16"/>
                    <a:pt x="111" y="19"/>
                    <a:pt x="113" y="20"/>
                  </a:cubicBezTo>
                  <a:cubicBezTo>
                    <a:pt x="115" y="20"/>
                    <a:pt x="121" y="26"/>
                    <a:pt x="122" y="27"/>
                  </a:cubicBezTo>
                  <a:cubicBezTo>
                    <a:pt x="124" y="28"/>
                    <a:pt x="128" y="28"/>
                    <a:pt x="130" y="28"/>
                  </a:cubicBezTo>
                  <a:cubicBezTo>
                    <a:pt x="130" y="28"/>
                    <a:pt x="130" y="32"/>
                    <a:pt x="130" y="37"/>
                  </a:cubicBezTo>
                  <a:cubicBezTo>
                    <a:pt x="130" y="40"/>
                    <a:pt x="129" y="43"/>
                    <a:pt x="129" y="45"/>
                  </a:cubicBezTo>
                  <a:cubicBezTo>
                    <a:pt x="128" y="47"/>
                    <a:pt x="124" y="49"/>
                    <a:pt x="124" y="51"/>
                  </a:cubicBezTo>
                  <a:cubicBezTo>
                    <a:pt x="125" y="52"/>
                    <a:pt x="127" y="69"/>
                    <a:pt x="127" y="71"/>
                  </a:cubicBezTo>
                  <a:cubicBezTo>
                    <a:pt x="127" y="72"/>
                    <a:pt x="134" y="71"/>
                    <a:pt x="135" y="73"/>
                  </a:cubicBezTo>
                  <a:cubicBezTo>
                    <a:pt x="135" y="75"/>
                    <a:pt x="135" y="77"/>
                    <a:pt x="135" y="79"/>
                  </a:cubicBezTo>
                  <a:cubicBezTo>
                    <a:pt x="134" y="80"/>
                    <a:pt x="127" y="84"/>
                    <a:pt x="128" y="86"/>
                  </a:cubicBezTo>
                  <a:cubicBezTo>
                    <a:pt x="128" y="86"/>
                    <a:pt x="129" y="87"/>
                    <a:pt x="130" y="89"/>
                  </a:cubicBezTo>
                  <a:cubicBezTo>
                    <a:pt x="131" y="92"/>
                    <a:pt x="133" y="96"/>
                    <a:pt x="134" y="96"/>
                  </a:cubicBezTo>
                  <a:cubicBezTo>
                    <a:pt x="136" y="96"/>
                    <a:pt x="141" y="97"/>
                    <a:pt x="142" y="98"/>
                  </a:cubicBezTo>
                  <a:cubicBezTo>
                    <a:pt x="142" y="99"/>
                    <a:pt x="143" y="104"/>
                    <a:pt x="143" y="105"/>
                  </a:cubicBezTo>
                  <a:cubicBezTo>
                    <a:pt x="143" y="106"/>
                    <a:pt x="147" y="106"/>
                    <a:pt x="147" y="107"/>
                  </a:cubicBezTo>
                  <a:cubicBezTo>
                    <a:pt x="147" y="108"/>
                    <a:pt x="146" y="112"/>
                    <a:pt x="145" y="113"/>
                  </a:cubicBezTo>
                  <a:cubicBezTo>
                    <a:pt x="144" y="114"/>
                    <a:pt x="140" y="114"/>
                    <a:pt x="139" y="114"/>
                  </a:cubicBezTo>
                  <a:cubicBezTo>
                    <a:pt x="137" y="115"/>
                    <a:pt x="136" y="117"/>
                    <a:pt x="136" y="117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25" y="123"/>
                    <a:pt x="113" y="122"/>
                    <a:pt x="109" y="120"/>
                  </a:cubicBezTo>
                  <a:cubicBezTo>
                    <a:pt x="105" y="119"/>
                    <a:pt x="102" y="119"/>
                    <a:pt x="101" y="116"/>
                  </a:cubicBezTo>
                  <a:cubicBezTo>
                    <a:pt x="100" y="114"/>
                    <a:pt x="99" y="107"/>
                    <a:pt x="96" y="107"/>
                  </a:cubicBezTo>
                  <a:cubicBezTo>
                    <a:pt x="94" y="107"/>
                    <a:pt x="87" y="110"/>
                    <a:pt x="85" y="110"/>
                  </a:cubicBezTo>
                  <a:cubicBezTo>
                    <a:pt x="83" y="111"/>
                    <a:pt x="74" y="112"/>
                    <a:pt x="71" y="110"/>
                  </a:cubicBezTo>
                  <a:cubicBezTo>
                    <a:pt x="69" y="107"/>
                    <a:pt x="65" y="103"/>
                    <a:pt x="63" y="103"/>
                  </a:cubicBezTo>
                  <a:cubicBezTo>
                    <a:pt x="61" y="102"/>
                    <a:pt x="58" y="104"/>
                    <a:pt x="55" y="101"/>
                  </a:cubicBezTo>
                  <a:cubicBezTo>
                    <a:pt x="52" y="98"/>
                    <a:pt x="47" y="83"/>
                    <a:pt x="45" y="82"/>
                  </a:cubicBezTo>
                  <a:cubicBezTo>
                    <a:pt x="43" y="81"/>
                    <a:pt x="41" y="83"/>
                    <a:pt x="38" y="83"/>
                  </a:cubicBezTo>
                  <a:cubicBezTo>
                    <a:pt x="36" y="83"/>
                    <a:pt x="35" y="83"/>
                    <a:pt x="33" y="84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0"/>
                    <a:pt x="28" y="69"/>
                  </a:cubicBezTo>
                  <a:cubicBezTo>
                    <a:pt x="28" y="68"/>
                    <a:pt x="26" y="66"/>
                    <a:pt x="25" y="64"/>
                  </a:cubicBezTo>
                  <a:cubicBezTo>
                    <a:pt x="23" y="62"/>
                    <a:pt x="17" y="60"/>
                    <a:pt x="15" y="59"/>
                  </a:cubicBezTo>
                  <a:cubicBezTo>
                    <a:pt x="14" y="58"/>
                    <a:pt x="10" y="51"/>
                    <a:pt x="10" y="49"/>
                  </a:cubicBezTo>
                  <a:cubicBezTo>
                    <a:pt x="10" y="47"/>
                    <a:pt x="12" y="43"/>
                    <a:pt x="14" y="42"/>
                  </a:cubicBezTo>
                  <a:cubicBezTo>
                    <a:pt x="15" y="41"/>
                    <a:pt x="16" y="37"/>
                    <a:pt x="16" y="36"/>
                  </a:cubicBezTo>
                  <a:cubicBezTo>
                    <a:pt x="16" y="34"/>
                    <a:pt x="11" y="33"/>
                    <a:pt x="9" y="33"/>
                  </a:cubicBezTo>
                  <a:cubicBezTo>
                    <a:pt x="7" y="32"/>
                    <a:pt x="7" y="27"/>
                    <a:pt x="5" y="2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9" name="Freeform 69"/>
            <p:cNvSpPr>
              <a:spLocks/>
            </p:cNvSpPr>
            <p:nvPr/>
          </p:nvSpPr>
          <p:spPr bwMode="auto">
            <a:xfrm>
              <a:off x="6605008" y="4283621"/>
              <a:ext cx="220550" cy="136713"/>
            </a:xfrm>
            <a:custGeom>
              <a:avLst/>
              <a:gdLst>
                <a:gd name="T0" fmla="*/ 14304 w 79"/>
                <a:gd name="T1" fmla="*/ 5577 h 52"/>
                <a:gd name="T2" fmla="*/ 19813 w 79"/>
                <a:gd name="T3" fmla="*/ 3748 h 52"/>
                <a:gd name="T4" fmla="*/ 95471 w 79"/>
                <a:gd name="T5" fmla="*/ 6677 h 52"/>
                <a:gd name="T6" fmla="*/ 149803 w 79"/>
                <a:gd name="T7" fmla="*/ 2270 h 52"/>
                <a:gd name="T8" fmla="*/ 227827 w 79"/>
                <a:gd name="T9" fmla="*/ 0 h 52"/>
                <a:gd name="T10" fmla="*/ 258120 w 79"/>
                <a:gd name="T11" fmla="*/ 5577 h 52"/>
                <a:gd name="T12" fmla="*/ 238503 w 79"/>
                <a:gd name="T13" fmla="*/ 6205 h 52"/>
                <a:gd name="T14" fmla="*/ 238503 w 79"/>
                <a:gd name="T15" fmla="*/ 8149 h 52"/>
                <a:gd name="T16" fmla="*/ 159104 w 79"/>
                <a:gd name="T17" fmla="*/ 10458 h 52"/>
                <a:gd name="T18" fmla="*/ 114146 w 79"/>
                <a:gd name="T19" fmla="*/ 12566 h 52"/>
                <a:gd name="T20" fmla="*/ 78084 w 79"/>
                <a:gd name="T21" fmla="*/ 12963 h 52"/>
                <a:gd name="T22" fmla="*/ 23719 w 79"/>
                <a:gd name="T23" fmla="*/ 14155 h 52"/>
                <a:gd name="T24" fmla="*/ 9374 w 79"/>
                <a:gd name="T25" fmla="*/ 9502 h 52"/>
                <a:gd name="T26" fmla="*/ 0 w 79"/>
                <a:gd name="T27" fmla="*/ 6205 h 52"/>
                <a:gd name="T28" fmla="*/ 14304 w 79"/>
                <a:gd name="T29" fmla="*/ 5577 h 5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9" h="52">
                  <a:moveTo>
                    <a:pt x="4" y="20"/>
                  </a:moveTo>
                  <a:cubicBezTo>
                    <a:pt x="5" y="19"/>
                    <a:pt x="4" y="13"/>
                    <a:pt x="6" y="13"/>
                  </a:cubicBezTo>
                  <a:cubicBezTo>
                    <a:pt x="8" y="12"/>
                    <a:pt x="29" y="24"/>
                    <a:pt x="29" y="24"/>
                  </a:cubicBezTo>
                  <a:cubicBezTo>
                    <a:pt x="30" y="24"/>
                    <a:pt x="46" y="8"/>
                    <a:pt x="46" y="8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6" y="20"/>
                    <a:pt x="74" y="21"/>
                    <a:pt x="73" y="22"/>
                  </a:cubicBezTo>
                  <a:cubicBezTo>
                    <a:pt x="72" y="24"/>
                    <a:pt x="73" y="28"/>
                    <a:pt x="73" y="29"/>
                  </a:cubicBezTo>
                  <a:cubicBezTo>
                    <a:pt x="73" y="29"/>
                    <a:pt x="52" y="36"/>
                    <a:pt x="49" y="37"/>
                  </a:cubicBezTo>
                  <a:cubicBezTo>
                    <a:pt x="46" y="39"/>
                    <a:pt x="38" y="43"/>
                    <a:pt x="35" y="44"/>
                  </a:cubicBezTo>
                  <a:cubicBezTo>
                    <a:pt x="31" y="45"/>
                    <a:pt x="26" y="45"/>
                    <a:pt x="24" y="46"/>
                  </a:cubicBezTo>
                  <a:cubicBezTo>
                    <a:pt x="21" y="47"/>
                    <a:pt x="9" y="52"/>
                    <a:pt x="7" y="50"/>
                  </a:cubicBezTo>
                  <a:cubicBezTo>
                    <a:pt x="6" y="47"/>
                    <a:pt x="3" y="37"/>
                    <a:pt x="3" y="34"/>
                  </a:cubicBezTo>
                  <a:cubicBezTo>
                    <a:pt x="3" y="31"/>
                    <a:pt x="2" y="26"/>
                    <a:pt x="0" y="22"/>
                  </a:cubicBezTo>
                  <a:cubicBezTo>
                    <a:pt x="0" y="22"/>
                    <a:pt x="3" y="21"/>
                    <a:pt x="4" y="2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0" name="Freeform 70"/>
            <p:cNvSpPr>
              <a:spLocks/>
            </p:cNvSpPr>
            <p:nvPr/>
          </p:nvSpPr>
          <p:spPr bwMode="auto">
            <a:xfrm>
              <a:off x="6623527" y="3794040"/>
              <a:ext cx="62293" cy="66509"/>
            </a:xfrm>
            <a:custGeom>
              <a:avLst/>
              <a:gdLst>
                <a:gd name="T0" fmla="*/ 16449 w 23"/>
                <a:gd name="T1" fmla="*/ 5250 h 25"/>
                <a:gd name="T2" fmla="*/ 2456 w 23"/>
                <a:gd name="T3" fmla="*/ 3813 h 25"/>
                <a:gd name="T4" fmla="*/ 0 w 23"/>
                <a:gd name="T5" fmla="*/ 721 h 25"/>
                <a:gd name="T6" fmla="*/ 24175 w 23"/>
                <a:gd name="T7" fmla="*/ 0 h 25"/>
                <a:gd name="T8" fmla="*/ 32742 w 23"/>
                <a:gd name="T9" fmla="*/ 2305 h 25"/>
                <a:gd name="T10" fmla="*/ 36606 w 23"/>
                <a:gd name="T11" fmla="*/ 3319 h 25"/>
                <a:gd name="T12" fmla="*/ 33401 w 23"/>
                <a:gd name="T13" fmla="*/ 4779 h 25"/>
                <a:gd name="T14" fmla="*/ 46924 w 23"/>
                <a:gd name="T15" fmla="*/ 6882 h 25"/>
                <a:gd name="T16" fmla="*/ 29169 w 23"/>
                <a:gd name="T17" fmla="*/ 7907 h 25"/>
                <a:gd name="T18" fmla="*/ 16449 w 23"/>
                <a:gd name="T19" fmla="*/ 52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3" h="25">
                  <a:moveTo>
                    <a:pt x="8" y="15"/>
                  </a:moveTo>
                  <a:cubicBezTo>
                    <a:pt x="5" y="13"/>
                    <a:pt x="1" y="13"/>
                    <a:pt x="1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3"/>
                    <a:pt x="8" y="1"/>
                    <a:pt x="12" y="0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17" y="25"/>
                    <a:pt x="14" y="23"/>
                  </a:cubicBezTo>
                  <a:cubicBezTo>
                    <a:pt x="13" y="21"/>
                    <a:pt x="11" y="16"/>
                    <a:pt x="8" y="15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1" name="Freeform 71"/>
            <p:cNvSpPr>
              <a:spLocks/>
            </p:cNvSpPr>
            <p:nvPr/>
          </p:nvSpPr>
          <p:spPr bwMode="auto">
            <a:xfrm>
              <a:off x="6566285" y="4429572"/>
              <a:ext cx="223917" cy="275274"/>
            </a:xfrm>
            <a:custGeom>
              <a:avLst/>
              <a:gdLst>
                <a:gd name="T0" fmla="*/ 0 w 80"/>
                <a:gd name="T1" fmla="*/ 31152 h 104"/>
                <a:gd name="T2" fmla="*/ 0 w 80"/>
                <a:gd name="T3" fmla="*/ 22329 h 104"/>
                <a:gd name="T4" fmla="*/ 9972 w 80"/>
                <a:gd name="T5" fmla="*/ 21327 h 104"/>
                <a:gd name="T6" fmla="*/ 20972 w 80"/>
                <a:gd name="T7" fmla="*/ 19562 h 104"/>
                <a:gd name="T8" fmla="*/ 31169 w 80"/>
                <a:gd name="T9" fmla="*/ 19165 h 104"/>
                <a:gd name="T10" fmla="*/ 67223 w 80"/>
                <a:gd name="T11" fmla="*/ 17632 h 104"/>
                <a:gd name="T12" fmla="*/ 106139 w 80"/>
                <a:gd name="T13" fmla="*/ 17351 h 104"/>
                <a:gd name="T14" fmla="*/ 184529 w 80"/>
                <a:gd name="T15" fmla="*/ 10172 h 104"/>
                <a:gd name="T16" fmla="*/ 86147 w 80"/>
                <a:gd name="T17" fmla="*/ 7476 h 104"/>
                <a:gd name="T18" fmla="*/ 45820 w 80"/>
                <a:gd name="T19" fmla="*/ 4185 h 104"/>
                <a:gd name="T20" fmla="*/ 51818 w 80"/>
                <a:gd name="T21" fmla="*/ 2921 h 104"/>
                <a:gd name="T22" fmla="*/ 65175 w 80"/>
                <a:gd name="T23" fmla="*/ 2039 h 104"/>
                <a:gd name="T24" fmla="*/ 96367 w 80"/>
                <a:gd name="T25" fmla="*/ 4185 h 104"/>
                <a:gd name="T26" fmla="*/ 129768 w 80"/>
                <a:gd name="T27" fmla="*/ 2921 h 104"/>
                <a:gd name="T28" fmla="*/ 184529 w 80"/>
                <a:gd name="T29" fmla="*/ 2181 h 104"/>
                <a:gd name="T30" fmla="*/ 241604 w 80"/>
                <a:gd name="T31" fmla="*/ 993 h 104"/>
                <a:gd name="T32" fmla="*/ 256328 w 80"/>
                <a:gd name="T33" fmla="*/ 0 h 104"/>
                <a:gd name="T34" fmla="*/ 271922 w 80"/>
                <a:gd name="T35" fmla="*/ 1 h 104"/>
                <a:gd name="T36" fmla="*/ 266349 w 80"/>
                <a:gd name="T37" fmla="*/ 3519 h 104"/>
                <a:gd name="T38" fmla="*/ 257126 w 80"/>
                <a:gd name="T39" fmla="*/ 7100 h 104"/>
                <a:gd name="T40" fmla="*/ 221468 w 80"/>
                <a:gd name="T41" fmla="*/ 12568 h 104"/>
                <a:gd name="T42" fmla="*/ 176456 w 80"/>
                <a:gd name="T43" fmla="*/ 19165 h 104"/>
                <a:gd name="T44" fmla="*/ 108353 w 80"/>
                <a:gd name="T45" fmla="*/ 24521 h 104"/>
                <a:gd name="T46" fmla="*/ 36934 w 80"/>
                <a:gd name="T47" fmla="*/ 30436 h 104"/>
                <a:gd name="T48" fmla="*/ 14630 w 80"/>
                <a:gd name="T49" fmla="*/ 32681 h 104"/>
                <a:gd name="T50" fmla="*/ 0 w 80"/>
                <a:gd name="T51" fmla="*/ 31152 h 10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80" h="104">
                  <a:moveTo>
                    <a:pt x="0" y="99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7" y="62"/>
                    <a:pt x="9" y="62"/>
                    <a:pt x="9" y="61"/>
                  </a:cubicBezTo>
                  <a:cubicBezTo>
                    <a:pt x="10" y="61"/>
                    <a:pt x="17" y="57"/>
                    <a:pt x="20" y="56"/>
                  </a:cubicBezTo>
                  <a:cubicBezTo>
                    <a:pt x="23" y="55"/>
                    <a:pt x="30" y="56"/>
                    <a:pt x="31" y="55"/>
                  </a:cubicBezTo>
                  <a:cubicBezTo>
                    <a:pt x="33" y="54"/>
                    <a:pt x="53" y="32"/>
                    <a:pt x="54" y="32"/>
                  </a:cubicBezTo>
                  <a:cubicBezTo>
                    <a:pt x="55" y="31"/>
                    <a:pt x="31" y="29"/>
                    <a:pt x="25" y="24"/>
                  </a:cubicBezTo>
                  <a:cubicBezTo>
                    <a:pt x="19" y="20"/>
                    <a:pt x="13" y="16"/>
                    <a:pt x="13" y="13"/>
                  </a:cubicBezTo>
                  <a:cubicBezTo>
                    <a:pt x="13" y="11"/>
                    <a:pt x="15" y="10"/>
                    <a:pt x="15" y="9"/>
                  </a:cubicBezTo>
                  <a:cubicBezTo>
                    <a:pt x="15" y="7"/>
                    <a:pt x="19" y="6"/>
                    <a:pt x="19" y="6"/>
                  </a:cubicBezTo>
                  <a:cubicBezTo>
                    <a:pt x="22" y="9"/>
                    <a:pt x="23" y="13"/>
                    <a:pt x="28" y="13"/>
                  </a:cubicBezTo>
                  <a:cubicBezTo>
                    <a:pt x="32" y="13"/>
                    <a:pt x="36" y="9"/>
                    <a:pt x="38" y="9"/>
                  </a:cubicBezTo>
                  <a:cubicBezTo>
                    <a:pt x="41" y="9"/>
                    <a:pt x="50" y="9"/>
                    <a:pt x="54" y="7"/>
                  </a:cubicBezTo>
                  <a:cubicBezTo>
                    <a:pt x="57" y="6"/>
                    <a:pt x="69" y="5"/>
                    <a:pt x="71" y="3"/>
                  </a:cubicBezTo>
                  <a:cubicBezTo>
                    <a:pt x="73" y="1"/>
                    <a:pt x="74" y="0"/>
                    <a:pt x="75" y="0"/>
                  </a:cubicBezTo>
                  <a:cubicBezTo>
                    <a:pt x="76" y="0"/>
                    <a:pt x="80" y="0"/>
                    <a:pt x="80" y="1"/>
                  </a:cubicBezTo>
                  <a:cubicBezTo>
                    <a:pt x="80" y="2"/>
                    <a:pt x="78" y="9"/>
                    <a:pt x="78" y="11"/>
                  </a:cubicBezTo>
                  <a:cubicBezTo>
                    <a:pt x="78" y="12"/>
                    <a:pt x="77" y="20"/>
                    <a:pt x="76" y="22"/>
                  </a:cubicBezTo>
                  <a:cubicBezTo>
                    <a:pt x="74" y="24"/>
                    <a:pt x="66" y="37"/>
                    <a:pt x="65" y="40"/>
                  </a:cubicBezTo>
                  <a:cubicBezTo>
                    <a:pt x="64" y="43"/>
                    <a:pt x="57" y="56"/>
                    <a:pt x="52" y="61"/>
                  </a:cubicBezTo>
                  <a:cubicBezTo>
                    <a:pt x="47" y="66"/>
                    <a:pt x="39" y="74"/>
                    <a:pt x="32" y="78"/>
                  </a:cubicBezTo>
                  <a:cubicBezTo>
                    <a:pt x="26" y="82"/>
                    <a:pt x="18" y="90"/>
                    <a:pt x="11" y="96"/>
                  </a:cubicBezTo>
                  <a:cubicBezTo>
                    <a:pt x="9" y="99"/>
                    <a:pt x="6" y="101"/>
                    <a:pt x="4" y="104"/>
                  </a:cubicBezTo>
                  <a:lnTo>
                    <a:pt x="0" y="99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2" name="Freeform 72"/>
            <p:cNvSpPr>
              <a:spLocks/>
            </p:cNvSpPr>
            <p:nvPr/>
          </p:nvSpPr>
          <p:spPr bwMode="auto">
            <a:xfrm>
              <a:off x="6547766" y="3734921"/>
              <a:ext cx="144788" cy="66509"/>
            </a:xfrm>
            <a:custGeom>
              <a:avLst/>
              <a:gdLst>
                <a:gd name="T0" fmla="*/ 0 w 52"/>
                <a:gd name="T1" fmla="*/ 937 h 26"/>
                <a:gd name="T2" fmla="*/ 9174 w 52"/>
                <a:gd name="T3" fmla="*/ 0 h 26"/>
                <a:gd name="T4" fmla="*/ 49129 w 52"/>
                <a:gd name="T5" fmla="*/ 533 h 26"/>
                <a:gd name="T6" fmla="*/ 81252 w 52"/>
                <a:gd name="T7" fmla="*/ 1415 h 26"/>
                <a:gd name="T8" fmla="*/ 101090 w 52"/>
                <a:gd name="T9" fmla="*/ 1959 h 26"/>
                <a:gd name="T10" fmla="*/ 124025 w 52"/>
                <a:gd name="T11" fmla="*/ 1796 h 26"/>
                <a:gd name="T12" fmla="*/ 153637 w 52"/>
                <a:gd name="T13" fmla="*/ 3257 h 26"/>
                <a:gd name="T14" fmla="*/ 162717 w 52"/>
                <a:gd name="T15" fmla="*/ 3727 h 26"/>
                <a:gd name="T16" fmla="*/ 156892 w 52"/>
                <a:gd name="T17" fmla="*/ 4510 h 26"/>
                <a:gd name="T18" fmla="*/ 128128 w 52"/>
                <a:gd name="T19" fmla="*/ 3982 h 26"/>
                <a:gd name="T20" fmla="*/ 124025 w 52"/>
                <a:gd name="T21" fmla="*/ 4177 h 26"/>
                <a:gd name="T22" fmla="*/ 84510 w 52"/>
                <a:gd name="T23" fmla="*/ 4510 h 26"/>
                <a:gd name="T24" fmla="*/ 66534 w 52"/>
                <a:gd name="T25" fmla="*/ 3755 h 26"/>
                <a:gd name="T26" fmla="*/ 41498 w 52"/>
                <a:gd name="T27" fmla="*/ 3727 h 26"/>
                <a:gd name="T28" fmla="*/ 41498 w 52"/>
                <a:gd name="T29" fmla="*/ 3257 h 26"/>
                <a:gd name="T30" fmla="*/ 31832 w 52"/>
                <a:gd name="T31" fmla="*/ 1796 h 26"/>
                <a:gd name="T32" fmla="*/ 0 w 52"/>
                <a:gd name="T33" fmla="*/ 937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6">
                  <a:moveTo>
                    <a:pt x="0" y="5"/>
                  </a:moveTo>
                  <a:cubicBezTo>
                    <a:pt x="0" y="5"/>
                    <a:pt x="2" y="0"/>
                    <a:pt x="3" y="0"/>
                  </a:cubicBezTo>
                  <a:cubicBezTo>
                    <a:pt x="4" y="0"/>
                    <a:pt x="14" y="2"/>
                    <a:pt x="16" y="3"/>
                  </a:cubicBezTo>
                  <a:cubicBezTo>
                    <a:pt x="18" y="4"/>
                    <a:pt x="24" y="6"/>
                    <a:pt x="26" y="8"/>
                  </a:cubicBezTo>
                  <a:cubicBezTo>
                    <a:pt x="28" y="10"/>
                    <a:pt x="29" y="11"/>
                    <a:pt x="32" y="11"/>
                  </a:cubicBezTo>
                  <a:cubicBezTo>
                    <a:pt x="35" y="10"/>
                    <a:pt x="37" y="10"/>
                    <a:pt x="39" y="10"/>
                  </a:cubicBezTo>
                  <a:cubicBezTo>
                    <a:pt x="41" y="11"/>
                    <a:pt x="48" y="17"/>
                    <a:pt x="49" y="18"/>
                  </a:cubicBezTo>
                  <a:cubicBezTo>
                    <a:pt x="50" y="18"/>
                    <a:pt x="51" y="19"/>
                    <a:pt x="52" y="20"/>
                  </a:cubicBezTo>
                  <a:cubicBezTo>
                    <a:pt x="52" y="20"/>
                    <a:pt x="52" y="25"/>
                    <a:pt x="50" y="25"/>
                  </a:cubicBezTo>
                  <a:cubicBezTo>
                    <a:pt x="47" y="25"/>
                    <a:pt x="43" y="21"/>
                    <a:pt x="41" y="22"/>
                  </a:cubicBezTo>
                  <a:cubicBezTo>
                    <a:pt x="40" y="22"/>
                    <a:pt x="40" y="23"/>
                    <a:pt x="39" y="23"/>
                  </a:cubicBezTo>
                  <a:cubicBezTo>
                    <a:pt x="35" y="24"/>
                    <a:pt x="30" y="26"/>
                    <a:pt x="27" y="25"/>
                  </a:cubicBezTo>
                  <a:cubicBezTo>
                    <a:pt x="24" y="24"/>
                    <a:pt x="23" y="21"/>
                    <a:pt x="21" y="21"/>
                  </a:cubicBezTo>
                  <a:cubicBezTo>
                    <a:pt x="20" y="21"/>
                    <a:pt x="13" y="20"/>
                    <a:pt x="13" y="20"/>
                  </a:cubicBezTo>
                  <a:cubicBezTo>
                    <a:pt x="13" y="19"/>
                    <a:pt x="13" y="19"/>
                    <a:pt x="13" y="18"/>
                  </a:cubicBezTo>
                  <a:cubicBezTo>
                    <a:pt x="13" y="15"/>
                    <a:pt x="12" y="12"/>
                    <a:pt x="10" y="10"/>
                  </a:cubicBezTo>
                  <a:cubicBezTo>
                    <a:pt x="8" y="8"/>
                    <a:pt x="3" y="6"/>
                    <a:pt x="0" y="5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3" name="Freeform 73"/>
            <p:cNvSpPr>
              <a:spLocks/>
            </p:cNvSpPr>
            <p:nvPr/>
          </p:nvSpPr>
          <p:spPr bwMode="auto">
            <a:xfrm>
              <a:off x="6519145" y="3890109"/>
              <a:ext cx="210448" cy="181053"/>
            </a:xfrm>
            <a:custGeom>
              <a:avLst/>
              <a:gdLst>
                <a:gd name="T0" fmla="*/ 47430 w 75"/>
                <a:gd name="T1" fmla="*/ 12537 h 69"/>
                <a:gd name="T2" fmla="*/ 15175 w 75"/>
                <a:gd name="T3" fmla="*/ 11986 h 69"/>
                <a:gd name="T4" fmla="*/ 10245 w 75"/>
                <a:gd name="T5" fmla="*/ 12324 h 69"/>
                <a:gd name="T6" fmla="*/ 0 w 75"/>
                <a:gd name="T7" fmla="*/ 9293 h 69"/>
                <a:gd name="T8" fmla="*/ 53758 w 75"/>
                <a:gd name="T9" fmla="*/ 6891 h 69"/>
                <a:gd name="T10" fmla="*/ 63297 w 75"/>
                <a:gd name="T11" fmla="*/ 5876 h 69"/>
                <a:gd name="T12" fmla="*/ 70255 w 75"/>
                <a:gd name="T13" fmla="*/ 2518 h 69"/>
                <a:gd name="T14" fmla="*/ 99730 w 75"/>
                <a:gd name="T15" fmla="*/ 619 h 69"/>
                <a:gd name="T16" fmla="*/ 112422 w 75"/>
                <a:gd name="T17" fmla="*/ 0 h 69"/>
                <a:gd name="T18" fmla="*/ 166217 w 75"/>
                <a:gd name="T19" fmla="*/ 1 h 69"/>
                <a:gd name="T20" fmla="*/ 181388 w 75"/>
                <a:gd name="T21" fmla="*/ 3186 h 69"/>
                <a:gd name="T22" fmla="*/ 206728 w 75"/>
                <a:gd name="T23" fmla="*/ 3850 h 69"/>
                <a:gd name="T24" fmla="*/ 197662 w 75"/>
                <a:gd name="T25" fmla="*/ 5468 h 69"/>
                <a:gd name="T26" fmla="*/ 185287 w 75"/>
                <a:gd name="T27" fmla="*/ 7329 h 69"/>
                <a:gd name="T28" fmla="*/ 201217 w 75"/>
                <a:gd name="T29" fmla="*/ 10246 h 69"/>
                <a:gd name="T30" fmla="*/ 238912 w 75"/>
                <a:gd name="T31" fmla="*/ 11590 h 69"/>
                <a:gd name="T32" fmla="*/ 248880 w 75"/>
                <a:gd name="T33" fmla="*/ 12964 h 69"/>
                <a:gd name="T34" fmla="*/ 248880 w 75"/>
                <a:gd name="T35" fmla="*/ 14784 h 69"/>
                <a:gd name="T36" fmla="*/ 265408 w 75"/>
                <a:gd name="T37" fmla="*/ 17024 h 69"/>
                <a:gd name="T38" fmla="*/ 265408 w 75"/>
                <a:gd name="T39" fmla="*/ 17024 h 69"/>
                <a:gd name="T40" fmla="*/ 254992 w 75"/>
                <a:gd name="T41" fmla="*/ 17144 h 69"/>
                <a:gd name="T42" fmla="*/ 229513 w 75"/>
                <a:gd name="T43" fmla="*/ 17024 h 69"/>
                <a:gd name="T44" fmla="*/ 206728 w 75"/>
                <a:gd name="T45" fmla="*/ 18863 h 69"/>
                <a:gd name="T46" fmla="*/ 155117 w 75"/>
                <a:gd name="T47" fmla="*/ 18746 h 69"/>
                <a:gd name="T48" fmla="*/ 47430 w 75"/>
                <a:gd name="T49" fmla="*/ 12537 h 6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5" h="69">
                  <a:moveTo>
                    <a:pt x="13" y="46"/>
                  </a:moveTo>
                  <a:cubicBezTo>
                    <a:pt x="12" y="45"/>
                    <a:pt x="4" y="44"/>
                    <a:pt x="4" y="44"/>
                  </a:cubicBezTo>
                  <a:cubicBezTo>
                    <a:pt x="4" y="44"/>
                    <a:pt x="4" y="44"/>
                    <a:pt x="3" y="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5"/>
                    <a:pt x="18" y="24"/>
                    <a:pt x="18" y="21"/>
                  </a:cubicBezTo>
                  <a:cubicBezTo>
                    <a:pt x="19" y="19"/>
                    <a:pt x="19" y="10"/>
                    <a:pt x="20" y="9"/>
                  </a:cubicBezTo>
                  <a:cubicBezTo>
                    <a:pt x="22" y="8"/>
                    <a:pt x="25" y="4"/>
                    <a:pt x="28" y="2"/>
                  </a:cubicBezTo>
                  <a:cubicBezTo>
                    <a:pt x="30" y="1"/>
                    <a:pt x="31" y="0"/>
                    <a:pt x="32" y="0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9" y="5"/>
                    <a:pt x="49" y="10"/>
                    <a:pt x="51" y="11"/>
                  </a:cubicBezTo>
                  <a:cubicBezTo>
                    <a:pt x="53" y="11"/>
                    <a:pt x="58" y="12"/>
                    <a:pt x="58" y="14"/>
                  </a:cubicBezTo>
                  <a:cubicBezTo>
                    <a:pt x="58" y="15"/>
                    <a:pt x="57" y="19"/>
                    <a:pt x="56" y="20"/>
                  </a:cubicBezTo>
                  <a:cubicBezTo>
                    <a:pt x="54" y="21"/>
                    <a:pt x="52" y="25"/>
                    <a:pt x="52" y="27"/>
                  </a:cubicBezTo>
                  <a:cubicBezTo>
                    <a:pt x="52" y="29"/>
                    <a:pt x="56" y="36"/>
                    <a:pt x="57" y="37"/>
                  </a:cubicBezTo>
                  <a:cubicBezTo>
                    <a:pt x="59" y="38"/>
                    <a:pt x="65" y="40"/>
                    <a:pt x="67" y="42"/>
                  </a:cubicBezTo>
                  <a:cubicBezTo>
                    <a:pt x="68" y="44"/>
                    <a:pt x="70" y="46"/>
                    <a:pt x="70" y="47"/>
                  </a:cubicBezTo>
                  <a:cubicBezTo>
                    <a:pt x="70" y="48"/>
                    <a:pt x="70" y="54"/>
                    <a:pt x="70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2"/>
                    <a:pt x="73" y="63"/>
                    <a:pt x="72" y="63"/>
                  </a:cubicBezTo>
                  <a:cubicBezTo>
                    <a:pt x="72" y="63"/>
                    <a:pt x="68" y="61"/>
                    <a:pt x="65" y="62"/>
                  </a:cubicBezTo>
                  <a:cubicBezTo>
                    <a:pt x="62" y="62"/>
                    <a:pt x="60" y="68"/>
                    <a:pt x="58" y="69"/>
                  </a:cubicBezTo>
                  <a:cubicBezTo>
                    <a:pt x="44" y="68"/>
                    <a:pt x="44" y="68"/>
                    <a:pt x="44" y="68"/>
                  </a:cubicBezTo>
                  <a:lnTo>
                    <a:pt x="13" y="46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4" name="Freeform 74"/>
            <p:cNvSpPr>
              <a:spLocks/>
            </p:cNvSpPr>
            <p:nvPr/>
          </p:nvSpPr>
          <p:spPr bwMode="auto">
            <a:xfrm>
              <a:off x="6391193" y="4383385"/>
              <a:ext cx="328299" cy="221697"/>
            </a:xfrm>
            <a:custGeom>
              <a:avLst/>
              <a:gdLst>
                <a:gd name="T0" fmla="*/ 31613 w 118"/>
                <a:gd name="T1" fmla="*/ 16839 h 84"/>
                <a:gd name="T2" fmla="*/ 5361 w 118"/>
                <a:gd name="T3" fmla="*/ 16143 h 84"/>
                <a:gd name="T4" fmla="*/ 5361 w 118"/>
                <a:gd name="T5" fmla="*/ 13801 h 84"/>
                <a:gd name="T6" fmla="*/ 28148 w 118"/>
                <a:gd name="T7" fmla="*/ 13801 h 84"/>
                <a:gd name="T8" fmla="*/ 39980 w 118"/>
                <a:gd name="T9" fmla="*/ 8951 h 84"/>
                <a:gd name="T10" fmla="*/ 52242 w 118"/>
                <a:gd name="T11" fmla="*/ 8251 h 84"/>
                <a:gd name="T12" fmla="*/ 57715 w 118"/>
                <a:gd name="T13" fmla="*/ 5537 h 84"/>
                <a:gd name="T14" fmla="*/ 80038 w 118"/>
                <a:gd name="T15" fmla="*/ 3537 h 84"/>
                <a:gd name="T16" fmla="*/ 89601 w 118"/>
                <a:gd name="T17" fmla="*/ 680 h 84"/>
                <a:gd name="T18" fmla="*/ 120013 w 118"/>
                <a:gd name="T19" fmla="*/ 971 h 84"/>
                <a:gd name="T20" fmla="*/ 120013 w 118"/>
                <a:gd name="T21" fmla="*/ 971 h 84"/>
                <a:gd name="T22" fmla="*/ 132266 w 118"/>
                <a:gd name="T23" fmla="*/ 0 h 84"/>
                <a:gd name="T24" fmla="*/ 160858 w 118"/>
                <a:gd name="T25" fmla="*/ 1 h 84"/>
                <a:gd name="T26" fmla="*/ 194565 w 118"/>
                <a:gd name="T27" fmla="*/ 1981 h 84"/>
                <a:gd name="T28" fmla="*/ 218575 w 118"/>
                <a:gd name="T29" fmla="*/ 4244 h 84"/>
                <a:gd name="T30" fmla="*/ 217352 w 118"/>
                <a:gd name="T31" fmla="*/ 6266 h 84"/>
                <a:gd name="T32" fmla="*/ 213160 w 118"/>
                <a:gd name="T33" fmla="*/ 8251 h 84"/>
                <a:gd name="T34" fmla="*/ 241546 w 118"/>
                <a:gd name="T35" fmla="*/ 8251 h 84"/>
                <a:gd name="T36" fmla="*/ 235763 w 118"/>
                <a:gd name="T37" fmla="*/ 9319 h 84"/>
                <a:gd name="T38" fmla="*/ 272073 w 118"/>
                <a:gd name="T39" fmla="*/ 12714 h 84"/>
                <a:gd name="T40" fmla="*/ 361204 w 118"/>
                <a:gd name="T41" fmla="*/ 14870 h 84"/>
                <a:gd name="T42" fmla="*/ 289983 w 118"/>
                <a:gd name="T43" fmla="*/ 21961 h 84"/>
                <a:gd name="T44" fmla="*/ 255516 w 118"/>
                <a:gd name="T45" fmla="*/ 22306 h 84"/>
                <a:gd name="T46" fmla="*/ 223652 w 118"/>
                <a:gd name="T47" fmla="*/ 23763 h 84"/>
                <a:gd name="T48" fmla="*/ 213160 w 118"/>
                <a:gd name="T49" fmla="*/ 24056 h 84"/>
                <a:gd name="T50" fmla="*/ 203522 w 118"/>
                <a:gd name="T51" fmla="*/ 24451 h 84"/>
                <a:gd name="T52" fmla="*/ 185739 w 118"/>
                <a:gd name="T53" fmla="*/ 23763 h 84"/>
                <a:gd name="T54" fmla="*/ 160858 w 118"/>
                <a:gd name="T55" fmla="*/ 25251 h 84"/>
                <a:gd name="T56" fmla="*/ 132266 w 118"/>
                <a:gd name="T57" fmla="*/ 25101 h 84"/>
                <a:gd name="T58" fmla="*/ 102952 w 118"/>
                <a:gd name="T59" fmla="*/ 23120 h 84"/>
                <a:gd name="T60" fmla="*/ 76870 w 118"/>
                <a:gd name="T61" fmla="*/ 22614 h 84"/>
                <a:gd name="T62" fmla="*/ 71246 w 118"/>
                <a:gd name="T63" fmla="*/ 22614 h 84"/>
                <a:gd name="T64" fmla="*/ 71246 w 118"/>
                <a:gd name="T65" fmla="*/ 22614 h 84"/>
                <a:gd name="T66" fmla="*/ 67315 w 118"/>
                <a:gd name="T67" fmla="*/ 19716 h 84"/>
                <a:gd name="T68" fmla="*/ 57715 w 118"/>
                <a:gd name="T69" fmla="*/ 18267 h 84"/>
                <a:gd name="T70" fmla="*/ 31613 w 118"/>
                <a:gd name="T71" fmla="*/ 16839 h 8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8" h="84">
                  <a:moveTo>
                    <a:pt x="10" y="56"/>
                  </a:moveTo>
                  <a:cubicBezTo>
                    <a:pt x="8" y="53"/>
                    <a:pt x="4" y="54"/>
                    <a:pt x="2" y="53"/>
                  </a:cubicBezTo>
                  <a:cubicBezTo>
                    <a:pt x="0" y="53"/>
                    <a:pt x="1" y="49"/>
                    <a:pt x="2" y="46"/>
                  </a:cubicBezTo>
                  <a:cubicBezTo>
                    <a:pt x="3" y="44"/>
                    <a:pt x="8" y="47"/>
                    <a:pt x="9" y="46"/>
                  </a:cubicBezTo>
                  <a:cubicBezTo>
                    <a:pt x="11" y="44"/>
                    <a:pt x="13" y="33"/>
                    <a:pt x="13" y="30"/>
                  </a:cubicBezTo>
                  <a:cubicBezTo>
                    <a:pt x="13" y="26"/>
                    <a:pt x="17" y="27"/>
                    <a:pt x="17" y="27"/>
                  </a:cubicBezTo>
                  <a:cubicBezTo>
                    <a:pt x="17" y="27"/>
                    <a:pt x="18" y="21"/>
                    <a:pt x="19" y="18"/>
                  </a:cubicBezTo>
                  <a:cubicBezTo>
                    <a:pt x="21" y="14"/>
                    <a:pt x="25" y="13"/>
                    <a:pt x="26" y="12"/>
                  </a:cubicBezTo>
                  <a:cubicBezTo>
                    <a:pt x="27" y="12"/>
                    <a:pt x="28" y="4"/>
                    <a:pt x="29" y="2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0" y="2"/>
                    <a:pt x="42" y="1"/>
                    <a:pt x="43" y="0"/>
                  </a:cubicBezTo>
                  <a:cubicBezTo>
                    <a:pt x="45" y="0"/>
                    <a:pt x="50" y="1"/>
                    <a:pt x="52" y="1"/>
                  </a:cubicBezTo>
                  <a:cubicBezTo>
                    <a:pt x="53" y="1"/>
                    <a:pt x="61" y="4"/>
                    <a:pt x="63" y="6"/>
                  </a:cubicBezTo>
                  <a:cubicBezTo>
                    <a:pt x="65" y="7"/>
                    <a:pt x="68" y="11"/>
                    <a:pt x="71" y="14"/>
                  </a:cubicBezTo>
                  <a:cubicBezTo>
                    <a:pt x="73" y="18"/>
                    <a:pt x="71" y="18"/>
                    <a:pt x="70" y="21"/>
                  </a:cubicBezTo>
                  <a:cubicBezTo>
                    <a:pt x="69" y="23"/>
                    <a:pt x="69" y="25"/>
                    <a:pt x="69" y="27"/>
                  </a:cubicBezTo>
                  <a:cubicBezTo>
                    <a:pt x="70" y="29"/>
                    <a:pt x="78" y="27"/>
                    <a:pt x="78" y="27"/>
                  </a:cubicBezTo>
                  <a:cubicBezTo>
                    <a:pt x="78" y="28"/>
                    <a:pt x="76" y="29"/>
                    <a:pt x="76" y="31"/>
                  </a:cubicBezTo>
                  <a:cubicBezTo>
                    <a:pt x="76" y="34"/>
                    <a:pt x="82" y="38"/>
                    <a:pt x="88" y="42"/>
                  </a:cubicBezTo>
                  <a:cubicBezTo>
                    <a:pt x="94" y="47"/>
                    <a:pt x="118" y="49"/>
                    <a:pt x="117" y="50"/>
                  </a:cubicBezTo>
                  <a:cubicBezTo>
                    <a:pt x="116" y="50"/>
                    <a:pt x="96" y="72"/>
                    <a:pt x="94" y="73"/>
                  </a:cubicBezTo>
                  <a:cubicBezTo>
                    <a:pt x="93" y="74"/>
                    <a:pt x="86" y="73"/>
                    <a:pt x="83" y="74"/>
                  </a:cubicBezTo>
                  <a:cubicBezTo>
                    <a:pt x="80" y="75"/>
                    <a:pt x="73" y="79"/>
                    <a:pt x="72" y="79"/>
                  </a:cubicBezTo>
                  <a:cubicBezTo>
                    <a:pt x="72" y="80"/>
                    <a:pt x="70" y="80"/>
                    <a:pt x="69" y="80"/>
                  </a:cubicBezTo>
                  <a:cubicBezTo>
                    <a:pt x="68" y="80"/>
                    <a:pt x="66" y="81"/>
                    <a:pt x="66" y="81"/>
                  </a:cubicBezTo>
                  <a:cubicBezTo>
                    <a:pt x="64" y="81"/>
                    <a:pt x="62" y="78"/>
                    <a:pt x="60" y="79"/>
                  </a:cubicBezTo>
                  <a:cubicBezTo>
                    <a:pt x="58" y="80"/>
                    <a:pt x="52" y="84"/>
                    <a:pt x="52" y="84"/>
                  </a:cubicBezTo>
                  <a:cubicBezTo>
                    <a:pt x="52" y="84"/>
                    <a:pt x="45" y="83"/>
                    <a:pt x="43" y="83"/>
                  </a:cubicBezTo>
                  <a:cubicBezTo>
                    <a:pt x="40" y="83"/>
                    <a:pt x="33" y="77"/>
                    <a:pt x="33" y="77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0" y="66"/>
                    <a:pt x="19" y="63"/>
                    <a:pt x="19" y="61"/>
                  </a:cubicBezTo>
                  <a:cubicBezTo>
                    <a:pt x="19" y="59"/>
                    <a:pt x="13" y="58"/>
                    <a:pt x="10" y="5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5" name="Freeform 75"/>
            <p:cNvSpPr>
              <a:spLocks/>
            </p:cNvSpPr>
            <p:nvPr/>
          </p:nvSpPr>
          <p:spPr bwMode="auto">
            <a:xfrm>
              <a:off x="6472005" y="4313181"/>
              <a:ext cx="148155" cy="145951"/>
            </a:xfrm>
            <a:custGeom>
              <a:avLst/>
              <a:gdLst>
                <a:gd name="T0" fmla="*/ 33251 w 53"/>
                <a:gd name="T1" fmla="*/ 7288 h 56"/>
                <a:gd name="T2" fmla="*/ 0 w 53"/>
                <a:gd name="T3" fmla="*/ 7220 h 56"/>
                <a:gd name="T4" fmla="*/ 14502 w 53"/>
                <a:gd name="T5" fmla="*/ 2788 h 56"/>
                <a:gd name="T6" fmla="*/ 39980 w 53"/>
                <a:gd name="T7" fmla="*/ 499 h 56"/>
                <a:gd name="T8" fmla="*/ 55209 w 53"/>
                <a:gd name="T9" fmla="*/ 0 h 56"/>
                <a:gd name="T10" fmla="*/ 73759 w 53"/>
                <a:gd name="T11" fmla="*/ 3933 h 56"/>
                <a:gd name="T12" fmla="*/ 115743 w 53"/>
                <a:gd name="T13" fmla="*/ 5929 h 56"/>
                <a:gd name="T14" fmla="*/ 166890 w 53"/>
                <a:gd name="T15" fmla="*/ 10185 h 56"/>
                <a:gd name="T16" fmla="*/ 166890 w 53"/>
                <a:gd name="T17" fmla="*/ 11376 h 56"/>
                <a:gd name="T18" fmla="*/ 176282 w 53"/>
                <a:gd name="T19" fmla="*/ 12593 h 56"/>
                <a:gd name="T20" fmla="*/ 162101 w 53"/>
                <a:gd name="T21" fmla="*/ 13209 h 56"/>
                <a:gd name="T22" fmla="*/ 133423 w 53"/>
                <a:gd name="T23" fmla="*/ 13209 h 56"/>
                <a:gd name="T24" fmla="*/ 136970 w 53"/>
                <a:gd name="T25" fmla="*/ 11799 h 56"/>
                <a:gd name="T26" fmla="*/ 140398 w 53"/>
                <a:gd name="T27" fmla="*/ 10185 h 56"/>
                <a:gd name="T28" fmla="*/ 112416 w 53"/>
                <a:gd name="T29" fmla="*/ 8140 h 56"/>
                <a:gd name="T30" fmla="*/ 76434 w 53"/>
                <a:gd name="T31" fmla="*/ 6905 h 56"/>
                <a:gd name="T32" fmla="*/ 46034 w 53"/>
                <a:gd name="T33" fmla="*/ 6637 h 56"/>
                <a:gd name="T34" fmla="*/ 33251 w 53"/>
                <a:gd name="T35" fmla="*/ 7288 h 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3" h="56">
                  <a:moveTo>
                    <a:pt x="10" y="30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26"/>
                    <a:pt x="2" y="18"/>
                    <a:pt x="4" y="11"/>
                  </a:cubicBezTo>
                  <a:cubicBezTo>
                    <a:pt x="5" y="4"/>
                    <a:pt x="10" y="3"/>
                    <a:pt x="12" y="2"/>
                  </a:cubicBezTo>
                  <a:cubicBezTo>
                    <a:pt x="15" y="1"/>
                    <a:pt x="17" y="0"/>
                    <a:pt x="17" y="0"/>
                  </a:cubicBezTo>
                  <a:cubicBezTo>
                    <a:pt x="18" y="4"/>
                    <a:pt x="20" y="14"/>
                    <a:pt x="22" y="16"/>
                  </a:cubicBezTo>
                  <a:cubicBezTo>
                    <a:pt x="26" y="18"/>
                    <a:pt x="35" y="23"/>
                    <a:pt x="35" y="24"/>
                  </a:cubicBezTo>
                  <a:cubicBezTo>
                    <a:pt x="35" y="26"/>
                    <a:pt x="49" y="39"/>
                    <a:pt x="50" y="41"/>
                  </a:cubicBezTo>
                  <a:cubicBezTo>
                    <a:pt x="51" y="42"/>
                    <a:pt x="52" y="45"/>
                    <a:pt x="50" y="46"/>
                  </a:cubicBezTo>
                  <a:cubicBezTo>
                    <a:pt x="49" y="46"/>
                    <a:pt x="51" y="48"/>
                    <a:pt x="53" y="51"/>
                  </a:cubicBezTo>
                  <a:cubicBezTo>
                    <a:pt x="53" y="51"/>
                    <a:pt x="49" y="52"/>
                    <a:pt x="49" y="54"/>
                  </a:cubicBezTo>
                  <a:cubicBezTo>
                    <a:pt x="49" y="54"/>
                    <a:pt x="41" y="56"/>
                    <a:pt x="40" y="54"/>
                  </a:cubicBezTo>
                  <a:cubicBezTo>
                    <a:pt x="40" y="52"/>
                    <a:pt x="40" y="50"/>
                    <a:pt x="41" y="48"/>
                  </a:cubicBezTo>
                  <a:cubicBezTo>
                    <a:pt x="42" y="45"/>
                    <a:pt x="44" y="45"/>
                    <a:pt x="42" y="41"/>
                  </a:cubicBezTo>
                  <a:cubicBezTo>
                    <a:pt x="39" y="38"/>
                    <a:pt x="36" y="34"/>
                    <a:pt x="34" y="33"/>
                  </a:cubicBezTo>
                  <a:cubicBezTo>
                    <a:pt x="32" y="31"/>
                    <a:pt x="24" y="28"/>
                    <a:pt x="23" y="28"/>
                  </a:cubicBezTo>
                  <a:cubicBezTo>
                    <a:pt x="21" y="28"/>
                    <a:pt x="16" y="27"/>
                    <a:pt x="14" y="27"/>
                  </a:cubicBezTo>
                  <a:cubicBezTo>
                    <a:pt x="13" y="28"/>
                    <a:pt x="11" y="29"/>
                    <a:pt x="10" y="3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6" name="Freeform 76"/>
            <p:cNvSpPr>
              <a:spLocks/>
            </p:cNvSpPr>
            <p:nvPr/>
          </p:nvSpPr>
          <p:spPr bwMode="auto">
            <a:xfrm>
              <a:off x="6455169" y="3886414"/>
              <a:ext cx="141421" cy="112696"/>
            </a:xfrm>
            <a:custGeom>
              <a:avLst/>
              <a:gdLst>
                <a:gd name="T0" fmla="*/ 27033 w 51"/>
                <a:gd name="T1" fmla="*/ 11567 h 43"/>
                <a:gd name="T2" fmla="*/ 3149 w 51"/>
                <a:gd name="T3" fmla="*/ 11435 h 43"/>
                <a:gd name="T4" fmla="*/ 8543 w 51"/>
                <a:gd name="T5" fmla="*/ 10303 h 43"/>
                <a:gd name="T6" fmla="*/ 13114 w 51"/>
                <a:gd name="T7" fmla="*/ 9520 h 43"/>
                <a:gd name="T8" fmla="*/ 23176 w 51"/>
                <a:gd name="T9" fmla="*/ 7263 h 43"/>
                <a:gd name="T10" fmla="*/ 5187 w 51"/>
                <a:gd name="T11" fmla="*/ 5836 h 43"/>
                <a:gd name="T12" fmla="*/ 3149 w 51"/>
                <a:gd name="T13" fmla="*/ 4052 h 43"/>
                <a:gd name="T14" fmla="*/ 8543 w 51"/>
                <a:gd name="T15" fmla="*/ 3456 h 43"/>
                <a:gd name="T16" fmla="*/ 21600 w 51"/>
                <a:gd name="T17" fmla="*/ 3145 h 43"/>
                <a:gd name="T18" fmla="*/ 28366 w 51"/>
                <a:gd name="T19" fmla="*/ 1717 h 43"/>
                <a:gd name="T20" fmla="*/ 54980 w 51"/>
                <a:gd name="T21" fmla="*/ 1210 h 43"/>
                <a:gd name="T22" fmla="*/ 71710 w 51"/>
                <a:gd name="T23" fmla="*/ 1717 h 43"/>
                <a:gd name="T24" fmla="*/ 112212 w 51"/>
                <a:gd name="T25" fmla="*/ 853 h 43"/>
                <a:gd name="T26" fmla="*/ 137200 w 51"/>
                <a:gd name="T27" fmla="*/ 0 h 43"/>
                <a:gd name="T28" fmla="*/ 149149 w 51"/>
                <a:gd name="T29" fmla="*/ 853 h 43"/>
                <a:gd name="T30" fmla="*/ 126743 w 51"/>
                <a:gd name="T31" fmla="*/ 2673 h 43"/>
                <a:gd name="T32" fmla="*/ 120787 w 51"/>
                <a:gd name="T33" fmla="*/ 5836 h 43"/>
                <a:gd name="T34" fmla="*/ 112212 w 51"/>
                <a:gd name="T35" fmla="*/ 6955 h 43"/>
                <a:gd name="T36" fmla="*/ 68129 w 51"/>
                <a:gd name="T37" fmla="*/ 9520 h 43"/>
                <a:gd name="T38" fmla="*/ 27033 w 51"/>
                <a:gd name="T39" fmla="*/ 1156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1" h="43">
                  <a:moveTo>
                    <a:pt x="9" y="43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2" y="41"/>
                    <a:pt x="2" y="40"/>
                    <a:pt x="3" y="38"/>
                  </a:cubicBezTo>
                  <a:cubicBezTo>
                    <a:pt x="3" y="37"/>
                    <a:pt x="4" y="36"/>
                    <a:pt x="4" y="35"/>
                  </a:cubicBezTo>
                  <a:cubicBezTo>
                    <a:pt x="5" y="34"/>
                    <a:pt x="8" y="29"/>
                    <a:pt x="8" y="27"/>
                  </a:cubicBezTo>
                  <a:cubicBezTo>
                    <a:pt x="8" y="25"/>
                    <a:pt x="6" y="22"/>
                    <a:pt x="2" y="22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4"/>
                    <a:pt x="3" y="13"/>
                    <a:pt x="3" y="13"/>
                  </a:cubicBezTo>
                  <a:cubicBezTo>
                    <a:pt x="3" y="13"/>
                    <a:pt x="6" y="12"/>
                    <a:pt x="7" y="11"/>
                  </a:cubicBezTo>
                  <a:cubicBezTo>
                    <a:pt x="9" y="10"/>
                    <a:pt x="10" y="8"/>
                    <a:pt x="10" y="6"/>
                  </a:cubicBezTo>
                  <a:cubicBezTo>
                    <a:pt x="10" y="4"/>
                    <a:pt x="17" y="4"/>
                    <a:pt x="19" y="4"/>
                  </a:cubicBezTo>
                  <a:cubicBezTo>
                    <a:pt x="20" y="4"/>
                    <a:pt x="23" y="5"/>
                    <a:pt x="24" y="6"/>
                  </a:cubicBezTo>
                  <a:cubicBezTo>
                    <a:pt x="26" y="7"/>
                    <a:pt x="35" y="4"/>
                    <a:pt x="38" y="3"/>
                  </a:cubicBezTo>
                  <a:cubicBezTo>
                    <a:pt x="41" y="2"/>
                    <a:pt x="45" y="0"/>
                    <a:pt x="47" y="0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8" y="5"/>
                    <a:pt x="45" y="9"/>
                    <a:pt x="43" y="10"/>
                  </a:cubicBezTo>
                  <a:cubicBezTo>
                    <a:pt x="42" y="11"/>
                    <a:pt x="42" y="20"/>
                    <a:pt x="41" y="22"/>
                  </a:cubicBezTo>
                  <a:cubicBezTo>
                    <a:pt x="41" y="25"/>
                    <a:pt x="39" y="26"/>
                    <a:pt x="38" y="26"/>
                  </a:cubicBezTo>
                  <a:cubicBezTo>
                    <a:pt x="23" y="35"/>
                    <a:pt x="23" y="35"/>
                    <a:pt x="23" y="35"/>
                  </a:cubicBezTo>
                  <a:lnTo>
                    <a:pt x="9" y="43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7" name="Freeform 77"/>
            <p:cNvSpPr>
              <a:spLocks/>
            </p:cNvSpPr>
            <p:nvPr/>
          </p:nvSpPr>
          <p:spPr bwMode="auto">
            <a:xfrm>
              <a:off x="6443384" y="3945533"/>
              <a:ext cx="33672" cy="40644"/>
            </a:xfrm>
            <a:custGeom>
              <a:avLst/>
              <a:gdLst>
                <a:gd name="T0" fmla="*/ 0 w 12"/>
                <a:gd name="T1" fmla="*/ 2307 h 16"/>
                <a:gd name="T2" fmla="*/ 15175 w 12"/>
                <a:gd name="T3" fmla="*/ 972 h 16"/>
                <a:gd name="T4" fmla="*/ 21542 w 12"/>
                <a:gd name="T5" fmla="*/ 1 h 16"/>
                <a:gd name="T6" fmla="*/ 21542 w 12"/>
                <a:gd name="T7" fmla="*/ 0 h 16"/>
                <a:gd name="T8" fmla="*/ 42153 w 12"/>
                <a:gd name="T9" fmla="*/ 887 h 16"/>
                <a:gd name="T10" fmla="*/ 28458 w 12"/>
                <a:gd name="T11" fmla="*/ 2148 h 16"/>
                <a:gd name="T12" fmla="*/ 25292 w 12"/>
                <a:gd name="T13" fmla="*/ 2571 h 16"/>
                <a:gd name="T14" fmla="*/ 10245 w 12"/>
                <a:gd name="T15" fmla="*/ 2307 h 16"/>
                <a:gd name="T16" fmla="*/ 0 w 12"/>
                <a:gd name="T17" fmla="*/ 2307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" h="16">
                  <a:moveTo>
                    <a:pt x="0" y="14"/>
                  </a:moveTo>
                  <a:cubicBezTo>
                    <a:pt x="2" y="10"/>
                    <a:pt x="3" y="7"/>
                    <a:pt x="4" y="6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7"/>
                    <a:pt x="9" y="12"/>
                    <a:pt x="8" y="13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8" name="Freeform 78"/>
            <p:cNvSpPr>
              <a:spLocks/>
            </p:cNvSpPr>
            <p:nvPr/>
          </p:nvSpPr>
          <p:spPr bwMode="auto">
            <a:xfrm>
              <a:off x="6441700" y="3978787"/>
              <a:ext cx="85863" cy="92374"/>
            </a:xfrm>
            <a:custGeom>
              <a:avLst/>
              <a:gdLst>
                <a:gd name="T0" fmla="*/ 0 w 31"/>
                <a:gd name="T1" fmla="*/ 10313 h 35"/>
                <a:gd name="T2" fmla="*/ 12887 w 31"/>
                <a:gd name="T3" fmla="*/ 4386 h 35"/>
                <a:gd name="T4" fmla="*/ 16960 w 31"/>
                <a:gd name="T5" fmla="*/ 2080 h 35"/>
                <a:gd name="T6" fmla="*/ 40761 w 31"/>
                <a:gd name="T7" fmla="*/ 2380 h 35"/>
                <a:gd name="T8" fmla="*/ 81034 w 31"/>
                <a:gd name="T9" fmla="*/ 0 h 35"/>
                <a:gd name="T10" fmla="*/ 89178 w 31"/>
                <a:gd name="T11" fmla="*/ 3400 h 35"/>
                <a:gd name="T12" fmla="*/ 89178 w 31"/>
                <a:gd name="T13" fmla="*/ 3400 h 35"/>
                <a:gd name="T14" fmla="*/ 45903 w 31"/>
                <a:gd name="T15" fmla="*/ 4857 h 35"/>
                <a:gd name="T16" fmla="*/ 62839 w 31"/>
                <a:gd name="T17" fmla="*/ 7533 h 35"/>
                <a:gd name="T18" fmla="*/ 43240 w 31"/>
                <a:gd name="T19" fmla="*/ 8951 h 35"/>
                <a:gd name="T20" fmla="*/ 22700 w 31"/>
                <a:gd name="T21" fmla="*/ 10409 h 35"/>
                <a:gd name="T22" fmla="*/ 0 w 31"/>
                <a:gd name="T23" fmla="*/ 10313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1" h="35">
                  <a:moveTo>
                    <a:pt x="0" y="34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13"/>
                    <a:pt x="5" y="8"/>
                    <a:pt x="6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8" y="12"/>
                    <a:pt x="17" y="15"/>
                    <a:pt x="16" y="16"/>
                  </a:cubicBezTo>
                  <a:cubicBezTo>
                    <a:pt x="15" y="16"/>
                    <a:pt x="22" y="25"/>
                    <a:pt x="22" y="25"/>
                  </a:cubicBezTo>
                  <a:cubicBezTo>
                    <a:pt x="22" y="25"/>
                    <a:pt x="18" y="29"/>
                    <a:pt x="15" y="30"/>
                  </a:cubicBezTo>
                  <a:cubicBezTo>
                    <a:pt x="13" y="30"/>
                    <a:pt x="10" y="35"/>
                    <a:pt x="8" y="35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9" name="Freeform 79"/>
            <p:cNvSpPr>
              <a:spLocks/>
            </p:cNvSpPr>
            <p:nvPr/>
          </p:nvSpPr>
          <p:spPr bwMode="auto">
            <a:xfrm>
              <a:off x="6438333" y="4004652"/>
              <a:ext cx="444466" cy="341783"/>
            </a:xfrm>
            <a:custGeom>
              <a:avLst/>
              <a:gdLst>
                <a:gd name="T0" fmla="*/ 3520 w 159"/>
                <a:gd name="T1" fmla="*/ 6677 h 130"/>
                <a:gd name="T2" fmla="*/ 30672 w 159"/>
                <a:gd name="T3" fmla="*/ 7185 h 130"/>
                <a:gd name="T4" fmla="*/ 54944 w 159"/>
                <a:gd name="T5" fmla="*/ 5577 h 130"/>
                <a:gd name="T6" fmla="*/ 76434 w 159"/>
                <a:gd name="T7" fmla="*/ 4214 h 130"/>
                <a:gd name="T8" fmla="*/ 55209 w 159"/>
                <a:gd name="T9" fmla="*/ 1851 h 130"/>
                <a:gd name="T10" fmla="*/ 106170 w 159"/>
                <a:gd name="T11" fmla="*/ 1 h 130"/>
                <a:gd name="T12" fmla="*/ 106170 w 159"/>
                <a:gd name="T13" fmla="*/ 1 h 130"/>
                <a:gd name="T14" fmla="*/ 110219 w 159"/>
                <a:gd name="T15" fmla="*/ 0 h 130"/>
                <a:gd name="T16" fmla="*/ 140398 w 159"/>
                <a:gd name="T17" fmla="*/ 642 h 130"/>
                <a:gd name="T18" fmla="*/ 243802 w 159"/>
                <a:gd name="T19" fmla="*/ 6677 h 130"/>
                <a:gd name="T20" fmla="*/ 289175 w 159"/>
                <a:gd name="T21" fmla="*/ 7185 h 130"/>
                <a:gd name="T22" fmla="*/ 313562 w 159"/>
                <a:gd name="T23" fmla="*/ 7937 h 130"/>
                <a:gd name="T24" fmla="*/ 319086 w 159"/>
                <a:gd name="T25" fmla="*/ 8830 h 130"/>
                <a:gd name="T26" fmla="*/ 340276 w 159"/>
                <a:gd name="T27" fmla="*/ 8534 h 130"/>
                <a:gd name="T28" fmla="*/ 347686 w 159"/>
                <a:gd name="T29" fmla="*/ 9310 h 130"/>
                <a:gd name="T30" fmla="*/ 383464 w 159"/>
                <a:gd name="T31" fmla="*/ 12963 h 130"/>
                <a:gd name="T32" fmla="*/ 387057 w 159"/>
                <a:gd name="T33" fmla="*/ 14551 h 130"/>
                <a:gd name="T34" fmla="*/ 398326 w 159"/>
                <a:gd name="T35" fmla="*/ 17283 h 130"/>
                <a:gd name="T36" fmla="*/ 414060 w 159"/>
                <a:gd name="T37" fmla="*/ 14155 h 130"/>
                <a:gd name="T38" fmla="*/ 428547 w 159"/>
                <a:gd name="T39" fmla="*/ 15374 h 130"/>
                <a:gd name="T40" fmla="*/ 428547 w 159"/>
                <a:gd name="T41" fmla="*/ 17283 h 130"/>
                <a:gd name="T42" fmla="*/ 417588 w 159"/>
                <a:gd name="T43" fmla="*/ 17882 h 130"/>
                <a:gd name="T44" fmla="*/ 440330 w 159"/>
                <a:gd name="T45" fmla="*/ 19243 h 130"/>
                <a:gd name="T46" fmla="*/ 443983 w 159"/>
                <a:gd name="T47" fmla="*/ 19243 h 130"/>
                <a:gd name="T48" fmla="*/ 450480 w 159"/>
                <a:gd name="T49" fmla="*/ 21511 h 130"/>
                <a:gd name="T50" fmla="*/ 516598 w 159"/>
                <a:gd name="T51" fmla="*/ 21878 h 130"/>
                <a:gd name="T52" fmla="*/ 529803 w 159"/>
                <a:gd name="T53" fmla="*/ 23485 h 130"/>
                <a:gd name="T54" fmla="*/ 511205 w 159"/>
                <a:gd name="T55" fmla="*/ 28183 h 130"/>
                <a:gd name="T56" fmla="*/ 434737 w 159"/>
                <a:gd name="T57" fmla="*/ 30021 h 130"/>
                <a:gd name="T58" fmla="*/ 434737 w 159"/>
                <a:gd name="T59" fmla="*/ 30021 h 130"/>
                <a:gd name="T60" fmla="*/ 353541 w 159"/>
                <a:gd name="T61" fmla="*/ 32292 h 130"/>
                <a:gd name="T62" fmla="*/ 297128 w 159"/>
                <a:gd name="T63" fmla="*/ 36708 h 130"/>
                <a:gd name="T64" fmla="*/ 221533 w 159"/>
                <a:gd name="T65" fmla="*/ 33664 h 130"/>
                <a:gd name="T66" fmla="*/ 212928 w 159"/>
                <a:gd name="T67" fmla="*/ 35655 h 130"/>
                <a:gd name="T68" fmla="*/ 200911 w 159"/>
                <a:gd name="T69" fmla="*/ 36213 h 130"/>
                <a:gd name="T70" fmla="*/ 200911 w 159"/>
                <a:gd name="T71" fmla="*/ 35655 h 130"/>
                <a:gd name="T72" fmla="*/ 180116 w 159"/>
                <a:gd name="T73" fmla="*/ 33249 h 130"/>
                <a:gd name="T74" fmla="*/ 142778 w 159"/>
                <a:gd name="T75" fmla="*/ 28073 h 130"/>
                <a:gd name="T76" fmla="*/ 121003 w 159"/>
                <a:gd name="T77" fmla="*/ 26714 h 130"/>
                <a:gd name="T78" fmla="*/ 106170 w 159"/>
                <a:gd name="T79" fmla="*/ 23837 h 130"/>
                <a:gd name="T80" fmla="*/ 102938 w 159"/>
                <a:gd name="T81" fmla="*/ 21511 h 130"/>
                <a:gd name="T82" fmla="*/ 73759 w 159"/>
                <a:gd name="T83" fmla="*/ 18447 h 130"/>
                <a:gd name="T84" fmla="*/ 60536 w 159"/>
                <a:gd name="T85" fmla="*/ 16926 h 130"/>
                <a:gd name="T86" fmla="*/ 44423 w 159"/>
                <a:gd name="T87" fmla="*/ 13916 h 130"/>
                <a:gd name="T88" fmla="*/ 9705 w 159"/>
                <a:gd name="T89" fmla="*/ 9502 h 130"/>
                <a:gd name="T90" fmla="*/ 0 w 159"/>
                <a:gd name="T91" fmla="*/ 8534 h 130"/>
                <a:gd name="T92" fmla="*/ 3520 w 159"/>
                <a:gd name="T93" fmla="*/ 7185 h 130"/>
                <a:gd name="T94" fmla="*/ 3520 w 159"/>
                <a:gd name="T95" fmla="*/ 7185 h 130"/>
                <a:gd name="T96" fmla="*/ 3520 w 159"/>
                <a:gd name="T97" fmla="*/ 6677 h 13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59" h="130">
                  <a:moveTo>
                    <a:pt x="1" y="24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11" y="25"/>
                    <a:pt x="14" y="20"/>
                    <a:pt x="16" y="20"/>
                  </a:cubicBezTo>
                  <a:cubicBezTo>
                    <a:pt x="19" y="19"/>
                    <a:pt x="23" y="15"/>
                    <a:pt x="23" y="15"/>
                  </a:cubicBezTo>
                  <a:cubicBezTo>
                    <a:pt x="23" y="15"/>
                    <a:pt x="16" y="6"/>
                    <a:pt x="17" y="6"/>
                  </a:cubicBezTo>
                  <a:cubicBezTo>
                    <a:pt x="18" y="5"/>
                    <a:pt x="29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41" y="1"/>
                    <a:pt x="42" y="2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5" y="26"/>
                    <a:pt x="94" y="28"/>
                    <a:pt x="94" y="28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1"/>
                    <a:pt x="103" y="32"/>
                    <a:pt x="104" y="33"/>
                  </a:cubicBezTo>
                  <a:cubicBezTo>
                    <a:pt x="106" y="37"/>
                    <a:pt x="114" y="43"/>
                    <a:pt x="115" y="46"/>
                  </a:cubicBezTo>
                  <a:cubicBezTo>
                    <a:pt x="116" y="49"/>
                    <a:pt x="116" y="49"/>
                    <a:pt x="116" y="51"/>
                  </a:cubicBezTo>
                  <a:cubicBezTo>
                    <a:pt x="116" y="53"/>
                    <a:pt x="118" y="60"/>
                    <a:pt x="119" y="61"/>
                  </a:cubicBezTo>
                  <a:cubicBezTo>
                    <a:pt x="120" y="62"/>
                    <a:pt x="123" y="50"/>
                    <a:pt x="124" y="50"/>
                  </a:cubicBezTo>
                  <a:cubicBezTo>
                    <a:pt x="126" y="50"/>
                    <a:pt x="128" y="52"/>
                    <a:pt x="128" y="54"/>
                  </a:cubicBezTo>
                  <a:cubicBezTo>
                    <a:pt x="128" y="55"/>
                    <a:pt x="128" y="61"/>
                    <a:pt x="128" y="61"/>
                  </a:cubicBezTo>
                  <a:cubicBezTo>
                    <a:pt x="128" y="61"/>
                    <a:pt x="124" y="63"/>
                    <a:pt x="125" y="63"/>
                  </a:cubicBezTo>
                  <a:cubicBezTo>
                    <a:pt x="126" y="64"/>
                    <a:pt x="129" y="69"/>
                    <a:pt x="132" y="68"/>
                  </a:cubicBezTo>
                  <a:cubicBezTo>
                    <a:pt x="132" y="68"/>
                    <a:pt x="133" y="68"/>
                    <a:pt x="133" y="68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55" y="77"/>
                    <a:pt x="155" y="77"/>
                    <a:pt x="155" y="77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6" y="114"/>
                    <a:pt x="90" y="130"/>
                    <a:pt x="89" y="130"/>
                  </a:cubicBezTo>
                  <a:cubicBezTo>
                    <a:pt x="89" y="130"/>
                    <a:pt x="68" y="118"/>
                    <a:pt x="66" y="119"/>
                  </a:cubicBezTo>
                  <a:cubicBezTo>
                    <a:pt x="64" y="119"/>
                    <a:pt x="65" y="125"/>
                    <a:pt x="64" y="126"/>
                  </a:cubicBezTo>
                  <a:cubicBezTo>
                    <a:pt x="63" y="127"/>
                    <a:pt x="60" y="128"/>
                    <a:pt x="60" y="128"/>
                  </a:cubicBezTo>
                  <a:cubicBezTo>
                    <a:pt x="60" y="127"/>
                    <a:pt x="60" y="127"/>
                    <a:pt x="60" y="126"/>
                  </a:cubicBezTo>
                  <a:cubicBezTo>
                    <a:pt x="58" y="122"/>
                    <a:pt x="56" y="120"/>
                    <a:pt x="54" y="117"/>
                  </a:cubicBezTo>
                  <a:cubicBezTo>
                    <a:pt x="51" y="114"/>
                    <a:pt x="46" y="101"/>
                    <a:pt x="43" y="99"/>
                  </a:cubicBezTo>
                  <a:cubicBezTo>
                    <a:pt x="40" y="97"/>
                    <a:pt x="38" y="98"/>
                    <a:pt x="36" y="94"/>
                  </a:cubicBezTo>
                  <a:cubicBezTo>
                    <a:pt x="33" y="89"/>
                    <a:pt x="32" y="88"/>
                    <a:pt x="32" y="84"/>
                  </a:cubicBezTo>
                  <a:cubicBezTo>
                    <a:pt x="32" y="80"/>
                    <a:pt x="34" y="79"/>
                    <a:pt x="31" y="76"/>
                  </a:cubicBezTo>
                  <a:cubicBezTo>
                    <a:pt x="29" y="72"/>
                    <a:pt x="24" y="66"/>
                    <a:pt x="22" y="65"/>
                  </a:cubicBezTo>
                  <a:cubicBezTo>
                    <a:pt x="20" y="64"/>
                    <a:pt x="19" y="63"/>
                    <a:pt x="18" y="60"/>
                  </a:cubicBezTo>
                  <a:cubicBezTo>
                    <a:pt x="17" y="58"/>
                    <a:pt x="16" y="53"/>
                    <a:pt x="13" y="49"/>
                  </a:cubicBezTo>
                  <a:cubicBezTo>
                    <a:pt x="10" y="46"/>
                    <a:pt x="4" y="35"/>
                    <a:pt x="3" y="34"/>
                  </a:cubicBezTo>
                  <a:cubicBezTo>
                    <a:pt x="1" y="33"/>
                    <a:pt x="0" y="33"/>
                    <a:pt x="0" y="30"/>
                  </a:cubicBezTo>
                  <a:cubicBezTo>
                    <a:pt x="0" y="28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lnTo>
                    <a:pt x="1" y="24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00" name="Freeform 80"/>
            <p:cNvSpPr>
              <a:spLocks/>
            </p:cNvSpPr>
            <p:nvPr/>
          </p:nvSpPr>
          <p:spPr bwMode="auto">
            <a:xfrm>
              <a:off x="6419814" y="3980635"/>
              <a:ext cx="43773" cy="90526"/>
            </a:xfrm>
            <a:custGeom>
              <a:avLst/>
              <a:gdLst>
                <a:gd name="T0" fmla="*/ 4352 w 16"/>
                <a:gd name="T1" fmla="*/ 5525 h 34"/>
                <a:gd name="T2" fmla="*/ 21340 w 16"/>
                <a:gd name="T3" fmla="*/ 0 h 34"/>
                <a:gd name="T4" fmla="*/ 29811 w 16"/>
                <a:gd name="T5" fmla="*/ 0 h 34"/>
                <a:gd name="T6" fmla="*/ 37642 w 16"/>
                <a:gd name="T7" fmla="*/ 731 h 34"/>
                <a:gd name="T8" fmla="*/ 33121 w 16"/>
                <a:gd name="T9" fmla="*/ 2189 h 34"/>
                <a:gd name="T10" fmla="*/ 29811 w 16"/>
                <a:gd name="T11" fmla="*/ 4914 h 34"/>
                <a:gd name="T12" fmla="*/ 18675 w 16"/>
                <a:gd name="T13" fmla="*/ 11476 h 34"/>
                <a:gd name="T14" fmla="*/ 15941 w 16"/>
                <a:gd name="T15" fmla="*/ 11476 h 34"/>
                <a:gd name="T16" fmla="*/ 14255 w 16"/>
                <a:gd name="T17" fmla="*/ 11841 h 34"/>
                <a:gd name="T18" fmla="*/ 0 w 16"/>
                <a:gd name="T19" fmla="*/ 6031 h 34"/>
                <a:gd name="T20" fmla="*/ 4352 w 16"/>
                <a:gd name="T21" fmla="*/ 5525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" h="34">
                  <a:moveTo>
                    <a:pt x="2" y="16"/>
                  </a:moveTo>
                  <a:cubicBezTo>
                    <a:pt x="3" y="14"/>
                    <a:pt x="7" y="6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4"/>
                    <a:pt x="15" y="5"/>
                    <a:pt x="14" y="6"/>
                  </a:cubicBezTo>
                  <a:cubicBezTo>
                    <a:pt x="13" y="7"/>
                    <a:pt x="12" y="12"/>
                    <a:pt x="12" y="1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6" y="33"/>
                    <a:pt x="6" y="3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2" y="17"/>
                    <a:pt x="2" y="1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01" name="Freeform 81"/>
            <p:cNvSpPr>
              <a:spLocks/>
            </p:cNvSpPr>
            <p:nvPr/>
          </p:nvSpPr>
          <p:spPr bwMode="auto">
            <a:xfrm>
              <a:off x="6416446" y="4581065"/>
              <a:ext cx="166675" cy="188443"/>
            </a:xfrm>
            <a:custGeom>
              <a:avLst/>
              <a:gdLst>
                <a:gd name="T0" fmla="*/ 3193 w 60"/>
                <a:gd name="T1" fmla="*/ 851 h 72"/>
                <a:gd name="T2" fmla="*/ 8692 w 60"/>
                <a:gd name="T3" fmla="*/ 0 h 72"/>
                <a:gd name="T4" fmla="*/ 42522 w 60"/>
                <a:gd name="T5" fmla="*/ 0 h 72"/>
                <a:gd name="T6" fmla="*/ 47584 w 60"/>
                <a:gd name="T7" fmla="*/ 0 h 72"/>
                <a:gd name="T8" fmla="*/ 73357 w 60"/>
                <a:gd name="T9" fmla="*/ 601 h 72"/>
                <a:gd name="T10" fmla="*/ 102191 w 60"/>
                <a:gd name="T11" fmla="*/ 2192 h 72"/>
                <a:gd name="T12" fmla="*/ 129548 w 60"/>
                <a:gd name="T13" fmla="*/ 2421 h 72"/>
                <a:gd name="T14" fmla="*/ 154080 w 60"/>
                <a:gd name="T15" fmla="*/ 1206 h 72"/>
                <a:gd name="T16" fmla="*/ 171669 w 60"/>
                <a:gd name="T17" fmla="*/ 1709 h 72"/>
                <a:gd name="T18" fmla="*/ 180866 w 60"/>
                <a:gd name="T19" fmla="*/ 1316 h 72"/>
                <a:gd name="T20" fmla="*/ 171669 w 60"/>
                <a:gd name="T21" fmla="*/ 3105 h 72"/>
                <a:gd name="T22" fmla="*/ 163301 w 60"/>
                <a:gd name="T23" fmla="*/ 3741 h 72"/>
                <a:gd name="T24" fmla="*/ 163301 w 60"/>
                <a:gd name="T25" fmla="*/ 11097 h 72"/>
                <a:gd name="T26" fmla="*/ 175400 w 60"/>
                <a:gd name="T27" fmla="*/ 12508 h 72"/>
                <a:gd name="T28" fmla="*/ 154080 w 60"/>
                <a:gd name="T29" fmla="*/ 14711 h 72"/>
                <a:gd name="T30" fmla="*/ 129548 w 60"/>
                <a:gd name="T31" fmla="*/ 18367 h 72"/>
                <a:gd name="T32" fmla="*/ 126359 w 60"/>
                <a:gd name="T33" fmla="*/ 18968 h 72"/>
                <a:gd name="T34" fmla="*/ 93382 w 60"/>
                <a:gd name="T35" fmla="*/ 17051 h 72"/>
                <a:gd name="T36" fmla="*/ 83949 w 60"/>
                <a:gd name="T37" fmla="*/ 15174 h 72"/>
                <a:gd name="T38" fmla="*/ 0 w 60"/>
                <a:gd name="T39" fmla="*/ 11301 h 72"/>
                <a:gd name="T40" fmla="*/ 3193 w 60"/>
                <a:gd name="T41" fmla="*/ 8885 h 72"/>
                <a:gd name="T42" fmla="*/ 23664 w 60"/>
                <a:gd name="T43" fmla="*/ 5631 h 72"/>
                <a:gd name="T44" fmla="*/ 14342 w 60"/>
                <a:gd name="T45" fmla="*/ 2641 h 72"/>
                <a:gd name="T46" fmla="*/ 3193 w 60"/>
                <a:gd name="T47" fmla="*/ 851 h 7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72">
                  <a:moveTo>
                    <a:pt x="1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31" y="8"/>
                    <a:pt x="34" y="8"/>
                  </a:cubicBezTo>
                  <a:cubicBezTo>
                    <a:pt x="36" y="8"/>
                    <a:pt x="43" y="9"/>
                    <a:pt x="43" y="9"/>
                  </a:cubicBezTo>
                  <a:cubicBezTo>
                    <a:pt x="43" y="9"/>
                    <a:pt x="49" y="5"/>
                    <a:pt x="51" y="4"/>
                  </a:cubicBezTo>
                  <a:cubicBezTo>
                    <a:pt x="53" y="3"/>
                    <a:pt x="55" y="6"/>
                    <a:pt x="57" y="6"/>
                  </a:cubicBezTo>
                  <a:cubicBezTo>
                    <a:pt x="57" y="6"/>
                    <a:pt x="59" y="5"/>
                    <a:pt x="60" y="5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5" y="50"/>
                    <a:pt x="53" y="53"/>
                    <a:pt x="51" y="56"/>
                  </a:cubicBezTo>
                  <a:cubicBezTo>
                    <a:pt x="47" y="60"/>
                    <a:pt x="43" y="69"/>
                    <a:pt x="43" y="70"/>
                  </a:cubicBezTo>
                  <a:cubicBezTo>
                    <a:pt x="43" y="71"/>
                    <a:pt x="42" y="71"/>
                    <a:pt x="42" y="72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4"/>
                    <a:pt x="30" y="59"/>
                    <a:pt x="28" y="58"/>
                  </a:cubicBezTo>
                  <a:cubicBezTo>
                    <a:pt x="26" y="57"/>
                    <a:pt x="0" y="43"/>
                    <a:pt x="0" y="43"/>
                  </a:cubicBezTo>
                  <a:cubicBezTo>
                    <a:pt x="0" y="43"/>
                    <a:pt x="1" y="36"/>
                    <a:pt x="1" y="34"/>
                  </a:cubicBezTo>
                  <a:cubicBezTo>
                    <a:pt x="1" y="32"/>
                    <a:pt x="7" y="25"/>
                    <a:pt x="8" y="21"/>
                  </a:cubicBezTo>
                  <a:cubicBezTo>
                    <a:pt x="9" y="16"/>
                    <a:pt x="6" y="13"/>
                    <a:pt x="5" y="1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02" name="Freeform 82"/>
            <p:cNvSpPr>
              <a:spLocks/>
            </p:cNvSpPr>
            <p:nvPr/>
          </p:nvSpPr>
          <p:spPr bwMode="auto">
            <a:xfrm>
              <a:off x="6394560" y="4865576"/>
              <a:ext cx="65660" cy="157036"/>
            </a:xfrm>
            <a:custGeom>
              <a:avLst/>
              <a:gdLst>
                <a:gd name="T0" fmla="*/ 2678 w 24"/>
                <a:gd name="T1" fmla="*/ 9353 h 59"/>
                <a:gd name="T2" fmla="*/ 9810 w 24"/>
                <a:gd name="T3" fmla="*/ 7082 h 59"/>
                <a:gd name="T4" fmla="*/ 7072 w 24"/>
                <a:gd name="T5" fmla="*/ 3831 h 59"/>
                <a:gd name="T6" fmla="*/ 11492 w 24"/>
                <a:gd name="T7" fmla="*/ 1635 h 59"/>
                <a:gd name="T8" fmla="*/ 7072 w 24"/>
                <a:gd name="T9" fmla="*/ 1 h 59"/>
                <a:gd name="T10" fmla="*/ 18675 w 24"/>
                <a:gd name="T11" fmla="*/ 1 h 59"/>
                <a:gd name="T12" fmla="*/ 30347 w 24"/>
                <a:gd name="T13" fmla="*/ 726 h 59"/>
                <a:gd name="T14" fmla="*/ 41324 w 24"/>
                <a:gd name="T15" fmla="*/ 5519 h 59"/>
                <a:gd name="T16" fmla="*/ 34678 w 24"/>
                <a:gd name="T17" fmla="*/ 5766 h 59"/>
                <a:gd name="T18" fmla="*/ 29811 w 24"/>
                <a:gd name="T19" fmla="*/ 9678 h 59"/>
                <a:gd name="T20" fmla="*/ 37642 w 24"/>
                <a:gd name="T21" fmla="*/ 10203 h 59"/>
                <a:gd name="T22" fmla="*/ 53822 w 24"/>
                <a:gd name="T23" fmla="*/ 13475 h 59"/>
                <a:gd name="T24" fmla="*/ 53822 w 24"/>
                <a:gd name="T25" fmla="*/ 17242 h 59"/>
                <a:gd name="T26" fmla="*/ 48443 w 24"/>
                <a:gd name="T27" fmla="*/ 17997 h 59"/>
                <a:gd name="T28" fmla="*/ 44803 w 24"/>
                <a:gd name="T29" fmla="*/ 20291 h 59"/>
                <a:gd name="T30" fmla="*/ 23164 w 24"/>
                <a:gd name="T31" fmla="*/ 16901 h 59"/>
                <a:gd name="T32" fmla="*/ 30347 w 24"/>
                <a:gd name="T33" fmla="*/ 13102 h 59"/>
                <a:gd name="T34" fmla="*/ 15941 w 24"/>
                <a:gd name="T35" fmla="*/ 13475 h 59"/>
                <a:gd name="T36" fmla="*/ 11492 w 24"/>
                <a:gd name="T37" fmla="*/ 11968 h 59"/>
                <a:gd name="T38" fmla="*/ 2678 w 24"/>
                <a:gd name="T39" fmla="*/ 11731 h 59"/>
                <a:gd name="T40" fmla="*/ 2678 w 24"/>
                <a:gd name="T41" fmla="*/ 9353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4" h="59">
                  <a:moveTo>
                    <a:pt x="1" y="27"/>
                  </a:moveTo>
                  <a:cubicBezTo>
                    <a:pt x="3" y="24"/>
                    <a:pt x="4" y="23"/>
                    <a:pt x="4" y="21"/>
                  </a:cubicBezTo>
                  <a:cubicBezTo>
                    <a:pt x="4" y="19"/>
                    <a:pt x="2" y="13"/>
                    <a:pt x="3" y="11"/>
                  </a:cubicBezTo>
                  <a:cubicBezTo>
                    <a:pt x="5" y="9"/>
                    <a:pt x="5" y="7"/>
                    <a:pt x="5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11" y="0"/>
                    <a:pt x="13" y="2"/>
                  </a:cubicBezTo>
                  <a:cubicBezTo>
                    <a:pt x="14" y="4"/>
                    <a:pt x="17" y="16"/>
                    <a:pt x="17" y="16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3" y="18"/>
                    <a:pt x="12" y="27"/>
                    <a:pt x="12" y="28"/>
                  </a:cubicBezTo>
                  <a:cubicBezTo>
                    <a:pt x="12" y="29"/>
                    <a:pt x="15" y="28"/>
                    <a:pt x="16" y="30"/>
                  </a:cubicBezTo>
                  <a:cubicBezTo>
                    <a:pt x="18" y="32"/>
                    <a:pt x="22" y="38"/>
                    <a:pt x="23" y="39"/>
                  </a:cubicBezTo>
                  <a:cubicBezTo>
                    <a:pt x="24" y="41"/>
                    <a:pt x="23" y="50"/>
                    <a:pt x="23" y="50"/>
                  </a:cubicBezTo>
                  <a:cubicBezTo>
                    <a:pt x="23" y="50"/>
                    <a:pt x="21" y="51"/>
                    <a:pt x="20" y="52"/>
                  </a:cubicBezTo>
                  <a:cubicBezTo>
                    <a:pt x="19" y="53"/>
                    <a:pt x="20" y="58"/>
                    <a:pt x="19" y="59"/>
                  </a:cubicBezTo>
                  <a:cubicBezTo>
                    <a:pt x="17" y="59"/>
                    <a:pt x="11" y="51"/>
                    <a:pt x="10" y="49"/>
                  </a:cubicBezTo>
                  <a:cubicBezTo>
                    <a:pt x="10" y="47"/>
                    <a:pt x="14" y="39"/>
                    <a:pt x="13" y="38"/>
                  </a:cubicBezTo>
                  <a:cubicBezTo>
                    <a:pt x="12" y="36"/>
                    <a:pt x="9" y="39"/>
                    <a:pt x="7" y="39"/>
                  </a:cubicBezTo>
                  <a:cubicBezTo>
                    <a:pt x="5" y="39"/>
                    <a:pt x="7" y="35"/>
                    <a:pt x="5" y="35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0" y="30"/>
                    <a:pt x="1" y="2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03" name="Freeform 83"/>
            <p:cNvSpPr>
              <a:spLocks/>
            </p:cNvSpPr>
            <p:nvPr/>
          </p:nvSpPr>
          <p:spPr bwMode="auto">
            <a:xfrm>
              <a:off x="6160542" y="4204180"/>
              <a:ext cx="358603" cy="397207"/>
            </a:xfrm>
            <a:custGeom>
              <a:avLst/>
              <a:gdLst>
                <a:gd name="T0" fmla="*/ 48082 w 129"/>
                <a:gd name="T1" fmla="*/ 7663 h 151"/>
                <a:gd name="T2" fmla="*/ 48082 w 129"/>
                <a:gd name="T3" fmla="*/ 6701 h 151"/>
                <a:gd name="T4" fmla="*/ 73807 w 129"/>
                <a:gd name="T5" fmla="*/ 6701 h 151"/>
                <a:gd name="T6" fmla="*/ 73807 w 129"/>
                <a:gd name="T7" fmla="*/ 1948 h 151"/>
                <a:gd name="T8" fmla="*/ 266641 w 129"/>
                <a:gd name="T9" fmla="*/ 1948 h 151"/>
                <a:gd name="T10" fmla="*/ 280772 w 129"/>
                <a:gd name="T11" fmla="*/ 2774 h 151"/>
                <a:gd name="T12" fmla="*/ 299072 w 129"/>
                <a:gd name="T13" fmla="*/ 1865 h 151"/>
                <a:gd name="T14" fmla="*/ 304415 w 129"/>
                <a:gd name="T15" fmla="*/ 1 h 151"/>
                <a:gd name="T16" fmla="*/ 319710 w 129"/>
                <a:gd name="T17" fmla="*/ 0 h 151"/>
                <a:gd name="T18" fmla="*/ 323592 w 129"/>
                <a:gd name="T19" fmla="*/ 1 h 151"/>
                <a:gd name="T20" fmla="*/ 338464 w 129"/>
                <a:gd name="T21" fmla="*/ 920 h 151"/>
                <a:gd name="T22" fmla="*/ 351100 w 129"/>
                <a:gd name="T23" fmla="*/ 1948 h 151"/>
                <a:gd name="T24" fmla="*/ 362534 w 129"/>
                <a:gd name="T25" fmla="*/ 9185 h 151"/>
                <a:gd name="T26" fmla="*/ 389714 w 129"/>
                <a:gd name="T27" fmla="*/ 10911 h 151"/>
                <a:gd name="T28" fmla="*/ 393708 w 129"/>
                <a:gd name="T29" fmla="*/ 11638 h 151"/>
                <a:gd name="T30" fmla="*/ 378242 w 129"/>
                <a:gd name="T31" fmla="*/ 12306 h 151"/>
                <a:gd name="T32" fmla="*/ 354863 w 129"/>
                <a:gd name="T33" fmla="*/ 14866 h 151"/>
                <a:gd name="T34" fmla="*/ 341705 w 129"/>
                <a:gd name="T35" fmla="*/ 20016 h 151"/>
                <a:gd name="T36" fmla="*/ 332250 w 129"/>
                <a:gd name="T37" fmla="*/ 22807 h 151"/>
                <a:gd name="T38" fmla="*/ 310176 w 129"/>
                <a:gd name="T39" fmla="*/ 24513 h 151"/>
                <a:gd name="T40" fmla="*/ 304415 w 129"/>
                <a:gd name="T41" fmla="*/ 27010 h 151"/>
                <a:gd name="T42" fmla="*/ 294491 w 129"/>
                <a:gd name="T43" fmla="*/ 27973 h 151"/>
                <a:gd name="T44" fmla="*/ 280772 w 129"/>
                <a:gd name="T45" fmla="*/ 32474 h 151"/>
                <a:gd name="T46" fmla="*/ 258457 w 129"/>
                <a:gd name="T47" fmla="*/ 32474 h 151"/>
                <a:gd name="T48" fmla="*/ 258457 w 129"/>
                <a:gd name="T49" fmla="*/ 34515 h 151"/>
                <a:gd name="T50" fmla="*/ 284256 w 129"/>
                <a:gd name="T51" fmla="*/ 35523 h 151"/>
                <a:gd name="T52" fmla="*/ 310176 w 129"/>
                <a:gd name="T53" fmla="*/ 36839 h 151"/>
                <a:gd name="T54" fmla="*/ 319710 w 129"/>
                <a:gd name="T55" fmla="*/ 38296 h 151"/>
                <a:gd name="T56" fmla="*/ 323592 w 129"/>
                <a:gd name="T57" fmla="*/ 40814 h 151"/>
                <a:gd name="T58" fmla="*/ 323592 w 129"/>
                <a:gd name="T59" fmla="*/ 40814 h 151"/>
                <a:gd name="T60" fmla="*/ 290271 w 129"/>
                <a:gd name="T61" fmla="*/ 40814 h 151"/>
                <a:gd name="T62" fmla="*/ 284256 w 129"/>
                <a:gd name="T63" fmla="*/ 41600 h 151"/>
                <a:gd name="T64" fmla="*/ 277344 w 129"/>
                <a:gd name="T65" fmla="*/ 42912 h 151"/>
                <a:gd name="T66" fmla="*/ 247778 w 129"/>
                <a:gd name="T67" fmla="*/ 42912 h 151"/>
                <a:gd name="T68" fmla="*/ 214917 w 129"/>
                <a:gd name="T69" fmla="*/ 43131 h 151"/>
                <a:gd name="T70" fmla="*/ 192491 w 129"/>
                <a:gd name="T71" fmla="*/ 41934 h 151"/>
                <a:gd name="T72" fmla="*/ 179039 w 129"/>
                <a:gd name="T73" fmla="*/ 40814 h 151"/>
                <a:gd name="T74" fmla="*/ 162225 w 129"/>
                <a:gd name="T75" fmla="*/ 41600 h 151"/>
                <a:gd name="T76" fmla="*/ 136282 w 129"/>
                <a:gd name="T77" fmla="*/ 40579 h 151"/>
                <a:gd name="T78" fmla="*/ 125335 w 129"/>
                <a:gd name="T79" fmla="*/ 39687 h 151"/>
                <a:gd name="T80" fmla="*/ 127244 w 129"/>
                <a:gd name="T81" fmla="*/ 38296 h 151"/>
                <a:gd name="T82" fmla="*/ 108017 w 129"/>
                <a:gd name="T83" fmla="*/ 36469 h 151"/>
                <a:gd name="T84" fmla="*/ 82537 w 129"/>
                <a:gd name="T85" fmla="*/ 34903 h 151"/>
                <a:gd name="T86" fmla="*/ 65670 w 129"/>
                <a:gd name="T87" fmla="*/ 33124 h 151"/>
                <a:gd name="T88" fmla="*/ 39620 w 129"/>
                <a:gd name="T89" fmla="*/ 31770 h 151"/>
                <a:gd name="T90" fmla="*/ 42760 w 129"/>
                <a:gd name="T91" fmla="*/ 29661 h 151"/>
                <a:gd name="T92" fmla="*/ 23995 w 129"/>
                <a:gd name="T93" fmla="*/ 27010 h 151"/>
                <a:gd name="T94" fmla="*/ 27842 w 129"/>
                <a:gd name="T95" fmla="*/ 24988 h 151"/>
                <a:gd name="T96" fmla="*/ 13414 w 129"/>
                <a:gd name="T97" fmla="*/ 23566 h 151"/>
                <a:gd name="T98" fmla="*/ 0 w 129"/>
                <a:gd name="T99" fmla="*/ 22313 h 151"/>
                <a:gd name="T100" fmla="*/ 13414 w 129"/>
                <a:gd name="T101" fmla="*/ 20270 h 151"/>
                <a:gd name="T102" fmla="*/ 23995 w 129"/>
                <a:gd name="T103" fmla="*/ 16902 h 151"/>
                <a:gd name="T104" fmla="*/ 48082 w 129"/>
                <a:gd name="T105" fmla="*/ 16235 h 151"/>
                <a:gd name="T106" fmla="*/ 48082 w 129"/>
                <a:gd name="T107" fmla="*/ 7663 h 15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29" h="151">
                  <a:moveTo>
                    <a:pt x="16" y="27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9" y="8"/>
                    <a:pt x="90" y="11"/>
                    <a:pt x="92" y="10"/>
                  </a:cubicBezTo>
                  <a:cubicBezTo>
                    <a:pt x="94" y="9"/>
                    <a:pt x="98" y="6"/>
                    <a:pt x="98" y="6"/>
                  </a:cubicBezTo>
                  <a:cubicBezTo>
                    <a:pt x="98" y="6"/>
                    <a:pt x="99" y="1"/>
                    <a:pt x="100" y="1"/>
                  </a:cubicBezTo>
                  <a:cubicBezTo>
                    <a:pt x="102" y="1"/>
                    <a:pt x="105" y="0"/>
                    <a:pt x="105" y="0"/>
                  </a:cubicBezTo>
                  <a:cubicBezTo>
                    <a:pt x="105" y="0"/>
                    <a:pt x="105" y="1"/>
                    <a:pt x="106" y="1"/>
                  </a:cubicBezTo>
                  <a:cubicBezTo>
                    <a:pt x="110" y="3"/>
                    <a:pt x="110" y="2"/>
                    <a:pt x="111" y="3"/>
                  </a:cubicBezTo>
                  <a:cubicBezTo>
                    <a:pt x="112" y="3"/>
                    <a:pt x="115" y="6"/>
                    <a:pt x="115" y="7"/>
                  </a:cubicBezTo>
                  <a:cubicBezTo>
                    <a:pt x="116" y="8"/>
                    <a:pt x="117" y="30"/>
                    <a:pt x="119" y="32"/>
                  </a:cubicBezTo>
                  <a:cubicBezTo>
                    <a:pt x="121" y="34"/>
                    <a:pt x="127" y="36"/>
                    <a:pt x="128" y="38"/>
                  </a:cubicBezTo>
                  <a:cubicBezTo>
                    <a:pt x="128" y="39"/>
                    <a:pt x="128" y="40"/>
                    <a:pt x="129" y="41"/>
                  </a:cubicBezTo>
                  <a:cubicBezTo>
                    <a:pt x="129" y="41"/>
                    <a:pt x="127" y="42"/>
                    <a:pt x="124" y="43"/>
                  </a:cubicBezTo>
                  <a:cubicBezTo>
                    <a:pt x="122" y="44"/>
                    <a:pt x="117" y="45"/>
                    <a:pt x="116" y="52"/>
                  </a:cubicBezTo>
                  <a:cubicBezTo>
                    <a:pt x="114" y="59"/>
                    <a:pt x="113" y="67"/>
                    <a:pt x="112" y="70"/>
                  </a:cubicBezTo>
                  <a:cubicBezTo>
                    <a:pt x="111" y="72"/>
                    <a:pt x="110" y="80"/>
                    <a:pt x="109" y="80"/>
                  </a:cubicBezTo>
                  <a:cubicBezTo>
                    <a:pt x="108" y="81"/>
                    <a:pt x="104" y="82"/>
                    <a:pt x="102" y="86"/>
                  </a:cubicBezTo>
                  <a:cubicBezTo>
                    <a:pt x="101" y="89"/>
                    <a:pt x="100" y="95"/>
                    <a:pt x="100" y="95"/>
                  </a:cubicBezTo>
                  <a:cubicBezTo>
                    <a:pt x="100" y="95"/>
                    <a:pt x="96" y="94"/>
                    <a:pt x="96" y="98"/>
                  </a:cubicBezTo>
                  <a:cubicBezTo>
                    <a:pt x="96" y="101"/>
                    <a:pt x="94" y="112"/>
                    <a:pt x="92" y="114"/>
                  </a:cubicBezTo>
                  <a:cubicBezTo>
                    <a:pt x="91" y="115"/>
                    <a:pt x="86" y="112"/>
                    <a:pt x="85" y="114"/>
                  </a:cubicBezTo>
                  <a:cubicBezTo>
                    <a:pt x="84" y="117"/>
                    <a:pt x="83" y="121"/>
                    <a:pt x="85" y="121"/>
                  </a:cubicBezTo>
                  <a:cubicBezTo>
                    <a:pt x="87" y="122"/>
                    <a:pt x="91" y="121"/>
                    <a:pt x="93" y="124"/>
                  </a:cubicBezTo>
                  <a:cubicBezTo>
                    <a:pt x="96" y="126"/>
                    <a:pt x="102" y="127"/>
                    <a:pt x="102" y="129"/>
                  </a:cubicBezTo>
                  <a:cubicBezTo>
                    <a:pt x="102" y="131"/>
                    <a:pt x="103" y="134"/>
                    <a:pt x="105" y="134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3" y="146"/>
                    <a:pt x="93" y="146"/>
                    <a:pt x="93" y="146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1" y="150"/>
                    <a:pt x="84" y="150"/>
                    <a:pt x="81" y="150"/>
                  </a:cubicBezTo>
                  <a:cubicBezTo>
                    <a:pt x="78" y="150"/>
                    <a:pt x="71" y="150"/>
                    <a:pt x="70" y="151"/>
                  </a:cubicBezTo>
                  <a:cubicBezTo>
                    <a:pt x="63" y="147"/>
                    <a:pt x="63" y="147"/>
                    <a:pt x="63" y="147"/>
                  </a:cubicBezTo>
                  <a:cubicBezTo>
                    <a:pt x="63" y="147"/>
                    <a:pt x="61" y="144"/>
                    <a:pt x="59" y="143"/>
                  </a:cubicBezTo>
                  <a:cubicBezTo>
                    <a:pt x="57" y="142"/>
                    <a:pt x="58" y="146"/>
                    <a:pt x="53" y="146"/>
                  </a:cubicBezTo>
                  <a:cubicBezTo>
                    <a:pt x="48" y="146"/>
                    <a:pt x="47" y="144"/>
                    <a:pt x="45" y="142"/>
                  </a:cubicBezTo>
                  <a:cubicBezTo>
                    <a:pt x="44" y="141"/>
                    <a:pt x="43" y="140"/>
                    <a:pt x="41" y="139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2" y="134"/>
                    <a:pt x="36" y="129"/>
                    <a:pt x="35" y="128"/>
                  </a:cubicBezTo>
                  <a:cubicBezTo>
                    <a:pt x="34" y="127"/>
                    <a:pt x="29" y="123"/>
                    <a:pt x="27" y="122"/>
                  </a:cubicBezTo>
                  <a:cubicBezTo>
                    <a:pt x="25" y="121"/>
                    <a:pt x="23" y="118"/>
                    <a:pt x="22" y="116"/>
                  </a:cubicBezTo>
                  <a:cubicBezTo>
                    <a:pt x="22" y="114"/>
                    <a:pt x="13" y="112"/>
                    <a:pt x="13" y="112"/>
                  </a:cubicBezTo>
                  <a:cubicBezTo>
                    <a:pt x="13" y="112"/>
                    <a:pt x="14" y="107"/>
                    <a:pt x="14" y="104"/>
                  </a:cubicBezTo>
                  <a:cubicBezTo>
                    <a:pt x="14" y="101"/>
                    <a:pt x="9" y="97"/>
                    <a:pt x="8" y="95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7" y="86"/>
                    <a:pt x="4" y="84"/>
                    <a:pt x="4" y="82"/>
                  </a:cubicBezTo>
                  <a:cubicBezTo>
                    <a:pt x="4" y="81"/>
                    <a:pt x="0" y="83"/>
                    <a:pt x="0" y="79"/>
                  </a:cubicBezTo>
                  <a:cubicBezTo>
                    <a:pt x="1" y="76"/>
                    <a:pt x="4" y="74"/>
                    <a:pt x="4" y="71"/>
                  </a:cubicBezTo>
                  <a:cubicBezTo>
                    <a:pt x="5" y="68"/>
                    <a:pt x="6" y="61"/>
                    <a:pt x="8" y="59"/>
                  </a:cubicBezTo>
                  <a:cubicBezTo>
                    <a:pt x="9" y="58"/>
                    <a:pt x="16" y="57"/>
                    <a:pt x="16" y="57"/>
                  </a:cubicBezTo>
                  <a:lnTo>
                    <a:pt x="16" y="27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04" name="Freeform 84"/>
            <p:cNvSpPr>
              <a:spLocks/>
            </p:cNvSpPr>
            <p:nvPr/>
          </p:nvSpPr>
          <p:spPr bwMode="auto">
            <a:xfrm>
              <a:off x="6377724" y="3925211"/>
              <a:ext cx="50508" cy="27712"/>
            </a:xfrm>
            <a:custGeom>
              <a:avLst/>
              <a:gdLst>
                <a:gd name="T0" fmla="*/ 25292 w 18"/>
                <a:gd name="T1" fmla="*/ 6926 h 10"/>
                <a:gd name="T2" fmla="*/ 6147 w 18"/>
                <a:gd name="T3" fmla="*/ 6245 h 10"/>
                <a:gd name="T4" fmla="*/ 15175 w 18"/>
                <a:gd name="T5" fmla="*/ 3596 h 10"/>
                <a:gd name="T6" fmla="*/ 57328 w 18"/>
                <a:gd name="T7" fmla="*/ 1065 h 10"/>
                <a:gd name="T8" fmla="*/ 42153 w 18"/>
                <a:gd name="T9" fmla="*/ 6245 h 10"/>
                <a:gd name="T10" fmla="*/ 25292 w 18"/>
                <a:gd name="T11" fmla="*/ 6926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8" h="10">
                  <a:moveTo>
                    <a:pt x="7" y="10"/>
                  </a:moveTo>
                  <a:cubicBezTo>
                    <a:pt x="5" y="10"/>
                    <a:pt x="2" y="9"/>
                    <a:pt x="2" y="9"/>
                  </a:cubicBezTo>
                  <a:cubicBezTo>
                    <a:pt x="0" y="7"/>
                    <a:pt x="2" y="5"/>
                    <a:pt x="4" y="5"/>
                  </a:cubicBezTo>
                  <a:cubicBezTo>
                    <a:pt x="5" y="4"/>
                    <a:pt x="15" y="2"/>
                    <a:pt x="16" y="1"/>
                  </a:cubicBezTo>
                  <a:cubicBezTo>
                    <a:pt x="18" y="0"/>
                    <a:pt x="14" y="8"/>
                    <a:pt x="12" y="9"/>
                  </a:cubicBezTo>
                  <a:cubicBezTo>
                    <a:pt x="11" y="10"/>
                    <a:pt x="9" y="10"/>
                    <a:pt x="7" y="1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05" name="Freeform 85"/>
            <p:cNvSpPr>
              <a:spLocks/>
            </p:cNvSpPr>
            <p:nvPr/>
          </p:nvSpPr>
          <p:spPr bwMode="auto">
            <a:xfrm>
              <a:off x="6344052" y="5196275"/>
              <a:ext cx="37039" cy="46187"/>
            </a:xfrm>
            <a:custGeom>
              <a:avLst/>
              <a:gdLst>
                <a:gd name="T0" fmla="*/ 7876 w 13"/>
                <a:gd name="T1" fmla="*/ 4793 h 17"/>
                <a:gd name="T2" fmla="*/ 32035 w 13"/>
                <a:gd name="T3" fmla="*/ 1 h 17"/>
                <a:gd name="T4" fmla="*/ 50319 w 13"/>
                <a:gd name="T5" fmla="*/ 1304 h 17"/>
                <a:gd name="T6" fmla="*/ 50319 w 13"/>
                <a:gd name="T7" fmla="*/ 4793 h 17"/>
                <a:gd name="T8" fmla="*/ 13329 w 13"/>
                <a:gd name="T9" fmla="*/ 7049 h 17"/>
                <a:gd name="T10" fmla="*/ 7876 w 13"/>
                <a:gd name="T11" fmla="*/ 4793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" h="17">
                  <a:moveTo>
                    <a:pt x="2" y="10"/>
                  </a:moveTo>
                  <a:cubicBezTo>
                    <a:pt x="2" y="7"/>
                    <a:pt x="4" y="2"/>
                    <a:pt x="7" y="1"/>
                  </a:cubicBezTo>
                  <a:cubicBezTo>
                    <a:pt x="10" y="0"/>
                    <a:pt x="11" y="3"/>
                    <a:pt x="11" y="3"/>
                  </a:cubicBezTo>
                  <a:cubicBezTo>
                    <a:pt x="11" y="6"/>
                    <a:pt x="11" y="10"/>
                    <a:pt x="11" y="10"/>
                  </a:cubicBezTo>
                  <a:cubicBezTo>
                    <a:pt x="11" y="10"/>
                    <a:pt x="13" y="17"/>
                    <a:pt x="3" y="15"/>
                  </a:cubicBezTo>
                  <a:cubicBezTo>
                    <a:pt x="0" y="14"/>
                    <a:pt x="2" y="12"/>
                    <a:pt x="2" y="1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06" name="Freeform 86"/>
            <p:cNvSpPr>
              <a:spLocks/>
            </p:cNvSpPr>
            <p:nvPr/>
          </p:nvSpPr>
          <p:spPr bwMode="auto">
            <a:xfrm>
              <a:off x="6340685" y="4884051"/>
              <a:ext cx="228967" cy="343631"/>
            </a:xfrm>
            <a:custGeom>
              <a:avLst/>
              <a:gdLst>
                <a:gd name="T0" fmla="*/ 3450 w 82"/>
                <a:gd name="T1" fmla="*/ 13365 h 130"/>
                <a:gd name="T2" fmla="*/ 0 w 82"/>
                <a:gd name="T3" fmla="*/ 12305 h 130"/>
                <a:gd name="T4" fmla="*/ 0 w 82"/>
                <a:gd name="T5" fmla="*/ 10777 h 130"/>
                <a:gd name="T6" fmla="*/ 0 w 82"/>
                <a:gd name="T7" fmla="*/ 10518 h 130"/>
                <a:gd name="T8" fmla="*/ 65308 w 82"/>
                <a:gd name="T9" fmla="*/ 8356 h 130"/>
                <a:gd name="T10" fmla="*/ 78421 w 82"/>
                <a:gd name="T11" fmla="*/ 8600 h 130"/>
                <a:gd name="T12" fmla="*/ 84920 w 82"/>
                <a:gd name="T13" fmla="*/ 9865 h 130"/>
                <a:gd name="T14" fmla="*/ 104693 w 82"/>
                <a:gd name="T15" fmla="*/ 9517 h 130"/>
                <a:gd name="T16" fmla="*/ 95893 w 82"/>
                <a:gd name="T17" fmla="*/ 12999 h 130"/>
                <a:gd name="T18" fmla="*/ 123448 w 82"/>
                <a:gd name="T19" fmla="*/ 15966 h 130"/>
                <a:gd name="T20" fmla="*/ 128858 w 82"/>
                <a:gd name="T21" fmla="*/ 13876 h 130"/>
                <a:gd name="T22" fmla="*/ 137705 w 82"/>
                <a:gd name="T23" fmla="*/ 13365 h 130"/>
                <a:gd name="T24" fmla="*/ 137705 w 82"/>
                <a:gd name="T25" fmla="*/ 9865 h 130"/>
                <a:gd name="T26" fmla="*/ 114323 w 82"/>
                <a:gd name="T27" fmla="*/ 7044 h 130"/>
                <a:gd name="T28" fmla="*/ 101386 w 82"/>
                <a:gd name="T29" fmla="*/ 6529 h 130"/>
                <a:gd name="T30" fmla="*/ 110566 w 82"/>
                <a:gd name="T31" fmla="*/ 3023 h 130"/>
                <a:gd name="T32" fmla="*/ 119096 w 82"/>
                <a:gd name="T33" fmla="*/ 2853 h 130"/>
                <a:gd name="T34" fmla="*/ 134204 w 82"/>
                <a:gd name="T35" fmla="*/ 2405 h 130"/>
                <a:gd name="T36" fmla="*/ 159354 w 82"/>
                <a:gd name="T37" fmla="*/ 3023 h 130"/>
                <a:gd name="T38" fmla="*/ 193963 w 82"/>
                <a:gd name="T39" fmla="*/ 2113 h 130"/>
                <a:gd name="T40" fmla="*/ 224835 w 82"/>
                <a:gd name="T41" fmla="*/ 1477 h 130"/>
                <a:gd name="T42" fmla="*/ 255114 w 82"/>
                <a:gd name="T43" fmla="*/ 0 h 130"/>
                <a:gd name="T44" fmla="*/ 255114 w 82"/>
                <a:gd name="T45" fmla="*/ 2405 h 130"/>
                <a:gd name="T46" fmla="*/ 258546 w 82"/>
                <a:gd name="T47" fmla="*/ 8004 h 130"/>
                <a:gd name="T48" fmla="*/ 263777 w 82"/>
                <a:gd name="T49" fmla="*/ 11159 h 130"/>
                <a:gd name="T50" fmla="*/ 224835 w 82"/>
                <a:gd name="T51" fmla="*/ 15419 h 130"/>
                <a:gd name="T52" fmla="*/ 159354 w 82"/>
                <a:gd name="T53" fmla="*/ 18125 h 130"/>
                <a:gd name="T54" fmla="*/ 130064 w 82"/>
                <a:gd name="T55" fmla="*/ 21364 h 130"/>
                <a:gd name="T56" fmla="*/ 104693 w 82"/>
                <a:gd name="T57" fmla="*/ 23038 h 130"/>
                <a:gd name="T58" fmla="*/ 110566 w 82"/>
                <a:gd name="T59" fmla="*/ 25097 h 130"/>
                <a:gd name="T60" fmla="*/ 130064 w 82"/>
                <a:gd name="T61" fmla="*/ 27876 h 130"/>
                <a:gd name="T62" fmla="*/ 130064 w 82"/>
                <a:gd name="T63" fmla="*/ 33474 h 130"/>
                <a:gd name="T64" fmla="*/ 65308 w 82"/>
                <a:gd name="T65" fmla="*/ 36648 h 130"/>
                <a:gd name="T66" fmla="*/ 59820 w 82"/>
                <a:gd name="T67" fmla="*/ 38114 h 130"/>
                <a:gd name="T68" fmla="*/ 63124 w 82"/>
                <a:gd name="T69" fmla="*/ 40127 h 130"/>
                <a:gd name="T70" fmla="*/ 39377 w 82"/>
                <a:gd name="T71" fmla="*/ 39884 h 130"/>
                <a:gd name="T72" fmla="*/ 39377 w 82"/>
                <a:gd name="T73" fmla="*/ 37718 h 130"/>
                <a:gd name="T74" fmla="*/ 39377 w 82"/>
                <a:gd name="T75" fmla="*/ 37104 h 130"/>
                <a:gd name="T76" fmla="*/ 36068 w 82"/>
                <a:gd name="T77" fmla="*/ 32684 h 130"/>
                <a:gd name="T78" fmla="*/ 26105 w 82"/>
                <a:gd name="T79" fmla="*/ 29379 h 130"/>
                <a:gd name="T80" fmla="*/ 23742 w 82"/>
                <a:gd name="T81" fmla="*/ 28641 h 130"/>
                <a:gd name="T82" fmla="*/ 39377 w 82"/>
                <a:gd name="T83" fmla="*/ 27359 h 130"/>
                <a:gd name="T84" fmla="*/ 53821 w 82"/>
                <a:gd name="T85" fmla="*/ 26362 h 130"/>
                <a:gd name="T86" fmla="*/ 59820 w 82"/>
                <a:gd name="T87" fmla="*/ 24136 h 130"/>
                <a:gd name="T88" fmla="*/ 65308 w 82"/>
                <a:gd name="T89" fmla="*/ 22450 h 130"/>
                <a:gd name="T90" fmla="*/ 65308 w 82"/>
                <a:gd name="T91" fmla="*/ 20018 h 130"/>
                <a:gd name="T92" fmla="*/ 63124 w 82"/>
                <a:gd name="T93" fmla="*/ 15049 h 130"/>
                <a:gd name="T94" fmla="*/ 29416 w 82"/>
                <a:gd name="T95" fmla="*/ 13617 h 130"/>
                <a:gd name="T96" fmla="*/ 3450 w 82"/>
                <a:gd name="T97" fmla="*/ 13365 h 13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82" h="130">
                  <a:moveTo>
                    <a:pt x="1" y="43"/>
                  </a:moveTo>
                  <a:cubicBezTo>
                    <a:pt x="1" y="43"/>
                    <a:pt x="1" y="41"/>
                    <a:pt x="0" y="40"/>
                  </a:cubicBezTo>
                  <a:cubicBezTo>
                    <a:pt x="0" y="38"/>
                    <a:pt x="0" y="35"/>
                    <a:pt x="0" y="3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" y="33"/>
                    <a:pt x="19" y="28"/>
                    <a:pt x="20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6" y="28"/>
                    <a:pt x="24" y="32"/>
                    <a:pt x="26" y="32"/>
                  </a:cubicBezTo>
                  <a:cubicBezTo>
                    <a:pt x="28" y="32"/>
                    <a:pt x="31" y="29"/>
                    <a:pt x="32" y="31"/>
                  </a:cubicBezTo>
                  <a:cubicBezTo>
                    <a:pt x="33" y="32"/>
                    <a:pt x="29" y="40"/>
                    <a:pt x="29" y="42"/>
                  </a:cubicBezTo>
                  <a:cubicBezTo>
                    <a:pt x="30" y="44"/>
                    <a:pt x="36" y="52"/>
                    <a:pt x="38" y="52"/>
                  </a:cubicBezTo>
                  <a:cubicBezTo>
                    <a:pt x="39" y="51"/>
                    <a:pt x="38" y="46"/>
                    <a:pt x="39" y="45"/>
                  </a:cubicBezTo>
                  <a:cubicBezTo>
                    <a:pt x="40" y="44"/>
                    <a:pt x="42" y="43"/>
                    <a:pt x="42" y="43"/>
                  </a:cubicBezTo>
                  <a:cubicBezTo>
                    <a:pt x="42" y="43"/>
                    <a:pt x="43" y="34"/>
                    <a:pt x="42" y="32"/>
                  </a:cubicBezTo>
                  <a:cubicBezTo>
                    <a:pt x="41" y="31"/>
                    <a:pt x="37" y="25"/>
                    <a:pt x="35" y="23"/>
                  </a:cubicBezTo>
                  <a:cubicBezTo>
                    <a:pt x="34" y="21"/>
                    <a:pt x="31" y="22"/>
                    <a:pt x="31" y="21"/>
                  </a:cubicBezTo>
                  <a:cubicBezTo>
                    <a:pt x="31" y="20"/>
                    <a:pt x="32" y="11"/>
                    <a:pt x="34" y="10"/>
                  </a:cubicBezTo>
                  <a:cubicBezTo>
                    <a:pt x="35" y="10"/>
                    <a:pt x="35" y="10"/>
                    <a:pt x="36" y="9"/>
                  </a:cubicBezTo>
                  <a:cubicBezTo>
                    <a:pt x="38" y="9"/>
                    <a:pt x="40" y="8"/>
                    <a:pt x="41" y="8"/>
                  </a:cubicBezTo>
                  <a:cubicBezTo>
                    <a:pt x="43" y="9"/>
                    <a:pt x="46" y="10"/>
                    <a:pt x="49" y="10"/>
                  </a:cubicBezTo>
                  <a:cubicBezTo>
                    <a:pt x="53" y="10"/>
                    <a:pt x="57" y="8"/>
                    <a:pt x="59" y="7"/>
                  </a:cubicBezTo>
                  <a:cubicBezTo>
                    <a:pt x="61" y="6"/>
                    <a:pt x="67" y="6"/>
                    <a:pt x="69" y="5"/>
                  </a:cubicBezTo>
                  <a:cubicBezTo>
                    <a:pt x="71" y="4"/>
                    <a:pt x="78" y="0"/>
                    <a:pt x="78" y="0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10"/>
                    <a:pt x="79" y="22"/>
                    <a:pt x="79" y="26"/>
                  </a:cubicBezTo>
                  <a:cubicBezTo>
                    <a:pt x="80" y="30"/>
                    <a:pt x="82" y="33"/>
                    <a:pt x="80" y="36"/>
                  </a:cubicBezTo>
                  <a:cubicBezTo>
                    <a:pt x="77" y="39"/>
                    <a:pt x="73" y="49"/>
                    <a:pt x="69" y="50"/>
                  </a:cubicBezTo>
                  <a:cubicBezTo>
                    <a:pt x="64" y="51"/>
                    <a:pt x="52" y="56"/>
                    <a:pt x="49" y="59"/>
                  </a:cubicBezTo>
                  <a:cubicBezTo>
                    <a:pt x="46" y="63"/>
                    <a:pt x="42" y="68"/>
                    <a:pt x="40" y="69"/>
                  </a:cubicBezTo>
                  <a:cubicBezTo>
                    <a:pt x="37" y="71"/>
                    <a:pt x="32" y="72"/>
                    <a:pt x="32" y="75"/>
                  </a:cubicBezTo>
                  <a:cubicBezTo>
                    <a:pt x="32" y="78"/>
                    <a:pt x="31" y="80"/>
                    <a:pt x="34" y="81"/>
                  </a:cubicBezTo>
                  <a:cubicBezTo>
                    <a:pt x="36" y="83"/>
                    <a:pt x="39" y="87"/>
                    <a:pt x="40" y="90"/>
                  </a:cubicBezTo>
                  <a:cubicBezTo>
                    <a:pt x="41" y="94"/>
                    <a:pt x="42" y="105"/>
                    <a:pt x="40" y="108"/>
                  </a:cubicBezTo>
                  <a:cubicBezTo>
                    <a:pt x="38" y="111"/>
                    <a:pt x="22" y="117"/>
                    <a:pt x="20" y="119"/>
                  </a:cubicBezTo>
                  <a:cubicBezTo>
                    <a:pt x="18" y="120"/>
                    <a:pt x="16" y="123"/>
                    <a:pt x="18" y="124"/>
                  </a:cubicBezTo>
                  <a:cubicBezTo>
                    <a:pt x="19" y="125"/>
                    <a:pt x="19" y="127"/>
                    <a:pt x="19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9"/>
                    <a:pt x="12" y="125"/>
                    <a:pt x="12" y="122"/>
                  </a:cubicBezTo>
                  <a:cubicBezTo>
                    <a:pt x="12" y="121"/>
                    <a:pt x="12" y="120"/>
                    <a:pt x="12" y="120"/>
                  </a:cubicBezTo>
                  <a:cubicBezTo>
                    <a:pt x="12" y="118"/>
                    <a:pt x="13" y="109"/>
                    <a:pt x="11" y="106"/>
                  </a:cubicBezTo>
                  <a:cubicBezTo>
                    <a:pt x="9" y="104"/>
                    <a:pt x="8" y="97"/>
                    <a:pt x="8" y="95"/>
                  </a:cubicBezTo>
                  <a:cubicBezTo>
                    <a:pt x="8" y="94"/>
                    <a:pt x="7" y="94"/>
                    <a:pt x="7" y="93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5" y="87"/>
                    <a:pt x="16" y="86"/>
                    <a:pt x="16" y="85"/>
                  </a:cubicBezTo>
                  <a:cubicBezTo>
                    <a:pt x="16" y="83"/>
                    <a:pt x="16" y="79"/>
                    <a:pt x="18" y="78"/>
                  </a:cubicBezTo>
                  <a:cubicBezTo>
                    <a:pt x="20" y="76"/>
                    <a:pt x="20" y="75"/>
                    <a:pt x="20" y="73"/>
                  </a:cubicBezTo>
                  <a:cubicBezTo>
                    <a:pt x="20" y="72"/>
                    <a:pt x="19" y="68"/>
                    <a:pt x="20" y="65"/>
                  </a:cubicBezTo>
                  <a:cubicBezTo>
                    <a:pt x="21" y="62"/>
                    <a:pt x="20" y="50"/>
                    <a:pt x="19" y="49"/>
                  </a:cubicBezTo>
                  <a:cubicBezTo>
                    <a:pt x="18" y="48"/>
                    <a:pt x="11" y="44"/>
                    <a:pt x="9" y="44"/>
                  </a:cubicBezTo>
                  <a:cubicBezTo>
                    <a:pt x="7" y="44"/>
                    <a:pt x="1" y="43"/>
                    <a:pt x="1" y="4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07" name="Group 87"/>
            <p:cNvGrpSpPr>
              <a:grpSpLocks/>
            </p:cNvGrpSpPr>
            <p:nvPr/>
          </p:nvGrpSpPr>
          <p:grpSpPr bwMode="auto">
            <a:xfrm>
              <a:off x="6276709" y="2508196"/>
              <a:ext cx="3476601" cy="1289539"/>
              <a:chOff x="3141" y="892"/>
              <a:chExt cx="2522" cy="994"/>
            </a:xfrm>
            <a:solidFill>
              <a:srgbClr val="EBEBE3"/>
            </a:solidFill>
          </p:grpSpPr>
          <p:sp>
            <p:nvSpPr>
              <p:cNvPr id="591" name="Freeform 88"/>
              <p:cNvSpPr>
                <a:spLocks/>
              </p:cNvSpPr>
              <p:nvPr/>
            </p:nvSpPr>
            <p:spPr bwMode="auto">
              <a:xfrm>
                <a:off x="5483" y="1202"/>
                <a:ext cx="61" cy="24"/>
              </a:xfrm>
              <a:custGeom>
                <a:avLst/>
                <a:gdLst>
                  <a:gd name="T0" fmla="*/ 2557840 w 30"/>
                  <a:gd name="T1" fmla="*/ 327680 h 12"/>
                  <a:gd name="T2" fmla="*/ 2063427 w 30"/>
                  <a:gd name="T3" fmla="*/ 655360 h 12"/>
                  <a:gd name="T4" fmla="*/ 680294 w 30"/>
                  <a:gd name="T5" fmla="*/ 720896 h 12"/>
                  <a:gd name="T6" fmla="*/ 0 w 30"/>
                  <a:gd name="T7" fmla="*/ 655360 h 12"/>
                  <a:gd name="T8" fmla="*/ 1014800 w 30"/>
                  <a:gd name="T9" fmla="*/ 131072 h 12"/>
                  <a:gd name="T10" fmla="*/ 2557840 w 30"/>
                  <a:gd name="T11" fmla="*/ 327680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0" h="12">
                    <a:moveTo>
                      <a:pt x="30" y="5"/>
                    </a:moveTo>
                    <a:cubicBezTo>
                      <a:pt x="30" y="8"/>
                      <a:pt x="27" y="10"/>
                      <a:pt x="24" y="10"/>
                    </a:cubicBezTo>
                    <a:cubicBezTo>
                      <a:pt x="22" y="11"/>
                      <a:pt x="13" y="11"/>
                      <a:pt x="8" y="11"/>
                    </a:cubicBezTo>
                    <a:cubicBezTo>
                      <a:pt x="4" y="11"/>
                      <a:pt x="0" y="12"/>
                      <a:pt x="0" y="10"/>
                    </a:cubicBezTo>
                    <a:cubicBezTo>
                      <a:pt x="0" y="8"/>
                      <a:pt x="9" y="3"/>
                      <a:pt x="12" y="2"/>
                    </a:cubicBezTo>
                    <a:cubicBezTo>
                      <a:pt x="16" y="0"/>
                      <a:pt x="30" y="3"/>
                      <a:pt x="30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2" name="Freeform 89"/>
              <p:cNvSpPr>
                <a:spLocks/>
              </p:cNvSpPr>
              <p:nvPr/>
            </p:nvSpPr>
            <p:spPr bwMode="auto">
              <a:xfrm>
                <a:off x="4985" y="1085"/>
                <a:ext cx="73" cy="22"/>
              </a:xfrm>
              <a:custGeom>
                <a:avLst/>
                <a:gdLst>
                  <a:gd name="T0" fmla="*/ 155245 w 36"/>
                  <a:gd name="T1" fmla="*/ 524288 h 11"/>
                  <a:gd name="T2" fmla="*/ 0 w 36"/>
                  <a:gd name="T3" fmla="*/ 0 h 11"/>
                  <a:gd name="T4" fmla="*/ 812172 w 36"/>
                  <a:gd name="T5" fmla="*/ 0 h 11"/>
                  <a:gd name="T6" fmla="*/ 1646904 w 36"/>
                  <a:gd name="T7" fmla="*/ 262144 h 11"/>
                  <a:gd name="T8" fmla="*/ 2783378 w 36"/>
                  <a:gd name="T9" fmla="*/ 393216 h 11"/>
                  <a:gd name="T10" fmla="*/ 2460173 w 36"/>
                  <a:gd name="T11" fmla="*/ 720896 h 11"/>
                  <a:gd name="T12" fmla="*/ 1489080 w 36"/>
                  <a:gd name="T13" fmla="*/ 720896 h 11"/>
                  <a:gd name="T14" fmla="*/ 155245 w 36"/>
                  <a:gd name="T15" fmla="*/ 524288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6" h="11">
                    <a:moveTo>
                      <a:pt x="2" y="8"/>
                    </a:moveTo>
                    <a:cubicBezTo>
                      <a:pt x="0" y="7"/>
                      <a:pt x="0" y="3"/>
                      <a:pt x="0" y="0"/>
                    </a:cubicBezTo>
                    <a:cubicBezTo>
                      <a:pt x="0" y="0"/>
                      <a:pt x="8" y="0"/>
                      <a:pt x="10" y="0"/>
                    </a:cubicBezTo>
                    <a:cubicBezTo>
                      <a:pt x="12" y="0"/>
                      <a:pt x="18" y="3"/>
                      <a:pt x="20" y="4"/>
                    </a:cubicBezTo>
                    <a:cubicBezTo>
                      <a:pt x="22" y="5"/>
                      <a:pt x="32" y="4"/>
                      <a:pt x="34" y="6"/>
                    </a:cubicBezTo>
                    <a:cubicBezTo>
                      <a:pt x="36" y="8"/>
                      <a:pt x="33" y="10"/>
                      <a:pt x="30" y="11"/>
                    </a:cubicBezTo>
                    <a:cubicBezTo>
                      <a:pt x="28" y="11"/>
                      <a:pt x="22" y="11"/>
                      <a:pt x="18" y="11"/>
                    </a:cubicBezTo>
                    <a:cubicBezTo>
                      <a:pt x="14" y="11"/>
                      <a:pt x="4" y="9"/>
                      <a:pt x="2" y="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3" name="Freeform 90"/>
              <p:cNvSpPr>
                <a:spLocks/>
              </p:cNvSpPr>
              <p:nvPr/>
            </p:nvSpPr>
            <p:spPr bwMode="auto">
              <a:xfrm>
                <a:off x="4912" y="1617"/>
                <a:ext cx="40" cy="176"/>
              </a:xfrm>
              <a:custGeom>
                <a:avLst/>
                <a:gdLst>
                  <a:gd name="T0" fmla="*/ 327680 w 20"/>
                  <a:gd name="T1" fmla="*/ 2767545 h 87"/>
                  <a:gd name="T2" fmla="*/ 131072 w 20"/>
                  <a:gd name="T3" fmla="*/ 2136632 h 87"/>
                  <a:gd name="T4" fmla="*/ 131072 w 20"/>
                  <a:gd name="T5" fmla="*/ 1014555 h 87"/>
                  <a:gd name="T6" fmla="*/ 327680 w 20"/>
                  <a:gd name="T7" fmla="*/ 694538 h 87"/>
                  <a:gd name="T8" fmla="*/ 524288 w 20"/>
                  <a:gd name="T9" fmla="*/ 0 h 87"/>
                  <a:gd name="T10" fmla="*/ 720896 w 20"/>
                  <a:gd name="T11" fmla="*/ 864251 h 87"/>
                  <a:gd name="T12" fmla="*/ 786432 w 20"/>
                  <a:gd name="T13" fmla="*/ 1823220 h 87"/>
                  <a:gd name="T14" fmla="*/ 851968 w 20"/>
                  <a:gd name="T15" fmla="*/ 2442904 h 87"/>
                  <a:gd name="T16" fmla="*/ 1245184 w 20"/>
                  <a:gd name="T17" fmla="*/ 3922846 h 87"/>
                  <a:gd name="T18" fmla="*/ 1179648 w 20"/>
                  <a:gd name="T19" fmla="*/ 4403457 h 87"/>
                  <a:gd name="T20" fmla="*/ 786432 w 20"/>
                  <a:gd name="T21" fmla="*/ 4403457 h 87"/>
                  <a:gd name="T22" fmla="*/ 655360 w 20"/>
                  <a:gd name="T23" fmla="*/ 5598712 h 87"/>
                  <a:gd name="T24" fmla="*/ 917504 w 20"/>
                  <a:gd name="T25" fmla="*/ 6075285 h 87"/>
                  <a:gd name="T26" fmla="*/ 851968 w 20"/>
                  <a:gd name="T27" fmla="*/ 6764750 h 87"/>
                  <a:gd name="T28" fmla="*/ 524288 w 20"/>
                  <a:gd name="T29" fmla="*/ 6384064 h 87"/>
                  <a:gd name="T30" fmla="*/ 262144 w 20"/>
                  <a:gd name="T31" fmla="*/ 6764750 h 87"/>
                  <a:gd name="T32" fmla="*/ 65536 w 20"/>
                  <a:gd name="T33" fmla="*/ 6465206 h 87"/>
                  <a:gd name="T34" fmla="*/ 131072 w 20"/>
                  <a:gd name="T35" fmla="*/ 5900550 h 87"/>
                  <a:gd name="T36" fmla="*/ 196608 w 20"/>
                  <a:gd name="T37" fmla="*/ 5209373 h 87"/>
                  <a:gd name="T38" fmla="*/ 65536 w 20"/>
                  <a:gd name="T39" fmla="*/ 4637954 h 87"/>
                  <a:gd name="T40" fmla="*/ 262144 w 20"/>
                  <a:gd name="T41" fmla="*/ 4003994 h 87"/>
                  <a:gd name="T42" fmla="*/ 131072 w 20"/>
                  <a:gd name="T43" fmla="*/ 3307171 h 87"/>
                  <a:gd name="T44" fmla="*/ 327680 w 20"/>
                  <a:gd name="T45" fmla="*/ 2767545 h 8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20" h="87">
                    <a:moveTo>
                      <a:pt x="5" y="35"/>
                    </a:moveTo>
                    <a:cubicBezTo>
                      <a:pt x="5" y="33"/>
                      <a:pt x="4" y="28"/>
                      <a:pt x="2" y="27"/>
                    </a:cubicBezTo>
                    <a:cubicBezTo>
                      <a:pt x="1" y="26"/>
                      <a:pt x="3" y="15"/>
                      <a:pt x="2" y="13"/>
                    </a:cubicBezTo>
                    <a:cubicBezTo>
                      <a:pt x="2" y="13"/>
                      <a:pt x="4" y="10"/>
                      <a:pt x="5" y="9"/>
                    </a:cubicBezTo>
                    <a:cubicBezTo>
                      <a:pt x="6" y="8"/>
                      <a:pt x="5" y="0"/>
                      <a:pt x="8" y="0"/>
                    </a:cubicBezTo>
                    <a:cubicBezTo>
                      <a:pt x="11" y="1"/>
                      <a:pt x="10" y="8"/>
                      <a:pt x="11" y="11"/>
                    </a:cubicBezTo>
                    <a:cubicBezTo>
                      <a:pt x="12" y="14"/>
                      <a:pt x="13" y="20"/>
                      <a:pt x="12" y="23"/>
                    </a:cubicBezTo>
                    <a:cubicBezTo>
                      <a:pt x="11" y="27"/>
                      <a:pt x="12" y="29"/>
                      <a:pt x="13" y="31"/>
                    </a:cubicBezTo>
                    <a:cubicBezTo>
                      <a:pt x="14" y="33"/>
                      <a:pt x="18" y="47"/>
                      <a:pt x="19" y="50"/>
                    </a:cubicBezTo>
                    <a:cubicBezTo>
                      <a:pt x="20" y="53"/>
                      <a:pt x="20" y="58"/>
                      <a:pt x="18" y="56"/>
                    </a:cubicBezTo>
                    <a:cubicBezTo>
                      <a:pt x="16" y="54"/>
                      <a:pt x="14" y="55"/>
                      <a:pt x="12" y="56"/>
                    </a:cubicBezTo>
                    <a:cubicBezTo>
                      <a:pt x="9" y="58"/>
                      <a:pt x="8" y="69"/>
                      <a:pt x="10" y="71"/>
                    </a:cubicBezTo>
                    <a:cubicBezTo>
                      <a:pt x="13" y="73"/>
                      <a:pt x="14" y="75"/>
                      <a:pt x="14" y="77"/>
                    </a:cubicBezTo>
                    <a:cubicBezTo>
                      <a:pt x="14" y="79"/>
                      <a:pt x="14" y="86"/>
                      <a:pt x="13" y="86"/>
                    </a:cubicBezTo>
                    <a:cubicBezTo>
                      <a:pt x="12" y="86"/>
                      <a:pt x="10" y="82"/>
                      <a:pt x="8" y="81"/>
                    </a:cubicBezTo>
                    <a:cubicBezTo>
                      <a:pt x="7" y="80"/>
                      <a:pt x="5" y="86"/>
                      <a:pt x="4" y="86"/>
                    </a:cubicBezTo>
                    <a:cubicBezTo>
                      <a:pt x="2" y="87"/>
                      <a:pt x="1" y="84"/>
                      <a:pt x="1" y="82"/>
                    </a:cubicBezTo>
                    <a:cubicBezTo>
                      <a:pt x="1" y="81"/>
                      <a:pt x="1" y="77"/>
                      <a:pt x="2" y="75"/>
                    </a:cubicBezTo>
                    <a:cubicBezTo>
                      <a:pt x="3" y="72"/>
                      <a:pt x="3" y="68"/>
                      <a:pt x="3" y="66"/>
                    </a:cubicBezTo>
                    <a:cubicBezTo>
                      <a:pt x="3" y="64"/>
                      <a:pt x="3" y="62"/>
                      <a:pt x="1" y="59"/>
                    </a:cubicBezTo>
                    <a:cubicBezTo>
                      <a:pt x="0" y="57"/>
                      <a:pt x="3" y="55"/>
                      <a:pt x="4" y="51"/>
                    </a:cubicBezTo>
                    <a:cubicBezTo>
                      <a:pt x="5" y="47"/>
                      <a:pt x="3" y="44"/>
                      <a:pt x="2" y="42"/>
                    </a:cubicBezTo>
                    <a:cubicBezTo>
                      <a:pt x="2" y="40"/>
                      <a:pt x="5" y="37"/>
                      <a:pt x="5" y="3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4" name="Freeform 91"/>
              <p:cNvSpPr>
                <a:spLocks/>
              </p:cNvSpPr>
              <p:nvPr/>
            </p:nvSpPr>
            <p:spPr bwMode="auto">
              <a:xfrm>
                <a:off x="4876" y="1131"/>
                <a:ext cx="64" cy="28"/>
              </a:xfrm>
              <a:custGeom>
                <a:avLst/>
                <a:gdLst>
                  <a:gd name="T0" fmla="*/ 393216 w 32"/>
                  <a:gd name="T1" fmla="*/ 196608 h 14"/>
                  <a:gd name="T2" fmla="*/ 1048576 w 32"/>
                  <a:gd name="T3" fmla="*/ 0 h 14"/>
                  <a:gd name="T4" fmla="*/ 1835008 w 32"/>
                  <a:gd name="T5" fmla="*/ 262144 h 14"/>
                  <a:gd name="T6" fmla="*/ 1835008 w 32"/>
                  <a:gd name="T7" fmla="*/ 786432 h 14"/>
                  <a:gd name="T8" fmla="*/ 655360 w 32"/>
                  <a:gd name="T9" fmla="*/ 589824 h 14"/>
                  <a:gd name="T10" fmla="*/ 131072 w 32"/>
                  <a:gd name="T11" fmla="*/ 524288 h 14"/>
                  <a:gd name="T12" fmla="*/ 393216 w 32"/>
                  <a:gd name="T13" fmla="*/ 196608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2" h="14">
                    <a:moveTo>
                      <a:pt x="6" y="3"/>
                    </a:moveTo>
                    <a:cubicBezTo>
                      <a:pt x="8" y="1"/>
                      <a:pt x="12" y="0"/>
                      <a:pt x="16" y="0"/>
                    </a:cubicBezTo>
                    <a:cubicBezTo>
                      <a:pt x="16" y="0"/>
                      <a:pt x="24" y="1"/>
                      <a:pt x="28" y="4"/>
                    </a:cubicBezTo>
                    <a:cubicBezTo>
                      <a:pt x="32" y="6"/>
                      <a:pt x="30" y="10"/>
                      <a:pt x="28" y="12"/>
                    </a:cubicBezTo>
                    <a:cubicBezTo>
                      <a:pt x="26" y="14"/>
                      <a:pt x="14" y="9"/>
                      <a:pt x="10" y="9"/>
                    </a:cubicBezTo>
                    <a:cubicBezTo>
                      <a:pt x="6" y="8"/>
                      <a:pt x="4" y="9"/>
                      <a:pt x="2" y="8"/>
                    </a:cubicBezTo>
                    <a:cubicBezTo>
                      <a:pt x="0" y="6"/>
                      <a:pt x="4" y="4"/>
                      <a:pt x="6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5" name="Freeform 92"/>
              <p:cNvSpPr>
                <a:spLocks/>
              </p:cNvSpPr>
              <p:nvPr/>
            </p:nvSpPr>
            <p:spPr bwMode="auto">
              <a:xfrm>
                <a:off x="4835" y="1058"/>
                <a:ext cx="130" cy="61"/>
              </a:xfrm>
              <a:custGeom>
                <a:avLst/>
                <a:gdLst>
                  <a:gd name="T0" fmla="*/ 242533 w 64"/>
                  <a:gd name="T1" fmla="*/ 1716373 h 30"/>
                  <a:gd name="T2" fmla="*/ 410353 w 64"/>
                  <a:gd name="T3" fmla="*/ 680294 h 30"/>
                  <a:gd name="T4" fmla="*/ 1525885 w 64"/>
                  <a:gd name="T5" fmla="*/ 164543 h 30"/>
                  <a:gd name="T6" fmla="*/ 2526434 w 64"/>
                  <a:gd name="T7" fmla="*/ 1014800 h 30"/>
                  <a:gd name="T8" fmla="*/ 2769191 w 64"/>
                  <a:gd name="T9" fmla="*/ 334571 h 30"/>
                  <a:gd name="T10" fmla="*/ 3688689 w 64"/>
                  <a:gd name="T11" fmla="*/ 763470 h 30"/>
                  <a:gd name="T12" fmla="*/ 5294520 w 64"/>
                  <a:gd name="T13" fmla="*/ 1014800 h 30"/>
                  <a:gd name="T14" fmla="*/ 5131819 w 64"/>
                  <a:gd name="T15" fmla="*/ 1716373 h 30"/>
                  <a:gd name="T16" fmla="*/ 3516756 w 64"/>
                  <a:gd name="T17" fmla="*/ 2063427 h 30"/>
                  <a:gd name="T18" fmla="*/ 1933957 w 64"/>
                  <a:gd name="T19" fmla="*/ 1982504 h 30"/>
                  <a:gd name="T20" fmla="*/ 1363294 w 64"/>
                  <a:gd name="T21" fmla="*/ 2398065 h 30"/>
                  <a:gd name="T22" fmla="*/ 242533 w 64"/>
                  <a:gd name="T23" fmla="*/ 1716373 h 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4" h="30">
                    <a:moveTo>
                      <a:pt x="3" y="20"/>
                    </a:moveTo>
                    <a:cubicBezTo>
                      <a:pt x="0" y="17"/>
                      <a:pt x="2" y="10"/>
                      <a:pt x="5" y="8"/>
                    </a:cubicBezTo>
                    <a:cubicBezTo>
                      <a:pt x="8" y="6"/>
                      <a:pt x="14" y="0"/>
                      <a:pt x="18" y="2"/>
                    </a:cubicBezTo>
                    <a:cubicBezTo>
                      <a:pt x="20" y="4"/>
                      <a:pt x="26" y="12"/>
                      <a:pt x="30" y="12"/>
                    </a:cubicBezTo>
                    <a:cubicBezTo>
                      <a:pt x="32" y="11"/>
                      <a:pt x="30" y="5"/>
                      <a:pt x="33" y="4"/>
                    </a:cubicBezTo>
                    <a:cubicBezTo>
                      <a:pt x="36" y="3"/>
                      <a:pt x="40" y="9"/>
                      <a:pt x="44" y="9"/>
                    </a:cubicBezTo>
                    <a:cubicBezTo>
                      <a:pt x="48" y="9"/>
                      <a:pt x="63" y="11"/>
                      <a:pt x="63" y="12"/>
                    </a:cubicBezTo>
                    <a:cubicBezTo>
                      <a:pt x="63" y="14"/>
                      <a:pt x="64" y="18"/>
                      <a:pt x="61" y="20"/>
                    </a:cubicBezTo>
                    <a:cubicBezTo>
                      <a:pt x="58" y="21"/>
                      <a:pt x="48" y="25"/>
                      <a:pt x="42" y="24"/>
                    </a:cubicBezTo>
                    <a:cubicBezTo>
                      <a:pt x="36" y="22"/>
                      <a:pt x="26" y="23"/>
                      <a:pt x="23" y="23"/>
                    </a:cubicBezTo>
                    <a:cubicBezTo>
                      <a:pt x="20" y="24"/>
                      <a:pt x="22" y="30"/>
                      <a:pt x="16" y="28"/>
                    </a:cubicBezTo>
                    <a:cubicBezTo>
                      <a:pt x="12" y="27"/>
                      <a:pt x="3" y="20"/>
                      <a:pt x="3" y="2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6" name="Freeform 93"/>
              <p:cNvSpPr>
                <a:spLocks/>
              </p:cNvSpPr>
              <p:nvPr/>
            </p:nvSpPr>
            <p:spPr bwMode="auto">
              <a:xfrm>
                <a:off x="4256" y="957"/>
                <a:ext cx="93" cy="55"/>
              </a:xfrm>
              <a:custGeom>
                <a:avLst/>
                <a:gdLst>
                  <a:gd name="T0" fmla="*/ 1160290 w 46"/>
                  <a:gd name="T1" fmla="*/ 1864881 h 27"/>
                  <a:gd name="T2" fmla="*/ 74044 w 46"/>
                  <a:gd name="T3" fmla="*/ 2122169 h 27"/>
                  <a:gd name="T4" fmla="*/ 537366 w 46"/>
                  <a:gd name="T5" fmla="*/ 1333577 h 27"/>
                  <a:gd name="T6" fmla="*/ 1318940 w 46"/>
                  <a:gd name="T7" fmla="*/ 167279 h 27"/>
                  <a:gd name="T8" fmla="*/ 1623645 w 46"/>
                  <a:gd name="T9" fmla="*/ 251063 h 27"/>
                  <a:gd name="T10" fmla="*/ 1963384 w 46"/>
                  <a:gd name="T11" fmla="*/ 0 h 27"/>
                  <a:gd name="T12" fmla="*/ 1963384 w 46"/>
                  <a:gd name="T13" fmla="*/ 954904 h 27"/>
                  <a:gd name="T14" fmla="*/ 2573726 w 46"/>
                  <a:gd name="T15" fmla="*/ 428057 h 27"/>
                  <a:gd name="T16" fmla="*/ 3358788 w 46"/>
                  <a:gd name="T17" fmla="*/ 954904 h 27"/>
                  <a:gd name="T18" fmla="*/ 3582297 w 46"/>
                  <a:gd name="T19" fmla="*/ 1413966 h 27"/>
                  <a:gd name="T20" fmla="*/ 3203579 w 46"/>
                  <a:gd name="T21" fmla="*/ 1776231 h 27"/>
                  <a:gd name="T22" fmla="*/ 2573726 w 46"/>
                  <a:gd name="T23" fmla="*/ 1776231 h 27"/>
                  <a:gd name="T24" fmla="*/ 1160290 w 46"/>
                  <a:gd name="T25" fmla="*/ 1864881 h 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6" h="27">
                    <a:moveTo>
                      <a:pt x="15" y="21"/>
                    </a:moveTo>
                    <a:cubicBezTo>
                      <a:pt x="12" y="21"/>
                      <a:pt x="2" y="27"/>
                      <a:pt x="1" y="24"/>
                    </a:cubicBezTo>
                    <a:cubicBezTo>
                      <a:pt x="0" y="21"/>
                      <a:pt x="5" y="18"/>
                      <a:pt x="7" y="15"/>
                    </a:cubicBezTo>
                    <a:cubicBezTo>
                      <a:pt x="9" y="13"/>
                      <a:pt x="14" y="2"/>
                      <a:pt x="17" y="2"/>
                    </a:cubicBezTo>
                    <a:cubicBezTo>
                      <a:pt x="20" y="1"/>
                      <a:pt x="18" y="3"/>
                      <a:pt x="21" y="3"/>
                    </a:cubicBezTo>
                    <a:cubicBezTo>
                      <a:pt x="24" y="3"/>
                      <a:pt x="23" y="0"/>
                      <a:pt x="25" y="0"/>
                    </a:cubicBezTo>
                    <a:cubicBezTo>
                      <a:pt x="26" y="0"/>
                      <a:pt x="22" y="11"/>
                      <a:pt x="25" y="11"/>
                    </a:cubicBezTo>
                    <a:cubicBezTo>
                      <a:pt x="28" y="11"/>
                      <a:pt x="32" y="4"/>
                      <a:pt x="33" y="5"/>
                    </a:cubicBezTo>
                    <a:cubicBezTo>
                      <a:pt x="35" y="5"/>
                      <a:pt x="42" y="11"/>
                      <a:pt x="43" y="11"/>
                    </a:cubicBezTo>
                    <a:cubicBezTo>
                      <a:pt x="44" y="11"/>
                      <a:pt x="46" y="14"/>
                      <a:pt x="46" y="16"/>
                    </a:cubicBezTo>
                    <a:cubicBezTo>
                      <a:pt x="46" y="17"/>
                      <a:pt x="44" y="20"/>
                      <a:pt x="41" y="20"/>
                    </a:cubicBezTo>
                    <a:cubicBezTo>
                      <a:pt x="39" y="20"/>
                      <a:pt x="35" y="20"/>
                      <a:pt x="33" y="20"/>
                    </a:cubicBezTo>
                    <a:cubicBezTo>
                      <a:pt x="30" y="20"/>
                      <a:pt x="18" y="20"/>
                      <a:pt x="15" y="2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7" name="Freeform 94"/>
              <p:cNvSpPr>
                <a:spLocks/>
              </p:cNvSpPr>
              <p:nvPr/>
            </p:nvSpPr>
            <p:spPr bwMode="auto">
              <a:xfrm>
                <a:off x="4167" y="933"/>
                <a:ext cx="99" cy="46"/>
              </a:xfrm>
              <a:custGeom>
                <a:avLst/>
                <a:gdLst>
                  <a:gd name="T0" fmla="*/ 73535 w 49"/>
                  <a:gd name="T1" fmla="*/ 589824 h 23"/>
                  <a:gd name="T2" fmla="*/ 758637 w 49"/>
                  <a:gd name="T3" fmla="*/ 262144 h 23"/>
                  <a:gd name="T4" fmla="*/ 1831775 w 49"/>
                  <a:gd name="T5" fmla="*/ 65536 h 23"/>
                  <a:gd name="T6" fmla="*/ 2475657 w 49"/>
                  <a:gd name="T7" fmla="*/ 65536 h 23"/>
                  <a:gd name="T8" fmla="*/ 2170502 w 49"/>
                  <a:gd name="T9" fmla="*/ 393216 h 23"/>
                  <a:gd name="T10" fmla="*/ 2775764 w 49"/>
                  <a:gd name="T11" fmla="*/ 393216 h 23"/>
                  <a:gd name="T12" fmla="*/ 3096793 w 49"/>
                  <a:gd name="T13" fmla="*/ 131072 h 23"/>
                  <a:gd name="T14" fmla="*/ 3776513 w 49"/>
                  <a:gd name="T15" fmla="*/ 327680 h 23"/>
                  <a:gd name="T16" fmla="*/ 3554294 w 49"/>
                  <a:gd name="T17" fmla="*/ 917504 h 23"/>
                  <a:gd name="T18" fmla="*/ 3700933 w 49"/>
                  <a:gd name="T19" fmla="*/ 1245184 h 23"/>
                  <a:gd name="T20" fmla="*/ 3478878 w 49"/>
                  <a:gd name="T21" fmla="*/ 1376256 h 23"/>
                  <a:gd name="T22" fmla="*/ 2327086 w 49"/>
                  <a:gd name="T23" fmla="*/ 1376256 h 23"/>
                  <a:gd name="T24" fmla="*/ 1831775 w 49"/>
                  <a:gd name="T25" fmla="*/ 1245184 h 23"/>
                  <a:gd name="T26" fmla="*/ 679993 w 49"/>
                  <a:gd name="T27" fmla="*/ 1179648 h 23"/>
                  <a:gd name="T28" fmla="*/ 448739 w 49"/>
                  <a:gd name="T29" fmla="*/ 786432 h 23"/>
                  <a:gd name="T30" fmla="*/ 73535 w 49"/>
                  <a:gd name="T31" fmla="*/ 589824 h 2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9" h="23">
                    <a:moveTo>
                      <a:pt x="1" y="9"/>
                    </a:moveTo>
                    <a:cubicBezTo>
                      <a:pt x="2" y="7"/>
                      <a:pt x="7" y="4"/>
                      <a:pt x="10" y="4"/>
                    </a:cubicBezTo>
                    <a:cubicBezTo>
                      <a:pt x="12" y="3"/>
                      <a:pt x="20" y="1"/>
                      <a:pt x="24" y="1"/>
                    </a:cubicBezTo>
                    <a:cubicBezTo>
                      <a:pt x="27" y="1"/>
                      <a:pt x="32" y="0"/>
                      <a:pt x="32" y="1"/>
                    </a:cubicBezTo>
                    <a:cubicBezTo>
                      <a:pt x="32" y="3"/>
                      <a:pt x="28" y="5"/>
                      <a:pt x="28" y="6"/>
                    </a:cubicBezTo>
                    <a:cubicBezTo>
                      <a:pt x="30" y="7"/>
                      <a:pt x="34" y="7"/>
                      <a:pt x="36" y="6"/>
                    </a:cubicBezTo>
                    <a:cubicBezTo>
                      <a:pt x="38" y="5"/>
                      <a:pt x="38" y="2"/>
                      <a:pt x="40" y="2"/>
                    </a:cubicBezTo>
                    <a:cubicBezTo>
                      <a:pt x="42" y="2"/>
                      <a:pt x="49" y="3"/>
                      <a:pt x="49" y="5"/>
                    </a:cubicBezTo>
                    <a:cubicBezTo>
                      <a:pt x="49" y="7"/>
                      <a:pt x="46" y="12"/>
                      <a:pt x="46" y="14"/>
                    </a:cubicBezTo>
                    <a:cubicBezTo>
                      <a:pt x="47" y="15"/>
                      <a:pt x="48" y="18"/>
                      <a:pt x="48" y="19"/>
                    </a:cubicBezTo>
                    <a:cubicBezTo>
                      <a:pt x="48" y="20"/>
                      <a:pt x="45" y="21"/>
                      <a:pt x="45" y="21"/>
                    </a:cubicBezTo>
                    <a:cubicBezTo>
                      <a:pt x="43" y="21"/>
                      <a:pt x="34" y="23"/>
                      <a:pt x="30" y="21"/>
                    </a:cubicBezTo>
                    <a:cubicBezTo>
                      <a:pt x="27" y="20"/>
                      <a:pt x="26" y="19"/>
                      <a:pt x="24" y="19"/>
                    </a:cubicBezTo>
                    <a:cubicBezTo>
                      <a:pt x="22" y="19"/>
                      <a:pt x="12" y="19"/>
                      <a:pt x="9" y="18"/>
                    </a:cubicBezTo>
                    <a:cubicBezTo>
                      <a:pt x="7" y="16"/>
                      <a:pt x="6" y="13"/>
                      <a:pt x="6" y="12"/>
                    </a:cubicBezTo>
                    <a:cubicBezTo>
                      <a:pt x="6" y="11"/>
                      <a:pt x="0" y="10"/>
                      <a:pt x="1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8" name="Freeform 95"/>
              <p:cNvSpPr>
                <a:spLocks/>
              </p:cNvSpPr>
              <p:nvPr/>
            </p:nvSpPr>
            <p:spPr bwMode="auto">
              <a:xfrm>
                <a:off x="4131" y="892"/>
                <a:ext cx="105" cy="57"/>
              </a:xfrm>
              <a:custGeom>
                <a:avLst/>
                <a:gdLst>
                  <a:gd name="T0" fmla="*/ 147838 w 52"/>
                  <a:gd name="T1" fmla="*/ 2351908 h 28"/>
                  <a:gd name="T2" fmla="*/ 0 w 52"/>
                  <a:gd name="T3" fmla="*/ 1931013 h 28"/>
                  <a:gd name="T4" fmla="*/ 298519 w 52"/>
                  <a:gd name="T5" fmla="*/ 1843319 h 28"/>
                  <a:gd name="T6" fmla="*/ 901306 w 52"/>
                  <a:gd name="T7" fmla="*/ 1741887 h 28"/>
                  <a:gd name="T8" fmla="*/ 602779 w 52"/>
                  <a:gd name="T9" fmla="*/ 1321626 h 28"/>
                  <a:gd name="T10" fmla="*/ 1064853 w 52"/>
                  <a:gd name="T11" fmla="*/ 948568 h 28"/>
                  <a:gd name="T12" fmla="*/ 1064853 w 52"/>
                  <a:gd name="T13" fmla="*/ 507245 h 28"/>
                  <a:gd name="T14" fmla="*/ 1745453 w 52"/>
                  <a:gd name="T15" fmla="*/ 338564 h 28"/>
                  <a:gd name="T16" fmla="*/ 2375631 w 52"/>
                  <a:gd name="T17" fmla="*/ 0 h 28"/>
                  <a:gd name="T18" fmla="*/ 2683019 w 52"/>
                  <a:gd name="T19" fmla="*/ 0 h 28"/>
                  <a:gd name="T20" fmla="*/ 3219365 w 52"/>
                  <a:gd name="T21" fmla="*/ 507245 h 28"/>
                  <a:gd name="T22" fmla="*/ 3895094 w 52"/>
                  <a:gd name="T23" fmla="*/ 689220 h 28"/>
                  <a:gd name="T24" fmla="*/ 3971104 w 52"/>
                  <a:gd name="T25" fmla="*/ 948568 h 28"/>
                  <a:gd name="T26" fmla="*/ 3524472 w 52"/>
                  <a:gd name="T27" fmla="*/ 1114871 h 28"/>
                  <a:gd name="T28" fmla="*/ 3524472 w 52"/>
                  <a:gd name="T29" fmla="*/ 1237036 h 28"/>
                  <a:gd name="T30" fmla="*/ 2904064 w 52"/>
                  <a:gd name="T31" fmla="*/ 1495067 h 28"/>
                  <a:gd name="T32" fmla="*/ 1819945 w 52"/>
                  <a:gd name="T33" fmla="*/ 1741887 h 28"/>
                  <a:gd name="T34" fmla="*/ 1365527 w 52"/>
                  <a:gd name="T35" fmla="*/ 2010986 h 28"/>
                  <a:gd name="T36" fmla="*/ 901306 w 52"/>
                  <a:gd name="T37" fmla="*/ 2431131 h 28"/>
                  <a:gd name="T38" fmla="*/ 147838 w 52"/>
                  <a:gd name="T39" fmla="*/ 2351908 h 2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2" h="28">
                    <a:moveTo>
                      <a:pt x="2" y="27"/>
                    </a:moveTo>
                    <a:cubicBezTo>
                      <a:pt x="0" y="26"/>
                      <a:pt x="0" y="24"/>
                      <a:pt x="0" y="22"/>
                    </a:cubicBezTo>
                    <a:cubicBezTo>
                      <a:pt x="0" y="20"/>
                      <a:pt x="2" y="21"/>
                      <a:pt x="4" y="21"/>
                    </a:cubicBezTo>
                    <a:cubicBezTo>
                      <a:pt x="6" y="21"/>
                      <a:pt x="11" y="20"/>
                      <a:pt x="12" y="20"/>
                    </a:cubicBezTo>
                    <a:cubicBezTo>
                      <a:pt x="13" y="20"/>
                      <a:pt x="8" y="17"/>
                      <a:pt x="8" y="15"/>
                    </a:cubicBezTo>
                    <a:cubicBezTo>
                      <a:pt x="7" y="12"/>
                      <a:pt x="13" y="13"/>
                      <a:pt x="14" y="11"/>
                    </a:cubicBezTo>
                    <a:cubicBezTo>
                      <a:pt x="15" y="9"/>
                      <a:pt x="12" y="7"/>
                      <a:pt x="14" y="6"/>
                    </a:cubicBezTo>
                    <a:cubicBezTo>
                      <a:pt x="16" y="6"/>
                      <a:pt x="23" y="4"/>
                      <a:pt x="23" y="4"/>
                    </a:cubicBezTo>
                    <a:cubicBezTo>
                      <a:pt x="27" y="3"/>
                      <a:pt x="30" y="0"/>
                      <a:pt x="31" y="0"/>
                    </a:cubicBezTo>
                    <a:cubicBezTo>
                      <a:pt x="32" y="0"/>
                      <a:pt x="35" y="0"/>
                      <a:pt x="35" y="0"/>
                    </a:cubicBezTo>
                    <a:cubicBezTo>
                      <a:pt x="35" y="0"/>
                      <a:pt x="41" y="5"/>
                      <a:pt x="42" y="6"/>
                    </a:cubicBezTo>
                    <a:cubicBezTo>
                      <a:pt x="44" y="6"/>
                      <a:pt x="51" y="8"/>
                      <a:pt x="51" y="8"/>
                    </a:cubicBezTo>
                    <a:cubicBezTo>
                      <a:pt x="52" y="11"/>
                      <a:pt x="52" y="11"/>
                      <a:pt x="52" y="11"/>
                    </a:cubicBezTo>
                    <a:cubicBezTo>
                      <a:pt x="52" y="11"/>
                      <a:pt x="46" y="12"/>
                      <a:pt x="46" y="13"/>
                    </a:cubicBezTo>
                    <a:cubicBezTo>
                      <a:pt x="45" y="14"/>
                      <a:pt x="46" y="13"/>
                      <a:pt x="46" y="14"/>
                    </a:cubicBezTo>
                    <a:cubicBezTo>
                      <a:pt x="46" y="15"/>
                      <a:pt x="42" y="17"/>
                      <a:pt x="38" y="17"/>
                    </a:cubicBezTo>
                    <a:cubicBezTo>
                      <a:pt x="34" y="17"/>
                      <a:pt x="27" y="18"/>
                      <a:pt x="24" y="20"/>
                    </a:cubicBezTo>
                    <a:cubicBezTo>
                      <a:pt x="20" y="21"/>
                      <a:pt x="19" y="21"/>
                      <a:pt x="18" y="23"/>
                    </a:cubicBezTo>
                    <a:cubicBezTo>
                      <a:pt x="16" y="24"/>
                      <a:pt x="14" y="28"/>
                      <a:pt x="12" y="28"/>
                    </a:cubicBezTo>
                    <a:cubicBezTo>
                      <a:pt x="10" y="28"/>
                      <a:pt x="4" y="28"/>
                      <a:pt x="2" y="2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9" name="Freeform 96"/>
              <p:cNvSpPr>
                <a:spLocks/>
              </p:cNvSpPr>
              <p:nvPr/>
            </p:nvSpPr>
            <p:spPr bwMode="auto">
              <a:xfrm>
                <a:off x="3511" y="1036"/>
                <a:ext cx="275" cy="198"/>
              </a:xfrm>
              <a:custGeom>
                <a:avLst/>
                <a:gdLst>
                  <a:gd name="T0" fmla="*/ 1238707 w 136"/>
                  <a:gd name="T1" fmla="*/ 6796853 h 98"/>
                  <a:gd name="T2" fmla="*/ 379286 w 136"/>
                  <a:gd name="T3" fmla="*/ 6570287 h 98"/>
                  <a:gd name="T4" fmla="*/ 302957 w 136"/>
                  <a:gd name="T5" fmla="*/ 5871468 h 98"/>
                  <a:gd name="T6" fmla="*/ 840887 w 136"/>
                  <a:gd name="T7" fmla="*/ 5608176 h 98"/>
                  <a:gd name="T8" fmla="*/ 1238707 w 136"/>
                  <a:gd name="T9" fmla="*/ 4607502 h 98"/>
                  <a:gd name="T10" fmla="*/ 1887592 w 136"/>
                  <a:gd name="T11" fmla="*/ 4307399 h 98"/>
                  <a:gd name="T12" fmla="*/ 1700323 w 136"/>
                  <a:gd name="T13" fmla="*/ 3848964 h 98"/>
                  <a:gd name="T14" fmla="*/ 2674070 w 136"/>
                  <a:gd name="T15" fmla="*/ 3096793 h 98"/>
                  <a:gd name="T16" fmla="*/ 3135801 w 136"/>
                  <a:gd name="T17" fmla="*/ 2775764 h 98"/>
                  <a:gd name="T18" fmla="*/ 3290080 w 136"/>
                  <a:gd name="T19" fmla="*/ 2095757 h 98"/>
                  <a:gd name="T20" fmla="*/ 4205057 w 136"/>
                  <a:gd name="T21" fmla="*/ 1682939 h 98"/>
                  <a:gd name="T22" fmla="*/ 5554652 w 136"/>
                  <a:gd name="T23" fmla="*/ 1151790 h 98"/>
                  <a:gd name="T24" fmla="*/ 6266793 w 136"/>
                  <a:gd name="T25" fmla="*/ 832970 h 98"/>
                  <a:gd name="T26" fmla="*/ 7026713 w 136"/>
                  <a:gd name="T27" fmla="*/ 906636 h 98"/>
                  <a:gd name="T28" fmla="*/ 8579713 w 136"/>
                  <a:gd name="T29" fmla="*/ 606474 h 98"/>
                  <a:gd name="T30" fmla="*/ 9854765 w 136"/>
                  <a:gd name="T31" fmla="*/ 0 h 98"/>
                  <a:gd name="T32" fmla="*/ 10619384 w 136"/>
                  <a:gd name="T33" fmla="*/ 375487 h 98"/>
                  <a:gd name="T34" fmla="*/ 10092642 w 136"/>
                  <a:gd name="T35" fmla="*/ 1074289 h 98"/>
                  <a:gd name="T36" fmla="*/ 5943423 w 136"/>
                  <a:gd name="T37" fmla="*/ 2244021 h 98"/>
                  <a:gd name="T38" fmla="*/ 4677028 w 136"/>
                  <a:gd name="T39" fmla="*/ 3168976 h 98"/>
                  <a:gd name="T40" fmla="*/ 3438153 w 136"/>
                  <a:gd name="T41" fmla="*/ 4149599 h 98"/>
                  <a:gd name="T42" fmla="*/ 2504738 w 136"/>
                  <a:gd name="T43" fmla="*/ 5386077 h 98"/>
                  <a:gd name="T44" fmla="*/ 2747028 w 136"/>
                  <a:gd name="T45" fmla="*/ 6402625 h 98"/>
                  <a:gd name="T46" fmla="*/ 3899876 w 136"/>
                  <a:gd name="T47" fmla="*/ 7327780 h 98"/>
                  <a:gd name="T48" fmla="*/ 2826084 w 136"/>
                  <a:gd name="T49" fmla="*/ 7403192 h 98"/>
                  <a:gd name="T50" fmla="*/ 1813483 w 136"/>
                  <a:gd name="T51" fmla="*/ 7327780 h 98"/>
                  <a:gd name="T52" fmla="*/ 1238707 w 136"/>
                  <a:gd name="T53" fmla="*/ 6796853 h 9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36" h="98">
                    <a:moveTo>
                      <a:pt x="16" y="88"/>
                    </a:moveTo>
                    <a:cubicBezTo>
                      <a:pt x="14" y="85"/>
                      <a:pt x="7" y="87"/>
                      <a:pt x="5" y="85"/>
                    </a:cubicBezTo>
                    <a:cubicBezTo>
                      <a:pt x="3" y="83"/>
                      <a:pt x="0" y="78"/>
                      <a:pt x="4" y="76"/>
                    </a:cubicBezTo>
                    <a:cubicBezTo>
                      <a:pt x="7" y="74"/>
                      <a:pt x="11" y="73"/>
                      <a:pt x="11" y="73"/>
                    </a:cubicBezTo>
                    <a:cubicBezTo>
                      <a:pt x="11" y="73"/>
                      <a:pt x="14" y="63"/>
                      <a:pt x="16" y="60"/>
                    </a:cubicBezTo>
                    <a:cubicBezTo>
                      <a:pt x="18" y="58"/>
                      <a:pt x="24" y="58"/>
                      <a:pt x="24" y="56"/>
                    </a:cubicBezTo>
                    <a:cubicBezTo>
                      <a:pt x="26" y="55"/>
                      <a:pt x="22" y="52"/>
                      <a:pt x="22" y="50"/>
                    </a:cubicBezTo>
                    <a:cubicBezTo>
                      <a:pt x="23" y="48"/>
                      <a:pt x="32" y="41"/>
                      <a:pt x="34" y="40"/>
                    </a:cubicBezTo>
                    <a:cubicBezTo>
                      <a:pt x="35" y="38"/>
                      <a:pt x="40" y="38"/>
                      <a:pt x="40" y="36"/>
                    </a:cubicBezTo>
                    <a:cubicBezTo>
                      <a:pt x="42" y="34"/>
                      <a:pt x="40" y="29"/>
                      <a:pt x="42" y="27"/>
                    </a:cubicBezTo>
                    <a:cubicBezTo>
                      <a:pt x="44" y="26"/>
                      <a:pt x="52" y="23"/>
                      <a:pt x="54" y="22"/>
                    </a:cubicBezTo>
                    <a:cubicBezTo>
                      <a:pt x="56" y="20"/>
                      <a:pt x="71" y="15"/>
                      <a:pt x="71" y="15"/>
                    </a:cubicBezTo>
                    <a:cubicBezTo>
                      <a:pt x="71" y="15"/>
                      <a:pt x="79" y="11"/>
                      <a:pt x="80" y="11"/>
                    </a:cubicBezTo>
                    <a:cubicBezTo>
                      <a:pt x="82" y="11"/>
                      <a:pt x="86" y="12"/>
                      <a:pt x="90" y="12"/>
                    </a:cubicBezTo>
                    <a:cubicBezTo>
                      <a:pt x="93" y="12"/>
                      <a:pt x="108" y="10"/>
                      <a:pt x="110" y="8"/>
                    </a:cubicBezTo>
                    <a:cubicBezTo>
                      <a:pt x="114" y="6"/>
                      <a:pt x="120" y="0"/>
                      <a:pt x="126" y="0"/>
                    </a:cubicBezTo>
                    <a:cubicBezTo>
                      <a:pt x="132" y="0"/>
                      <a:pt x="136" y="1"/>
                      <a:pt x="136" y="5"/>
                    </a:cubicBezTo>
                    <a:cubicBezTo>
                      <a:pt x="135" y="8"/>
                      <a:pt x="132" y="14"/>
                      <a:pt x="129" y="14"/>
                    </a:cubicBezTo>
                    <a:cubicBezTo>
                      <a:pt x="126" y="14"/>
                      <a:pt x="82" y="26"/>
                      <a:pt x="76" y="29"/>
                    </a:cubicBezTo>
                    <a:cubicBezTo>
                      <a:pt x="69" y="32"/>
                      <a:pt x="63" y="40"/>
                      <a:pt x="60" y="41"/>
                    </a:cubicBezTo>
                    <a:cubicBezTo>
                      <a:pt x="56" y="43"/>
                      <a:pt x="48" y="50"/>
                      <a:pt x="44" y="54"/>
                    </a:cubicBezTo>
                    <a:cubicBezTo>
                      <a:pt x="41" y="58"/>
                      <a:pt x="32" y="65"/>
                      <a:pt x="32" y="70"/>
                    </a:cubicBezTo>
                    <a:cubicBezTo>
                      <a:pt x="32" y="76"/>
                      <a:pt x="32" y="80"/>
                      <a:pt x="35" y="83"/>
                    </a:cubicBezTo>
                    <a:cubicBezTo>
                      <a:pt x="38" y="87"/>
                      <a:pt x="52" y="93"/>
                      <a:pt x="50" y="95"/>
                    </a:cubicBezTo>
                    <a:cubicBezTo>
                      <a:pt x="48" y="97"/>
                      <a:pt x="40" y="98"/>
                      <a:pt x="36" y="96"/>
                    </a:cubicBezTo>
                    <a:cubicBezTo>
                      <a:pt x="30" y="95"/>
                      <a:pt x="23" y="95"/>
                      <a:pt x="23" y="95"/>
                    </a:cubicBezTo>
                    <a:cubicBezTo>
                      <a:pt x="18" y="93"/>
                      <a:pt x="18" y="90"/>
                      <a:pt x="16" y="8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0" name="Freeform 97"/>
              <p:cNvSpPr>
                <a:spLocks/>
              </p:cNvSpPr>
              <p:nvPr/>
            </p:nvSpPr>
            <p:spPr bwMode="auto">
              <a:xfrm>
                <a:off x="3460" y="1263"/>
                <a:ext cx="39" cy="22"/>
              </a:xfrm>
              <a:custGeom>
                <a:avLst/>
                <a:gdLst>
                  <a:gd name="T0" fmla="*/ 872607 w 19"/>
                  <a:gd name="T1" fmla="*/ 720896 h 11"/>
                  <a:gd name="T2" fmla="*/ 90443 w 19"/>
                  <a:gd name="T3" fmla="*/ 589824 h 11"/>
                  <a:gd name="T4" fmla="*/ 588030 w 19"/>
                  <a:gd name="T5" fmla="*/ 0 h 11"/>
                  <a:gd name="T6" fmla="*/ 1504413 w 19"/>
                  <a:gd name="T7" fmla="*/ 65536 h 11"/>
                  <a:gd name="T8" fmla="*/ 1791141 w 19"/>
                  <a:gd name="T9" fmla="*/ 393216 h 11"/>
                  <a:gd name="T10" fmla="*/ 872607 w 19"/>
                  <a:gd name="T11" fmla="*/ 720896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11">
                    <a:moveTo>
                      <a:pt x="9" y="11"/>
                    </a:moveTo>
                    <a:cubicBezTo>
                      <a:pt x="7" y="11"/>
                      <a:pt x="2" y="10"/>
                      <a:pt x="1" y="9"/>
                    </a:cubicBezTo>
                    <a:cubicBezTo>
                      <a:pt x="0" y="7"/>
                      <a:pt x="4" y="1"/>
                      <a:pt x="6" y="0"/>
                    </a:cubicBezTo>
                    <a:cubicBezTo>
                      <a:pt x="7" y="0"/>
                      <a:pt x="12" y="0"/>
                      <a:pt x="15" y="1"/>
                    </a:cubicBezTo>
                    <a:cubicBezTo>
                      <a:pt x="17" y="3"/>
                      <a:pt x="19" y="5"/>
                      <a:pt x="18" y="6"/>
                    </a:cubicBezTo>
                    <a:cubicBezTo>
                      <a:pt x="17" y="7"/>
                      <a:pt x="12" y="11"/>
                      <a:pt x="9" y="1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1" name="Freeform 98"/>
              <p:cNvSpPr>
                <a:spLocks/>
              </p:cNvSpPr>
              <p:nvPr/>
            </p:nvSpPr>
            <p:spPr bwMode="auto">
              <a:xfrm>
                <a:off x="3141" y="1014"/>
                <a:ext cx="2522" cy="872"/>
              </a:xfrm>
              <a:custGeom>
                <a:avLst/>
                <a:gdLst>
                  <a:gd name="T0" fmla="*/ 1758994 w 1246"/>
                  <a:gd name="T1" fmla="*/ 18928142 h 431"/>
                  <a:gd name="T2" fmla="*/ 1418674 w 1246"/>
                  <a:gd name="T3" fmla="*/ 14492707 h 431"/>
                  <a:gd name="T4" fmla="*/ 1683834 w 1246"/>
                  <a:gd name="T5" fmla="*/ 9860149 h 431"/>
                  <a:gd name="T6" fmla="*/ 7924458 w 1246"/>
                  <a:gd name="T7" fmla="*/ 11345821 h 431"/>
                  <a:gd name="T8" fmla="*/ 2785081 w 1246"/>
                  <a:gd name="T9" fmla="*/ 12154674 h 431"/>
                  <a:gd name="T10" fmla="*/ 6431175 w 1246"/>
                  <a:gd name="T11" fmla="*/ 15465729 h 431"/>
                  <a:gd name="T12" fmla="*/ 7532074 w 1246"/>
                  <a:gd name="T13" fmla="*/ 13792242 h 431"/>
                  <a:gd name="T14" fmla="*/ 10306722 w 1246"/>
                  <a:gd name="T15" fmla="*/ 11497628 h 431"/>
                  <a:gd name="T16" fmla="*/ 11599473 w 1246"/>
                  <a:gd name="T17" fmla="*/ 12536420 h 431"/>
                  <a:gd name="T18" fmla="*/ 17457867 w 1246"/>
                  <a:gd name="T19" fmla="*/ 10555180 h 431"/>
                  <a:gd name="T20" fmla="*/ 19139452 w 1246"/>
                  <a:gd name="T21" fmla="*/ 8762596 h 431"/>
                  <a:gd name="T22" fmla="*/ 24504183 w 1246"/>
                  <a:gd name="T23" fmla="*/ 9627685 h 431"/>
                  <a:gd name="T24" fmla="*/ 27524430 w 1246"/>
                  <a:gd name="T25" fmla="*/ 6242421 h 431"/>
                  <a:gd name="T26" fmla="*/ 27600902 w 1246"/>
                  <a:gd name="T27" fmla="*/ 11181854 h 431"/>
                  <a:gd name="T28" fmla="*/ 28262299 w 1246"/>
                  <a:gd name="T29" fmla="*/ 11916266 h 431"/>
                  <a:gd name="T30" fmla="*/ 30935026 w 1246"/>
                  <a:gd name="T31" fmla="*/ 11645843 h 431"/>
                  <a:gd name="T32" fmla="*/ 28262299 w 1246"/>
                  <a:gd name="T33" fmla="*/ 8993658 h 431"/>
                  <a:gd name="T34" fmla="*/ 29208337 w 1246"/>
                  <a:gd name="T35" fmla="*/ 7244404 h 431"/>
                  <a:gd name="T36" fmla="*/ 29984020 w 1246"/>
                  <a:gd name="T37" fmla="*/ 6928556 h 431"/>
                  <a:gd name="T38" fmla="*/ 32857741 w 1246"/>
                  <a:gd name="T39" fmla="*/ 7244404 h 431"/>
                  <a:gd name="T40" fmla="*/ 34186382 w 1246"/>
                  <a:gd name="T41" fmla="*/ 8527986 h 431"/>
                  <a:gd name="T42" fmla="*/ 36111577 w 1246"/>
                  <a:gd name="T43" fmla="*/ 4721866 h 431"/>
                  <a:gd name="T44" fmla="*/ 41084993 w 1246"/>
                  <a:gd name="T45" fmla="*/ 1981233 h 431"/>
                  <a:gd name="T46" fmla="*/ 46746171 w 1246"/>
                  <a:gd name="T47" fmla="*/ 0 h 431"/>
                  <a:gd name="T48" fmla="*/ 50392230 w 1246"/>
                  <a:gd name="T49" fmla="*/ 1172411 h 431"/>
                  <a:gd name="T50" fmla="*/ 48274314 w 1246"/>
                  <a:gd name="T51" fmla="*/ 4947323 h 431"/>
                  <a:gd name="T52" fmla="*/ 51833818 w 1246"/>
                  <a:gd name="T53" fmla="*/ 4873537 h 431"/>
                  <a:gd name="T54" fmla="*/ 58188790 w 1246"/>
                  <a:gd name="T55" fmla="*/ 5217067 h 431"/>
                  <a:gd name="T56" fmla="*/ 61521789 w 1246"/>
                  <a:gd name="T57" fmla="*/ 7005181 h 431"/>
                  <a:gd name="T58" fmla="*/ 65635111 w 1246"/>
                  <a:gd name="T59" fmla="*/ 7319362 h 431"/>
                  <a:gd name="T60" fmla="*/ 67801683 w 1246"/>
                  <a:gd name="T61" fmla="*/ 6624179 h 431"/>
                  <a:gd name="T62" fmla="*/ 73868117 w 1246"/>
                  <a:gd name="T63" fmla="*/ 6624179 h 431"/>
                  <a:gd name="T64" fmla="*/ 80300387 w 1246"/>
                  <a:gd name="T65" fmla="*/ 9393740 h 431"/>
                  <a:gd name="T66" fmla="*/ 86186595 w 1246"/>
                  <a:gd name="T67" fmla="*/ 10091140 h 431"/>
                  <a:gd name="T68" fmla="*/ 93242022 w 1246"/>
                  <a:gd name="T69" fmla="*/ 10481930 h 431"/>
                  <a:gd name="T70" fmla="*/ 97946376 w 1246"/>
                  <a:gd name="T71" fmla="*/ 13713284 h 431"/>
                  <a:gd name="T72" fmla="*/ 93880019 w 1246"/>
                  <a:gd name="T73" fmla="*/ 13866032 h 431"/>
                  <a:gd name="T74" fmla="*/ 90365899 w 1246"/>
                  <a:gd name="T75" fmla="*/ 14733630 h 431"/>
                  <a:gd name="T76" fmla="*/ 88020603 w 1246"/>
                  <a:gd name="T77" fmla="*/ 17970004 h 431"/>
                  <a:gd name="T78" fmla="*/ 82383950 w 1246"/>
                  <a:gd name="T79" fmla="*/ 19718817 h 431"/>
                  <a:gd name="T80" fmla="*/ 81831858 w 1246"/>
                  <a:gd name="T81" fmla="*/ 22394285 h 431"/>
                  <a:gd name="T82" fmla="*/ 79372410 w 1246"/>
                  <a:gd name="T83" fmla="*/ 25933859 h 431"/>
                  <a:gd name="T84" fmla="*/ 81676233 w 1246"/>
                  <a:gd name="T85" fmla="*/ 18651633 h 431"/>
                  <a:gd name="T86" fmla="*/ 80702312 w 1246"/>
                  <a:gd name="T87" fmla="*/ 18274312 h 431"/>
                  <a:gd name="T88" fmla="*/ 76890944 w 1246"/>
                  <a:gd name="T89" fmla="*/ 19949072 h 431"/>
                  <a:gd name="T90" fmla="*/ 68654710 w 1246"/>
                  <a:gd name="T91" fmla="*/ 20871553 h 431"/>
                  <a:gd name="T92" fmla="*/ 67514238 w 1246"/>
                  <a:gd name="T93" fmla="*/ 23877681 h 431"/>
                  <a:gd name="T94" fmla="*/ 65016603 w 1246"/>
                  <a:gd name="T95" fmla="*/ 32480879 h 431"/>
                  <a:gd name="T96" fmla="*/ 64180081 w 1246"/>
                  <a:gd name="T97" fmla="*/ 31142064 h 431"/>
                  <a:gd name="T98" fmla="*/ 59758472 w 1246"/>
                  <a:gd name="T99" fmla="*/ 25050063 h 431"/>
                  <a:gd name="T100" fmla="*/ 53483277 w 1246"/>
                  <a:gd name="T101" fmla="*/ 27263274 h 431"/>
                  <a:gd name="T102" fmla="*/ 43412062 w 1246"/>
                  <a:gd name="T103" fmla="*/ 25626801 h 431"/>
                  <a:gd name="T104" fmla="*/ 36750264 w 1246"/>
                  <a:gd name="T105" fmla="*/ 28053782 h 431"/>
                  <a:gd name="T106" fmla="*/ 30244004 w 1246"/>
                  <a:gd name="T107" fmla="*/ 24433828 h 431"/>
                  <a:gd name="T108" fmla="*/ 23553108 w 1246"/>
                  <a:gd name="T109" fmla="*/ 23643293 h 431"/>
                  <a:gd name="T110" fmla="*/ 19522515 w 1246"/>
                  <a:gd name="T111" fmla="*/ 26879659 h 431"/>
                  <a:gd name="T112" fmla="*/ 12786161 w 1246"/>
                  <a:gd name="T113" fmla="*/ 27570473 h 431"/>
                  <a:gd name="T114" fmla="*/ 12633720 w 1246"/>
                  <a:gd name="T115" fmla="*/ 30655888 h 431"/>
                  <a:gd name="T116" fmla="*/ 11839531 w 1246"/>
                  <a:gd name="T117" fmla="*/ 33662275 h 431"/>
                  <a:gd name="T118" fmla="*/ 6814185 w 1246"/>
                  <a:gd name="T119" fmla="*/ 31748788 h 431"/>
                  <a:gd name="T120" fmla="*/ 6662907 w 1246"/>
                  <a:gd name="T121" fmla="*/ 29504389 h 431"/>
                  <a:gd name="T122" fmla="*/ 3952828 w 1246"/>
                  <a:gd name="T123" fmla="*/ 25438625 h 43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246" h="431">
                    <a:moveTo>
                      <a:pt x="16" y="286"/>
                    </a:moveTo>
                    <a:cubicBezTo>
                      <a:pt x="13" y="285"/>
                      <a:pt x="8" y="284"/>
                      <a:pt x="6" y="284"/>
                    </a:cubicBezTo>
                    <a:cubicBezTo>
                      <a:pt x="5" y="284"/>
                      <a:pt x="5" y="278"/>
                      <a:pt x="4" y="276"/>
                    </a:cubicBezTo>
                    <a:cubicBezTo>
                      <a:pt x="4" y="274"/>
                      <a:pt x="3" y="268"/>
                      <a:pt x="2" y="268"/>
                    </a:cubicBezTo>
                    <a:cubicBezTo>
                      <a:pt x="1" y="267"/>
                      <a:pt x="0" y="261"/>
                      <a:pt x="1" y="258"/>
                    </a:cubicBezTo>
                    <a:cubicBezTo>
                      <a:pt x="5" y="247"/>
                      <a:pt x="5" y="247"/>
                      <a:pt x="5" y="247"/>
                    </a:cubicBezTo>
                    <a:cubicBezTo>
                      <a:pt x="6" y="247"/>
                      <a:pt x="6" y="243"/>
                      <a:pt x="7" y="242"/>
                    </a:cubicBezTo>
                    <a:cubicBezTo>
                      <a:pt x="9" y="242"/>
                      <a:pt x="18" y="242"/>
                      <a:pt x="19" y="242"/>
                    </a:cubicBezTo>
                    <a:cubicBezTo>
                      <a:pt x="20" y="242"/>
                      <a:pt x="22" y="241"/>
                      <a:pt x="22" y="240"/>
                    </a:cubicBezTo>
                    <a:cubicBezTo>
                      <a:pt x="22" y="239"/>
                      <a:pt x="15" y="238"/>
                      <a:pt x="14" y="237"/>
                    </a:cubicBezTo>
                    <a:cubicBezTo>
                      <a:pt x="13" y="236"/>
                      <a:pt x="10" y="234"/>
                      <a:pt x="10" y="232"/>
                    </a:cubicBezTo>
                    <a:cubicBezTo>
                      <a:pt x="10" y="232"/>
                      <a:pt x="10" y="232"/>
                      <a:pt x="8" y="232"/>
                    </a:cubicBezTo>
                    <a:cubicBezTo>
                      <a:pt x="12" y="227"/>
                      <a:pt x="12" y="227"/>
                      <a:pt x="12" y="227"/>
                    </a:cubicBezTo>
                    <a:cubicBezTo>
                      <a:pt x="14" y="225"/>
                      <a:pt x="30" y="212"/>
                      <a:pt x="31" y="209"/>
                    </a:cubicBezTo>
                    <a:cubicBezTo>
                      <a:pt x="32" y="206"/>
                      <a:pt x="31" y="203"/>
                      <a:pt x="28" y="202"/>
                    </a:cubicBezTo>
                    <a:cubicBezTo>
                      <a:pt x="26" y="201"/>
                      <a:pt x="21" y="199"/>
                      <a:pt x="21" y="197"/>
                    </a:cubicBezTo>
                    <a:cubicBezTo>
                      <a:pt x="20" y="196"/>
                      <a:pt x="25" y="192"/>
                      <a:pt x="24" y="190"/>
                    </a:cubicBezTo>
                    <a:cubicBezTo>
                      <a:pt x="23" y="188"/>
                      <a:pt x="18" y="187"/>
                      <a:pt x="18" y="184"/>
                    </a:cubicBezTo>
                    <a:cubicBezTo>
                      <a:pt x="19" y="180"/>
                      <a:pt x="20" y="177"/>
                      <a:pt x="20" y="174"/>
                    </a:cubicBezTo>
                    <a:cubicBezTo>
                      <a:pt x="20" y="172"/>
                      <a:pt x="20" y="168"/>
                      <a:pt x="19" y="166"/>
                    </a:cubicBezTo>
                    <a:cubicBezTo>
                      <a:pt x="18" y="163"/>
                      <a:pt x="13" y="160"/>
                      <a:pt x="14" y="157"/>
                    </a:cubicBezTo>
                    <a:cubicBezTo>
                      <a:pt x="14" y="154"/>
                      <a:pt x="20" y="150"/>
                      <a:pt x="20" y="147"/>
                    </a:cubicBezTo>
                    <a:cubicBezTo>
                      <a:pt x="20" y="145"/>
                      <a:pt x="13" y="143"/>
                      <a:pt x="11" y="141"/>
                    </a:cubicBezTo>
                    <a:cubicBezTo>
                      <a:pt x="10" y="139"/>
                      <a:pt x="10" y="136"/>
                      <a:pt x="10" y="136"/>
                    </a:cubicBezTo>
                    <a:cubicBezTo>
                      <a:pt x="12" y="131"/>
                      <a:pt x="12" y="131"/>
                      <a:pt x="12" y="131"/>
                    </a:cubicBezTo>
                    <a:cubicBezTo>
                      <a:pt x="14" y="132"/>
                      <a:pt x="16" y="132"/>
                      <a:pt x="16" y="130"/>
                    </a:cubicBezTo>
                    <a:cubicBezTo>
                      <a:pt x="16" y="124"/>
                      <a:pt x="19" y="127"/>
                      <a:pt x="21" y="125"/>
                    </a:cubicBezTo>
                    <a:cubicBezTo>
                      <a:pt x="22" y="123"/>
                      <a:pt x="23" y="119"/>
                      <a:pt x="23" y="119"/>
                    </a:cubicBezTo>
                    <a:cubicBezTo>
                      <a:pt x="26" y="120"/>
                      <a:pt x="34" y="122"/>
                      <a:pt x="35" y="122"/>
                    </a:cubicBezTo>
                    <a:cubicBezTo>
                      <a:pt x="36" y="122"/>
                      <a:pt x="35" y="118"/>
                      <a:pt x="38" y="119"/>
                    </a:cubicBezTo>
                    <a:cubicBezTo>
                      <a:pt x="41" y="119"/>
                      <a:pt x="45" y="119"/>
                      <a:pt x="45" y="120"/>
                    </a:cubicBezTo>
                    <a:cubicBezTo>
                      <a:pt x="45" y="121"/>
                      <a:pt x="41" y="122"/>
                      <a:pt x="41" y="124"/>
                    </a:cubicBezTo>
                    <a:cubicBezTo>
                      <a:pt x="41" y="125"/>
                      <a:pt x="46" y="125"/>
                      <a:pt x="50" y="125"/>
                    </a:cubicBezTo>
                    <a:cubicBezTo>
                      <a:pt x="54" y="126"/>
                      <a:pt x="61" y="126"/>
                      <a:pt x="64" y="127"/>
                    </a:cubicBezTo>
                    <a:cubicBezTo>
                      <a:pt x="68" y="128"/>
                      <a:pt x="80" y="133"/>
                      <a:pt x="83" y="136"/>
                    </a:cubicBezTo>
                    <a:cubicBezTo>
                      <a:pt x="86" y="138"/>
                      <a:pt x="98" y="144"/>
                      <a:pt x="100" y="144"/>
                    </a:cubicBezTo>
                    <a:cubicBezTo>
                      <a:pt x="102" y="144"/>
                      <a:pt x="105" y="145"/>
                      <a:pt x="105" y="146"/>
                    </a:cubicBezTo>
                    <a:cubicBezTo>
                      <a:pt x="106" y="147"/>
                      <a:pt x="105" y="151"/>
                      <a:pt x="106" y="152"/>
                    </a:cubicBezTo>
                    <a:cubicBezTo>
                      <a:pt x="107" y="154"/>
                      <a:pt x="108" y="157"/>
                      <a:pt x="105" y="159"/>
                    </a:cubicBezTo>
                    <a:cubicBezTo>
                      <a:pt x="103" y="160"/>
                      <a:pt x="100" y="165"/>
                      <a:pt x="93" y="166"/>
                    </a:cubicBezTo>
                    <a:cubicBezTo>
                      <a:pt x="79" y="169"/>
                      <a:pt x="75" y="165"/>
                      <a:pt x="73" y="164"/>
                    </a:cubicBezTo>
                    <a:cubicBezTo>
                      <a:pt x="70" y="164"/>
                      <a:pt x="64" y="163"/>
                      <a:pt x="61" y="162"/>
                    </a:cubicBezTo>
                    <a:cubicBezTo>
                      <a:pt x="58" y="160"/>
                      <a:pt x="52" y="158"/>
                      <a:pt x="49" y="157"/>
                    </a:cubicBezTo>
                    <a:cubicBezTo>
                      <a:pt x="46" y="156"/>
                      <a:pt x="44" y="155"/>
                      <a:pt x="42" y="154"/>
                    </a:cubicBezTo>
                    <a:cubicBezTo>
                      <a:pt x="39" y="153"/>
                      <a:pt x="36" y="153"/>
                      <a:pt x="35" y="154"/>
                    </a:cubicBezTo>
                    <a:cubicBezTo>
                      <a:pt x="34" y="154"/>
                      <a:pt x="38" y="157"/>
                      <a:pt x="39" y="159"/>
                    </a:cubicBezTo>
                    <a:cubicBezTo>
                      <a:pt x="41" y="160"/>
                      <a:pt x="46" y="164"/>
                      <a:pt x="50" y="166"/>
                    </a:cubicBezTo>
                    <a:cubicBezTo>
                      <a:pt x="53" y="168"/>
                      <a:pt x="57" y="169"/>
                      <a:pt x="57" y="171"/>
                    </a:cubicBezTo>
                    <a:cubicBezTo>
                      <a:pt x="56" y="173"/>
                      <a:pt x="53" y="176"/>
                      <a:pt x="54" y="177"/>
                    </a:cubicBezTo>
                    <a:cubicBezTo>
                      <a:pt x="55" y="178"/>
                      <a:pt x="58" y="182"/>
                      <a:pt x="58" y="183"/>
                    </a:cubicBezTo>
                    <a:cubicBezTo>
                      <a:pt x="58" y="185"/>
                      <a:pt x="58" y="187"/>
                      <a:pt x="59" y="188"/>
                    </a:cubicBezTo>
                    <a:cubicBezTo>
                      <a:pt x="61" y="190"/>
                      <a:pt x="66" y="189"/>
                      <a:pt x="66" y="190"/>
                    </a:cubicBezTo>
                    <a:cubicBezTo>
                      <a:pt x="67" y="192"/>
                      <a:pt x="69" y="194"/>
                      <a:pt x="72" y="195"/>
                    </a:cubicBezTo>
                    <a:cubicBezTo>
                      <a:pt x="74" y="196"/>
                      <a:pt x="80" y="197"/>
                      <a:pt x="81" y="196"/>
                    </a:cubicBezTo>
                    <a:cubicBezTo>
                      <a:pt x="82" y="195"/>
                      <a:pt x="83" y="191"/>
                      <a:pt x="81" y="189"/>
                    </a:cubicBezTo>
                    <a:cubicBezTo>
                      <a:pt x="79" y="187"/>
                      <a:pt x="76" y="188"/>
                      <a:pt x="74" y="187"/>
                    </a:cubicBezTo>
                    <a:cubicBezTo>
                      <a:pt x="73" y="186"/>
                      <a:pt x="70" y="184"/>
                      <a:pt x="70" y="183"/>
                    </a:cubicBezTo>
                    <a:cubicBezTo>
                      <a:pt x="70" y="182"/>
                      <a:pt x="72" y="179"/>
                      <a:pt x="73" y="179"/>
                    </a:cubicBezTo>
                    <a:cubicBezTo>
                      <a:pt x="74" y="179"/>
                      <a:pt x="78" y="179"/>
                      <a:pt x="79" y="181"/>
                    </a:cubicBezTo>
                    <a:cubicBezTo>
                      <a:pt x="80" y="182"/>
                      <a:pt x="92" y="187"/>
                      <a:pt x="94" y="187"/>
                    </a:cubicBezTo>
                    <a:cubicBezTo>
                      <a:pt x="95" y="187"/>
                      <a:pt x="99" y="186"/>
                      <a:pt x="100" y="185"/>
                    </a:cubicBezTo>
                    <a:cubicBezTo>
                      <a:pt x="102" y="183"/>
                      <a:pt x="100" y="182"/>
                      <a:pt x="99" y="180"/>
                    </a:cubicBezTo>
                    <a:cubicBezTo>
                      <a:pt x="97" y="178"/>
                      <a:pt x="95" y="177"/>
                      <a:pt x="95" y="175"/>
                    </a:cubicBezTo>
                    <a:cubicBezTo>
                      <a:pt x="95" y="174"/>
                      <a:pt x="98" y="172"/>
                      <a:pt x="98" y="172"/>
                    </a:cubicBezTo>
                    <a:cubicBezTo>
                      <a:pt x="98" y="172"/>
                      <a:pt x="103" y="170"/>
                      <a:pt x="105" y="169"/>
                    </a:cubicBezTo>
                    <a:cubicBezTo>
                      <a:pt x="106" y="168"/>
                      <a:pt x="114" y="162"/>
                      <a:pt x="115" y="162"/>
                    </a:cubicBezTo>
                    <a:cubicBezTo>
                      <a:pt x="116" y="162"/>
                      <a:pt x="120" y="162"/>
                      <a:pt x="121" y="164"/>
                    </a:cubicBezTo>
                    <a:cubicBezTo>
                      <a:pt x="123" y="165"/>
                      <a:pt x="126" y="169"/>
                      <a:pt x="128" y="169"/>
                    </a:cubicBezTo>
                    <a:cubicBezTo>
                      <a:pt x="131" y="168"/>
                      <a:pt x="131" y="162"/>
                      <a:pt x="132" y="160"/>
                    </a:cubicBezTo>
                    <a:cubicBezTo>
                      <a:pt x="132" y="158"/>
                      <a:pt x="132" y="155"/>
                      <a:pt x="130" y="155"/>
                    </a:cubicBezTo>
                    <a:cubicBezTo>
                      <a:pt x="128" y="154"/>
                      <a:pt x="126" y="154"/>
                      <a:pt x="126" y="152"/>
                    </a:cubicBezTo>
                    <a:cubicBezTo>
                      <a:pt x="126" y="151"/>
                      <a:pt x="130" y="148"/>
                      <a:pt x="130" y="146"/>
                    </a:cubicBezTo>
                    <a:cubicBezTo>
                      <a:pt x="130" y="143"/>
                      <a:pt x="129" y="139"/>
                      <a:pt x="127" y="138"/>
                    </a:cubicBezTo>
                    <a:cubicBezTo>
                      <a:pt x="125" y="137"/>
                      <a:pt x="122" y="135"/>
                      <a:pt x="123" y="134"/>
                    </a:cubicBezTo>
                    <a:cubicBezTo>
                      <a:pt x="123" y="133"/>
                      <a:pt x="128" y="135"/>
                      <a:pt x="130" y="135"/>
                    </a:cubicBezTo>
                    <a:cubicBezTo>
                      <a:pt x="131" y="135"/>
                      <a:pt x="141" y="135"/>
                      <a:pt x="142" y="136"/>
                    </a:cubicBezTo>
                    <a:cubicBezTo>
                      <a:pt x="144" y="137"/>
                      <a:pt x="150" y="144"/>
                      <a:pt x="149" y="145"/>
                    </a:cubicBezTo>
                    <a:cubicBezTo>
                      <a:pt x="148" y="146"/>
                      <a:pt x="141" y="146"/>
                      <a:pt x="139" y="146"/>
                    </a:cubicBezTo>
                    <a:cubicBezTo>
                      <a:pt x="137" y="146"/>
                      <a:pt x="135" y="149"/>
                      <a:pt x="135" y="151"/>
                    </a:cubicBezTo>
                    <a:cubicBezTo>
                      <a:pt x="135" y="153"/>
                      <a:pt x="139" y="153"/>
                      <a:pt x="140" y="154"/>
                    </a:cubicBezTo>
                    <a:cubicBezTo>
                      <a:pt x="141" y="156"/>
                      <a:pt x="142" y="159"/>
                      <a:pt x="146" y="159"/>
                    </a:cubicBezTo>
                    <a:cubicBezTo>
                      <a:pt x="149" y="159"/>
                      <a:pt x="155" y="159"/>
                      <a:pt x="156" y="157"/>
                    </a:cubicBezTo>
                    <a:cubicBezTo>
                      <a:pt x="157" y="155"/>
                      <a:pt x="156" y="147"/>
                      <a:pt x="158" y="147"/>
                    </a:cubicBezTo>
                    <a:cubicBezTo>
                      <a:pt x="160" y="147"/>
                      <a:pt x="167" y="146"/>
                      <a:pt x="170" y="144"/>
                    </a:cubicBezTo>
                    <a:cubicBezTo>
                      <a:pt x="173" y="143"/>
                      <a:pt x="180" y="137"/>
                      <a:pt x="182" y="137"/>
                    </a:cubicBezTo>
                    <a:cubicBezTo>
                      <a:pt x="184" y="137"/>
                      <a:pt x="188" y="135"/>
                      <a:pt x="191" y="134"/>
                    </a:cubicBezTo>
                    <a:cubicBezTo>
                      <a:pt x="195" y="134"/>
                      <a:pt x="206" y="129"/>
                      <a:pt x="208" y="129"/>
                    </a:cubicBezTo>
                    <a:cubicBezTo>
                      <a:pt x="210" y="128"/>
                      <a:pt x="204" y="136"/>
                      <a:pt x="204" y="137"/>
                    </a:cubicBezTo>
                    <a:cubicBezTo>
                      <a:pt x="204" y="139"/>
                      <a:pt x="207" y="140"/>
                      <a:pt x="210" y="140"/>
                    </a:cubicBezTo>
                    <a:cubicBezTo>
                      <a:pt x="213" y="139"/>
                      <a:pt x="218" y="134"/>
                      <a:pt x="220" y="134"/>
                    </a:cubicBezTo>
                    <a:cubicBezTo>
                      <a:pt x="222" y="134"/>
                      <a:pt x="224" y="136"/>
                      <a:pt x="227" y="136"/>
                    </a:cubicBezTo>
                    <a:cubicBezTo>
                      <a:pt x="229" y="135"/>
                      <a:pt x="235" y="132"/>
                      <a:pt x="238" y="131"/>
                    </a:cubicBezTo>
                    <a:cubicBezTo>
                      <a:pt x="241" y="130"/>
                      <a:pt x="243" y="130"/>
                      <a:pt x="244" y="132"/>
                    </a:cubicBezTo>
                    <a:cubicBezTo>
                      <a:pt x="245" y="133"/>
                      <a:pt x="241" y="138"/>
                      <a:pt x="244" y="138"/>
                    </a:cubicBezTo>
                    <a:cubicBezTo>
                      <a:pt x="248" y="138"/>
                      <a:pt x="250" y="137"/>
                      <a:pt x="250" y="137"/>
                    </a:cubicBezTo>
                    <a:cubicBezTo>
                      <a:pt x="251" y="136"/>
                      <a:pt x="258" y="132"/>
                      <a:pt x="256" y="129"/>
                    </a:cubicBezTo>
                    <a:cubicBezTo>
                      <a:pt x="254" y="127"/>
                      <a:pt x="253" y="124"/>
                      <a:pt x="252" y="122"/>
                    </a:cubicBezTo>
                    <a:cubicBezTo>
                      <a:pt x="250" y="120"/>
                      <a:pt x="241" y="117"/>
                      <a:pt x="240" y="115"/>
                    </a:cubicBezTo>
                    <a:cubicBezTo>
                      <a:pt x="239" y="114"/>
                      <a:pt x="239" y="112"/>
                      <a:pt x="241" y="111"/>
                    </a:cubicBezTo>
                    <a:cubicBezTo>
                      <a:pt x="243" y="110"/>
                      <a:pt x="245" y="111"/>
                      <a:pt x="247" y="113"/>
                    </a:cubicBezTo>
                    <a:cubicBezTo>
                      <a:pt x="249" y="114"/>
                      <a:pt x="256" y="118"/>
                      <a:pt x="257" y="118"/>
                    </a:cubicBezTo>
                    <a:cubicBezTo>
                      <a:pt x="264" y="119"/>
                      <a:pt x="272" y="118"/>
                      <a:pt x="276" y="119"/>
                    </a:cubicBezTo>
                    <a:cubicBezTo>
                      <a:pt x="280" y="121"/>
                      <a:pt x="290" y="126"/>
                      <a:pt x="291" y="126"/>
                    </a:cubicBezTo>
                    <a:cubicBezTo>
                      <a:pt x="292" y="127"/>
                      <a:pt x="307" y="134"/>
                      <a:pt x="308" y="135"/>
                    </a:cubicBezTo>
                    <a:cubicBezTo>
                      <a:pt x="309" y="136"/>
                      <a:pt x="311" y="141"/>
                      <a:pt x="313" y="141"/>
                    </a:cubicBezTo>
                    <a:cubicBezTo>
                      <a:pt x="316" y="141"/>
                      <a:pt x="318" y="133"/>
                      <a:pt x="319" y="131"/>
                    </a:cubicBezTo>
                    <a:cubicBezTo>
                      <a:pt x="320" y="129"/>
                      <a:pt x="314" y="129"/>
                      <a:pt x="313" y="127"/>
                    </a:cubicBezTo>
                    <a:cubicBezTo>
                      <a:pt x="313" y="125"/>
                      <a:pt x="310" y="122"/>
                      <a:pt x="309" y="122"/>
                    </a:cubicBezTo>
                    <a:cubicBezTo>
                      <a:pt x="308" y="121"/>
                      <a:pt x="303" y="121"/>
                      <a:pt x="302" y="121"/>
                    </a:cubicBezTo>
                    <a:cubicBezTo>
                      <a:pt x="302" y="120"/>
                      <a:pt x="303" y="117"/>
                      <a:pt x="303" y="116"/>
                    </a:cubicBezTo>
                    <a:cubicBezTo>
                      <a:pt x="303" y="114"/>
                      <a:pt x="308" y="106"/>
                      <a:pt x="307" y="105"/>
                    </a:cubicBezTo>
                    <a:cubicBezTo>
                      <a:pt x="305" y="104"/>
                      <a:pt x="300" y="107"/>
                      <a:pt x="299" y="104"/>
                    </a:cubicBezTo>
                    <a:cubicBezTo>
                      <a:pt x="299" y="101"/>
                      <a:pt x="301" y="98"/>
                      <a:pt x="303" y="98"/>
                    </a:cubicBezTo>
                    <a:cubicBezTo>
                      <a:pt x="304" y="97"/>
                      <a:pt x="312" y="95"/>
                      <a:pt x="313" y="93"/>
                    </a:cubicBezTo>
                    <a:cubicBezTo>
                      <a:pt x="313" y="91"/>
                      <a:pt x="319" y="75"/>
                      <a:pt x="321" y="74"/>
                    </a:cubicBezTo>
                    <a:cubicBezTo>
                      <a:pt x="322" y="74"/>
                      <a:pt x="334" y="76"/>
                      <a:pt x="336" y="76"/>
                    </a:cubicBezTo>
                    <a:cubicBezTo>
                      <a:pt x="339" y="76"/>
                      <a:pt x="347" y="78"/>
                      <a:pt x="347" y="79"/>
                    </a:cubicBezTo>
                    <a:cubicBezTo>
                      <a:pt x="348" y="81"/>
                      <a:pt x="348" y="84"/>
                      <a:pt x="346" y="86"/>
                    </a:cubicBezTo>
                    <a:cubicBezTo>
                      <a:pt x="345" y="88"/>
                      <a:pt x="340" y="93"/>
                      <a:pt x="340" y="95"/>
                    </a:cubicBezTo>
                    <a:cubicBezTo>
                      <a:pt x="340" y="97"/>
                      <a:pt x="346" y="99"/>
                      <a:pt x="346" y="102"/>
                    </a:cubicBezTo>
                    <a:cubicBezTo>
                      <a:pt x="347" y="104"/>
                      <a:pt x="347" y="110"/>
                      <a:pt x="346" y="111"/>
                    </a:cubicBezTo>
                    <a:cubicBezTo>
                      <a:pt x="345" y="113"/>
                      <a:pt x="343" y="112"/>
                      <a:pt x="344" y="115"/>
                    </a:cubicBezTo>
                    <a:cubicBezTo>
                      <a:pt x="345" y="117"/>
                      <a:pt x="346" y="119"/>
                      <a:pt x="346" y="121"/>
                    </a:cubicBezTo>
                    <a:cubicBezTo>
                      <a:pt x="346" y="123"/>
                      <a:pt x="344" y="127"/>
                      <a:pt x="345" y="130"/>
                    </a:cubicBezTo>
                    <a:cubicBezTo>
                      <a:pt x="346" y="132"/>
                      <a:pt x="354" y="135"/>
                      <a:pt x="353" y="137"/>
                    </a:cubicBezTo>
                    <a:cubicBezTo>
                      <a:pt x="352" y="138"/>
                      <a:pt x="347" y="139"/>
                      <a:pt x="348" y="142"/>
                    </a:cubicBezTo>
                    <a:cubicBezTo>
                      <a:pt x="349" y="144"/>
                      <a:pt x="350" y="147"/>
                      <a:pt x="349" y="147"/>
                    </a:cubicBezTo>
                    <a:cubicBezTo>
                      <a:pt x="349" y="148"/>
                      <a:pt x="342" y="153"/>
                      <a:pt x="340" y="155"/>
                    </a:cubicBezTo>
                    <a:cubicBezTo>
                      <a:pt x="339" y="157"/>
                      <a:pt x="330" y="160"/>
                      <a:pt x="328" y="159"/>
                    </a:cubicBezTo>
                    <a:cubicBezTo>
                      <a:pt x="326" y="158"/>
                      <a:pt x="320" y="156"/>
                      <a:pt x="319" y="158"/>
                    </a:cubicBezTo>
                    <a:cubicBezTo>
                      <a:pt x="318" y="160"/>
                      <a:pt x="322" y="163"/>
                      <a:pt x="325" y="164"/>
                    </a:cubicBezTo>
                    <a:cubicBezTo>
                      <a:pt x="328" y="165"/>
                      <a:pt x="341" y="166"/>
                      <a:pt x="343" y="166"/>
                    </a:cubicBezTo>
                    <a:cubicBezTo>
                      <a:pt x="345" y="166"/>
                      <a:pt x="344" y="160"/>
                      <a:pt x="347" y="160"/>
                    </a:cubicBezTo>
                    <a:cubicBezTo>
                      <a:pt x="349" y="160"/>
                      <a:pt x="354" y="159"/>
                      <a:pt x="355" y="158"/>
                    </a:cubicBezTo>
                    <a:cubicBezTo>
                      <a:pt x="357" y="157"/>
                      <a:pt x="355" y="152"/>
                      <a:pt x="356" y="151"/>
                    </a:cubicBezTo>
                    <a:cubicBezTo>
                      <a:pt x="357" y="150"/>
                      <a:pt x="362" y="150"/>
                      <a:pt x="362" y="147"/>
                    </a:cubicBezTo>
                    <a:cubicBezTo>
                      <a:pt x="362" y="144"/>
                      <a:pt x="363" y="141"/>
                      <a:pt x="362" y="140"/>
                    </a:cubicBezTo>
                    <a:cubicBezTo>
                      <a:pt x="361" y="139"/>
                      <a:pt x="360" y="137"/>
                      <a:pt x="360" y="136"/>
                    </a:cubicBezTo>
                    <a:cubicBezTo>
                      <a:pt x="361" y="134"/>
                      <a:pt x="363" y="132"/>
                      <a:pt x="363" y="132"/>
                    </a:cubicBezTo>
                    <a:cubicBezTo>
                      <a:pt x="363" y="132"/>
                      <a:pt x="374" y="130"/>
                      <a:pt x="376" y="130"/>
                    </a:cubicBezTo>
                    <a:cubicBezTo>
                      <a:pt x="377" y="131"/>
                      <a:pt x="381" y="136"/>
                      <a:pt x="381" y="137"/>
                    </a:cubicBezTo>
                    <a:cubicBezTo>
                      <a:pt x="381" y="138"/>
                      <a:pt x="379" y="144"/>
                      <a:pt x="380" y="146"/>
                    </a:cubicBezTo>
                    <a:cubicBezTo>
                      <a:pt x="382" y="148"/>
                      <a:pt x="385" y="150"/>
                      <a:pt x="386" y="150"/>
                    </a:cubicBezTo>
                    <a:cubicBezTo>
                      <a:pt x="386" y="150"/>
                      <a:pt x="389" y="148"/>
                      <a:pt x="390" y="148"/>
                    </a:cubicBezTo>
                    <a:cubicBezTo>
                      <a:pt x="391" y="148"/>
                      <a:pt x="386" y="145"/>
                      <a:pt x="386" y="144"/>
                    </a:cubicBezTo>
                    <a:cubicBezTo>
                      <a:pt x="385" y="143"/>
                      <a:pt x="385" y="141"/>
                      <a:pt x="387" y="141"/>
                    </a:cubicBezTo>
                    <a:cubicBezTo>
                      <a:pt x="389" y="141"/>
                      <a:pt x="389" y="139"/>
                      <a:pt x="388" y="137"/>
                    </a:cubicBezTo>
                    <a:cubicBezTo>
                      <a:pt x="387" y="136"/>
                      <a:pt x="385" y="132"/>
                      <a:pt x="385" y="130"/>
                    </a:cubicBezTo>
                    <a:cubicBezTo>
                      <a:pt x="384" y="128"/>
                      <a:pt x="379" y="127"/>
                      <a:pt x="377" y="126"/>
                    </a:cubicBezTo>
                    <a:cubicBezTo>
                      <a:pt x="375" y="125"/>
                      <a:pt x="372" y="124"/>
                      <a:pt x="368" y="125"/>
                    </a:cubicBezTo>
                    <a:cubicBezTo>
                      <a:pt x="364" y="126"/>
                      <a:pt x="359" y="128"/>
                      <a:pt x="357" y="127"/>
                    </a:cubicBezTo>
                    <a:cubicBezTo>
                      <a:pt x="355" y="127"/>
                      <a:pt x="357" y="124"/>
                      <a:pt x="356" y="122"/>
                    </a:cubicBezTo>
                    <a:cubicBezTo>
                      <a:pt x="355" y="120"/>
                      <a:pt x="354" y="116"/>
                      <a:pt x="356" y="114"/>
                    </a:cubicBezTo>
                    <a:cubicBezTo>
                      <a:pt x="358" y="113"/>
                      <a:pt x="362" y="110"/>
                      <a:pt x="361" y="107"/>
                    </a:cubicBezTo>
                    <a:cubicBezTo>
                      <a:pt x="360" y="104"/>
                      <a:pt x="351" y="98"/>
                      <a:pt x="351" y="96"/>
                    </a:cubicBezTo>
                    <a:cubicBezTo>
                      <a:pt x="351" y="94"/>
                      <a:pt x="354" y="91"/>
                      <a:pt x="354" y="91"/>
                    </a:cubicBezTo>
                    <a:cubicBezTo>
                      <a:pt x="354" y="91"/>
                      <a:pt x="363" y="89"/>
                      <a:pt x="363" y="88"/>
                    </a:cubicBezTo>
                    <a:cubicBezTo>
                      <a:pt x="363" y="87"/>
                      <a:pt x="366" y="82"/>
                      <a:pt x="363" y="79"/>
                    </a:cubicBezTo>
                    <a:cubicBezTo>
                      <a:pt x="361" y="76"/>
                      <a:pt x="357" y="75"/>
                      <a:pt x="358" y="73"/>
                    </a:cubicBezTo>
                    <a:cubicBezTo>
                      <a:pt x="359" y="72"/>
                      <a:pt x="363" y="73"/>
                      <a:pt x="365" y="73"/>
                    </a:cubicBezTo>
                    <a:cubicBezTo>
                      <a:pt x="366" y="74"/>
                      <a:pt x="371" y="79"/>
                      <a:pt x="371" y="81"/>
                    </a:cubicBezTo>
                    <a:cubicBezTo>
                      <a:pt x="371" y="83"/>
                      <a:pt x="368" y="90"/>
                      <a:pt x="368" y="92"/>
                    </a:cubicBezTo>
                    <a:cubicBezTo>
                      <a:pt x="367" y="94"/>
                      <a:pt x="366" y="96"/>
                      <a:pt x="368" y="98"/>
                    </a:cubicBezTo>
                    <a:cubicBezTo>
                      <a:pt x="370" y="100"/>
                      <a:pt x="375" y="101"/>
                      <a:pt x="377" y="101"/>
                    </a:cubicBezTo>
                    <a:cubicBezTo>
                      <a:pt x="380" y="101"/>
                      <a:pt x="382" y="101"/>
                      <a:pt x="384" y="101"/>
                    </a:cubicBezTo>
                    <a:cubicBezTo>
                      <a:pt x="385" y="102"/>
                      <a:pt x="389" y="105"/>
                      <a:pt x="390" y="104"/>
                    </a:cubicBezTo>
                    <a:cubicBezTo>
                      <a:pt x="391" y="103"/>
                      <a:pt x="390" y="100"/>
                      <a:pt x="390" y="99"/>
                    </a:cubicBezTo>
                    <a:cubicBezTo>
                      <a:pt x="389" y="97"/>
                      <a:pt x="388" y="97"/>
                      <a:pt x="386" y="97"/>
                    </a:cubicBezTo>
                    <a:cubicBezTo>
                      <a:pt x="385" y="97"/>
                      <a:pt x="380" y="96"/>
                      <a:pt x="378" y="95"/>
                    </a:cubicBezTo>
                    <a:cubicBezTo>
                      <a:pt x="376" y="93"/>
                      <a:pt x="373" y="92"/>
                      <a:pt x="373" y="90"/>
                    </a:cubicBezTo>
                    <a:cubicBezTo>
                      <a:pt x="374" y="89"/>
                      <a:pt x="377" y="88"/>
                      <a:pt x="378" y="88"/>
                    </a:cubicBezTo>
                    <a:cubicBezTo>
                      <a:pt x="379" y="88"/>
                      <a:pt x="382" y="91"/>
                      <a:pt x="384" y="91"/>
                    </a:cubicBezTo>
                    <a:cubicBezTo>
                      <a:pt x="386" y="91"/>
                      <a:pt x="389" y="91"/>
                      <a:pt x="389" y="89"/>
                    </a:cubicBezTo>
                    <a:cubicBezTo>
                      <a:pt x="389" y="87"/>
                      <a:pt x="386" y="84"/>
                      <a:pt x="384" y="84"/>
                    </a:cubicBezTo>
                    <a:cubicBezTo>
                      <a:pt x="381" y="84"/>
                      <a:pt x="379" y="83"/>
                      <a:pt x="379" y="82"/>
                    </a:cubicBezTo>
                    <a:cubicBezTo>
                      <a:pt x="379" y="81"/>
                      <a:pt x="384" y="80"/>
                      <a:pt x="385" y="80"/>
                    </a:cubicBezTo>
                    <a:cubicBezTo>
                      <a:pt x="386" y="79"/>
                      <a:pt x="389" y="80"/>
                      <a:pt x="390" y="81"/>
                    </a:cubicBezTo>
                    <a:cubicBezTo>
                      <a:pt x="391" y="83"/>
                      <a:pt x="394" y="84"/>
                      <a:pt x="395" y="84"/>
                    </a:cubicBezTo>
                    <a:cubicBezTo>
                      <a:pt x="398" y="83"/>
                      <a:pt x="403" y="86"/>
                      <a:pt x="404" y="86"/>
                    </a:cubicBezTo>
                    <a:cubicBezTo>
                      <a:pt x="406" y="86"/>
                      <a:pt x="411" y="92"/>
                      <a:pt x="414" y="92"/>
                    </a:cubicBezTo>
                    <a:cubicBezTo>
                      <a:pt x="417" y="93"/>
                      <a:pt x="424" y="92"/>
                      <a:pt x="424" y="93"/>
                    </a:cubicBezTo>
                    <a:cubicBezTo>
                      <a:pt x="425" y="97"/>
                      <a:pt x="419" y="96"/>
                      <a:pt x="419" y="98"/>
                    </a:cubicBezTo>
                    <a:cubicBezTo>
                      <a:pt x="419" y="100"/>
                      <a:pt x="418" y="101"/>
                      <a:pt x="420" y="103"/>
                    </a:cubicBezTo>
                    <a:cubicBezTo>
                      <a:pt x="422" y="104"/>
                      <a:pt x="420" y="106"/>
                      <a:pt x="419" y="108"/>
                    </a:cubicBezTo>
                    <a:cubicBezTo>
                      <a:pt x="418" y="110"/>
                      <a:pt x="417" y="111"/>
                      <a:pt x="420" y="113"/>
                    </a:cubicBezTo>
                    <a:cubicBezTo>
                      <a:pt x="422" y="115"/>
                      <a:pt x="429" y="119"/>
                      <a:pt x="430" y="119"/>
                    </a:cubicBezTo>
                    <a:cubicBezTo>
                      <a:pt x="432" y="120"/>
                      <a:pt x="434" y="121"/>
                      <a:pt x="435" y="120"/>
                    </a:cubicBezTo>
                    <a:cubicBezTo>
                      <a:pt x="435" y="119"/>
                      <a:pt x="427" y="113"/>
                      <a:pt x="427" y="112"/>
                    </a:cubicBezTo>
                    <a:cubicBezTo>
                      <a:pt x="427" y="110"/>
                      <a:pt x="432" y="110"/>
                      <a:pt x="431" y="108"/>
                    </a:cubicBezTo>
                    <a:cubicBezTo>
                      <a:pt x="430" y="105"/>
                      <a:pt x="428" y="101"/>
                      <a:pt x="428" y="99"/>
                    </a:cubicBezTo>
                    <a:cubicBezTo>
                      <a:pt x="429" y="97"/>
                      <a:pt x="432" y="95"/>
                      <a:pt x="431" y="92"/>
                    </a:cubicBezTo>
                    <a:cubicBezTo>
                      <a:pt x="429" y="90"/>
                      <a:pt x="426" y="88"/>
                      <a:pt x="424" y="87"/>
                    </a:cubicBezTo>
                    <a:cubicBezTo>
                      <a:pt x="422" y="85"/>
                      <a:pt x="413" y="82"/>
                      <a:pt x="410" y="82"/>
                    </a:cubicBezTo>
                    <a:cubicBezTo>
                      <a:pt x="408" y="82"/>
                      <a:pt x="411" y="76"/>
                      <a:pt x="410" y="74"/>
                    </a:cubicBezTo>
                    <a:cubicBezTo>
                      <a:pt x="408" y="72"/>
                      <a:pt x="404" y="68"/>
                      <a:pt x="405" y="67"/>
                    </a:cubicBezTo>
                    <a:cubicBezTo>
                      <a:pt x="407" y="66"/>
                      <a:pt x="411" y="65"/>
                      <a:pt x="414" y="65"/>
                    </a:cubicBezTo>
                    <a:cubicBezTo>
                      <a:pt x="417" y="65"/>
                      <a:pt x="438" y="63"/>
                      <a:pt x="441" y="63"/>
                    </a:cubicBezTo>
                    <a:cubicBezTo>
                      <a:pt x="443" y="63"/>
                      <a:pt x="455" y="63"/>
                      <a:pt x="455" y="60"/>
                    </a:cubicBezTo>
                    <a:cubicBezTo>
                      <a:pt x="455" y="58"/>
                      <a:pt x="455" y="56"/>
                      <a:pt x="454" y="55"/>
                    </a:cubicBezTo>
                    <a:cubicBezTo>
                      <a:pt x="452" y="54"/>
                      <a:pt x="448" y="55"/>
                      <a:pt x="448" y="53"/>
                    </a:cubicBezTo>
                    <a:cubicBezTo>
                      <a:pt x="448" y="51"/>
                      <a:pt x="440" y="53"/>
                      <a:pt x="440" y="51"/>
                    </a:cubicBezTo>
                    <a:cubicBezTo>
                      <a:pt x="441" y="49"/>
                      <a:pt x="449" y="49"/>
                      <a:pt x="451" y="48"/>
                    </a:cubicBezTo>
                    <a:cubicBezTo>
                      <a:pt x="453" y="48"/>
                      <a:pt x="455" y="45"/>
                      <a:pt x="457" y="45"/>
                    </a:cubicBezTo>
                    <a:cubicBezTo>
                      <a:pt x="460" y="44"/>
                      <a:pt x="467" y="38"/>
                      <a:pt x="471" y="37"/>
                    </a:cubicBezTo>
                    <a:cubicBezTo>
                      <a:pt x="476" y="36"/>
                      <a:pt x="495" y="32"/>
                      <a:pt x="497" y="32"/>
                    </a:cubicBezTo>
                    <a:cubicBezTo>
                      <a:pt x="499" y="32"/>
                      <a:pt x="502" y="27"/>
                      <a:pt x="503" y="27"/>
                    </a:cubicBezTo>
                    <a:cubicBezTo>
                      <a:pt x="504" y="26"/>
                      <a:pt x="514" y="26"/>
                      <a:pt x="518" y="25"/>
                    </a:cubicBezTo>
                    <a:cubicBezTo>
                      <a:pt x="521" y="25"/>
                      <a:pt x="533" y="21"/>
                      <a:pt x="533" y="23"/>
                    </a:cubicBezTo>
                    <a:cubicBezTo>
                      <a:pt x="533" y="25"/>
                      <a:pt x="530" y="27"/>
                      <a:pt x="531" y="28"/>
                    </a:cubicBezTo>
                    <a:cubicBezTo>
                      <a:pt x="531" y="29"/>
                      <a:pt x="545" y="25"/>
                      <a:pt x="548" y="25"/>
                    </a:cubicBezTo>
                    <a:cubicBezTo>
                      <a:pt x="551" y="25"/>
                      <a:pt x="546" y="20"/>
                      <a:pt x="547" y="20"/>
                    </a:cubicBezTo>
                    <a:cubicBezTo>
                      <a:pt x="548" y="20"/>
                      <a:pt x="560" y="21"/>
                      <a:pt x="562" y="20"/>
                    </a:cubicBezTo>
                    <a:cubicBezTo>
                      <a:pt x="563" y="19"/>
                      <a:pt x="565" y="18"/>
                      <a:pt x="565" y="16"/>
                    </a:cubicBezTo>
                    <a:cubicBezTo>
                      <a:pt x="565" y="15"/>
                      <a:pt x="562" y="13"/>
                      <a:pt x="563" y="12"/>
                    </a:cubicBezTo>
                    <a:cubicBezTo>
                      <a:pt x="565" y="11"/>
                      <a:pt x="574" y="5"/>
                      <a:pt x="576" y="3"/>
                    </a:cubicBezTo>
                    <a:cubicBezTo>
                      <a:pt x="578" y="2"/>
                      <a:pt x="586" y="0"/>
                      <a:pt x="589" y="0"/>
                    </a:cubicBezTo>
                    <a:cubicBezTo>
                      <a:pt x="591" y="0"/>
                      <a:pt x="600" y="2"/>
                      <a:pt x="601" y="4"/>
                    </a:cubicBezTo>
                    <a:cubicBezTo>
                      <a:pt x="602" y="5"/>
                      <a:pt x="602" y="6"/>
                      <a:pt x="602" y="7"/>
                    </a:cubicBezTo>
                    <a:cubicBezTo>
                      <a:pt x="602" y="8"/>
                      <a:pt x="589" y="10"/>
                      <a:pt x="589" y="11"/>
                    </a:cubicBezTo>
                    <a:cubicBezTo>
                      <a:pt x="590" y="13"/>
                      <a:pt x="598" y="13"/>
                      <a:pt x="601" y="13"/>
                    </a:cubicBezTo>
                    <a:cubicBezTo>
                      <a:pt x="604" y="12"/>
                      <a:pt x="612" y="11"/>
                      <a:pt x="612" y="13"/>
                    </a:cubicBezTo>
                    <a:cubicBezTo>
                      <a:pt x="612" y="15"/>
                      <a:pt x="603" y="19"/>
                      <a:pt x="607" y="19"/>
                    </a:cubicBezTo>
                    <a:cubicBezTo>
                      <a:pt x="610" y="20"/>
                      <a:pt x="615" y="19"/>
                      <a:pt x="616" y="19"/>
                    </a:cubicBezTo>
                    <a:cubicBezTo>
                      <a:pt x="618" y="19"/>
                      <a:pt x="617" y="15"/>
                      <a:pt x="619" y="15"/>
                    </a:cubicBezTo>
                    <a:cubicBezTo>
                      <a:pt x="620" y="15"/>
                      <a:pt x="630" y="15"/>
                      <a:pt x="635" y="15"/>
                    </a:cubicBezTo>
                    <a:cubicBezTo>
                      <a:pt x="639" y="15"/>
                      <a:pt x="643" y="16"/>
                      <a:pt x="648" y="18"/>
                    </a:cubicBezTo>
                    <a:cubicBezTo>
                      <a:pt x="653" y="20"/>
                      <a:pt x="656" y="23"/>
                      <a:pt x="658" y="25"/>
                    </a:cubicBezTo>
                    <a:cubicBezTo>
                      <a:pt x="660" y="28"/>
                      <a:pt x="662" y="28"/>
                      <a:pt x="662" y="30"/>
                    </a:cubicBezTo>
                    <a:cubicBezTo>
                      <a:pt x="662" y="32"/>
                      <a:pt x="657" y="32"/>
                      <a:pt x="657" y="33"/>
                    </a:cubicBezTo>
                    <a:cubicBezTo>
                      <a:pt x="657" y="34"/>
                      <a:pt x="662" y="35"/>
                      <a:pt x="660" y="38"/>
                    </a:cubicBezTo>
                    <a:cubicBezTo>
                      <a:pt x="658" y="41"/>
                      <a:pt x="648" y="46"/>
                      <a:pt x="647" y="46"/>
                    </a:cubicBezTo>
                    <a:cubicBezTo>
                      <a:pt x="645" y="46"/>
                      <a:pt x="634" y="51"/>
                      <a:pt x="632" y="53"/>
                    </a:cubicBezTo>
                    <a:cubicBezTo>
                      <a:pt x="630" y="54"/>
                      <a:pt x="623" y="60"/>
                      <a:pt x="621" y="61"/>
                    </a:cubicBezTo>
                    <a:cubicBezTo>
                      <a:pt x="620" y="61"/>
                      <a:pt x="611" y="62"/>
                      <a:pt x="608" y="63"/>
                    </a:cubicBezTo>
                    <a:cubicBezTo>
                      <a:pt x="605" y="65"/>
                      <a:pt x="604" y="69"/>
                      <a:pt x="603" y="70"/>
                    </a:cubicBezTo>
                    <a:cubicBezTo>
                      <a:pt x="602" y="70"/>
                      <a:pt x="599" y="75"/>
                      <a:pt x="601" y="75"/>
                    </a:cubicBezTo>
                    <a:cubicBezTo>
                      <a:pt x="603" y="76"/>
                      <a:pt x="608" y="71"/>
                      <a:pt x="611" y="71"/>
                    </a:cubicBezTo>
                    <a:cubicBezTo>
                      <a:pt x="613" y="71"/>
                      <a:pt x="617" y="69"/>
                      <a:pt x="620" y="69"/>
                    </a:cubicBezTo>
                    <a:cubicBezTo>
                      <a:pt x="624" y="69"/>
                      <a:pt x="634" y="68"/>
                      <a:pt x="634" y="66"/>
                    </a:cubicBezTo>
                    <a:cubicBezTo>
                      <a:pt x="634" y="64"/>
                      <a:pt x="628" y="64"/>
                      <a:pt x="628" y="63"/>
                    </a:cubicBezTo>
                    <a:cubicBezTo>
                      <a:pt x="629" y="62"/>
                      <a:pt x="633" y="59"/>
                      <a:pt x="634" y="59"/>
                    </a:cubicBezTo>
                    <a:cubicBezTo>
                      <a:pt x="635" y="59"/>
                      <a:pt x="640" y="62"/>
                      <a:pt x="643" y="62"/>
                    </a:cubicBezTo>
                    <a:cubicBezTo>
                      <a:pt x="647" y="63"/>
                      <a:pt x="653" y="63"/>
                      <a:pt x="653" y="62"/>
                    </a:cubicBezTo>
                    <a:cubicBezTo>
                      <a:pt x="653" y="61"/>
                      <a:pt x="653" y="60"/>
                      <a:pt x="654" y="59"/>
                    </a:cubicBezTo>
                    <a:cubicBezTo>
                      <a:pt x="655" y="59"/>
                      <a:pt x="658" y="63"/>
                      <a:pt x="659" y="64"/>
                    </a:cubicBezTo>
                    <a:cubicBezTo>
                      <a:pt x="660" y="65"/>
                      <a:pt x="666" y="65"/>
                      <a:pt x="668" y="65"/>
                    </a:cubicBezTo>
                    <a:cubicBezTo>
                      <a:pt x="670" y="64"/>
                      <a:pt x="675" y="63"/>
                      <a:pt x="678" y="63"/>
                    </a:cubicBezTo>
                    <a:cubicBezTo>
                      <a:pt x="681" y="63"/>
                      <a:pt x="700" y="65"/>
                      <a:pt x="700" y="66"/>
                    </a:cubicBezTo>
                    <a:cubicBezTo>
                      <a:pt x="701" y="67"/>
                      <a:pt x="696" y="69"/>
                      <a:pt x="697" y="70"/>
                    </a:cubicBezTo>
                    <a:cubicBezTo>
                      <a:pt x="699" y="71"/>
                      <a:pt x="705" y="71"/>
                      <a:pt x="709" y="72"/>
                    </a:cubicBezTo>
                    <a:cubicBezTo>
                      <a:pt x="713" y="73"/>
                      <a:pt x="733" y="76"/>
                      <a:pt x="734" y="74"/>
                    </a:cubicBezTo>
                    <a:cubicBezTo>
                      <a:pt x="735" y="73"/>
                      <a:pt x="731" y="68"/>
                      <a:pt x="733" y="66"/>
                    </a:cubicBezTo>
                    <a:cubicBezTo>
                      <a:pt x="734" y="65"/>
                      <a:pt x="738" y="61"/>
                      <a:pt x="741" y="61"/>
                    </a:cubicBezTo>
                    <a:cubicBezTo>
                      <a:pt x="744" y="60"/>
                      <a:pt x="745" y="62"/>
                      <a:pt x="749" y="64"/>
                    </a:cubicBezTo>
                    <a:cubicBezTo>
                      <a:pt x="753" y="65"/>
                      <a:pt x="760" y="68"/>
                      <a:pt x="761" y="67"/>
                    </a:cubicBezTo>
                    <a:cubicBezTo>
                      <a:pt x="761" y="66"/>
                      <a:pt x="763" y="64"/>
                      <a:pt x="765" y="65"/>
                    </a:cubicBezTo>
                    <a:cubicBezTo>
                      <a:pt x="768" y="65"/>
                      <a:pt x="771" y="67"/>
                      <a:pt x="774" y="69"/>
                    </a:cubicBezTo>
                    <a:cubicBezTo>
                      <a:pt x="777" y="70"/>
                      <a:pt x="781" y="73"/>
                      <a:pt x="781" y="74"/>
                    </a:cubicBezTo>
                    <a:cubicBezTo>
                      <a:pt x="781" y="75"/>
                      <a:pt x="782" y="80"/>
                      <a:pt x="779" y="80"/>
                    </a:cubicBezTo>
                    <a:cubicBezTo>
                      <a:pt x="776" y="80"/>
                      <a:pt x="781" y="82"/>
                      <a:pt x="781" y="84"/>
                    </a:cubicBezTo>
                    <a:cubicBezTo>
                      <a:pt x="781" y="86"/>
                      <a:pt x="775" y="88"/>
                      <a:pt x="775" y="89"/>
                    </a:cubicBezTo>
                    <a:cubicBezTo>
                      <a:pt x="775" y="90"/>
                      <a:pt x="777" y="93"/>
                      <a:pt x="779" y="94"/>
                    </a:cubicBezTo>
                    <a:cubicBezTo>
                      <a:pt x="780" y="95"/>
                      <a:pt x="783" y="100"/>
                      <a:pt x="785" y="101"/>
                    </a:cubicBezTo>
                    <a:cubicBezTo>
                      <a:pt x="787" y="101"/>
                      <a:pt x="791" y="103"/>
                      <a:pt x="792" y="103"/>
                    </a:cubicBezTo>
                    <a:cubicBezTo>
                      <a:pt x="793" y="103"/>
                      <a:pt x="791" y="106"/>
                      <a:pt x="795" y="105"/>
                    </a:cubicBezTo>
                    <a:cubicBezTo>
                      <a:pt x="798" y="105"/>
                      <a:pt x="799" y="100"/>
                      <a:pt x="800" y="98"/>
                    </a:cubicBezTo>
                    <a:cubicBezTo>
                      <a:pt x="801" y="96"/>
                      <a:pt x="804" y="88"/>
                      <a:pt x="806" y="88"/>
                    </a:cubicBezTo>
                    <a:cubicBezTo>
                      <a:pt x="808" y="88"/>
                      <a:pt x="806" y="92"/>
                      <a:pt x="808" y="94"/>
                    </a:cubicBezTo>
                    <a:cubicBezTo>
                      <a:pt x="810" y="95"/>
                      <a:pt x="816" y="97"/>
                      <a:pt x="819" y="96"/>
                    </a:cubicBezTo>
                    <a:cubicBezTo>
                      <a:pt x="822" y="96"/>
                      <a:pt x="824" y="93"/>
                      <a:pt x="827" y="93"/>
                    </a:cubicBezTo>
                    <a:cubicBezTo>
                      <a:pt x="830" y="93"/>
                      <a:pt x="834" y="94"/>
                      <a:pt x="838" y="95"/>
                    </a:cubicBezTo>
                    <a:cubicBezTo>
                      <a:pt x="842" y="96"/>
                      <a:pt x="844" y="100"/>
                      <a:pt x="846" y="99"/>
                    </a:cubicBezTo>
                    <a:cubicBezTo>
                      <a:pt x="847" y="98"/>
                      <a:pt x="847" y="93"/>
                      <a:pt x="848" y="93"/>
                    </a:cubicBezTo>
                    <a:cubicBezTo>
                      <a:pt x="849" y="93"/>
                      <a:pt x="854" y="93"/>
                      <a:pt x="854" y="94"/>
                    </a:cubicBezTo>
                    <a:cubicBezTo>
                      <a:pt x="855" y="95"/>
                      <a:pt x="854" y="96"/>
                      <a:pt x="856" y="96"/>
                    </a:cubicBezTo>
                    <a:cubicBezTo>
                      <a:pt x="858" y="96"/>
                      <a:pt x="860" y="96"/>
                      <a:pt x="861" y="95"/>
                    </a:cubicBezTo>
                    <a:cubicBezTo>
                      <a:pt x="862" y="94"/>
                      <a:pt x="859" y="91"/>
                      <a:pt x="860" y="89"/>
                    </a:cubicBezTo>
                    <a:cubicBezTo>
                      <a:pt x="860" y="88"/>
                      <a:pt x="862" y="87"/>
                      <a:pt x="862" y="86"/>
                    </a:cubicBezTo>
                    <a:cubicBezTo>
                      <a:pt x="862" y="85"/>
                      <a:pt x="854" y="85"/>
                      <a:pt x="854" y="84"/>
                    </a:cubicBezTo>
                    <a:cubicBezTo>
                      <a:pt x="854" y="83"/>
                      <a:pt x="859" y="81"/>
                      <a:pt x="859" y="81"/>
                    </a:cubicBezTo>
                    <a:cubicBezTo>
                      <a:pt x="859" y="81"/>
                      <a:pt x="861" y="80"/>
                      <a:pt x="862" y="80"/>
                    </a:cubicBezTo>
                    <a:cubicBezTo>
                      <a:pt x="863" y="80"/>
                      <a:pt x="868" y="81"/>
                      <a:pt x="869" y="81"/>
                    </a:cubicBezTo>
                    <a:cubicBezTo>
                      <a:pt x="870" y="80"/>
                      <a:pt x="866" y="75"/>
                      <a:pt x="867" y="75"/>
                    </a:cubicBezTo>
                    <a:cubicBezTo>
                      <a:pt x="868" y="74"/>
                      <a:pt x="871" y="75"/>
                      <a:pt x="872" y="75"/>
                    </a:cubicBezTo>
                    <a:cubicBezTo>
                      <a:pt x="873" y="75"/>
                      <a:pt x="877" y="78"/>
                      <a:pt x="880" y="78"/>
                    </a:cubicBezTo>
                    <a:cubicBezTo>
                      <a:pt x="883" y="78"/>
                      <a:pt x="903" y="80"/>
                      <a:pt x="906" y="80"/>
                    </a:cubicBezTo>
                    <a:cubicBezTo>
                      <a:pt x="909" y="81"/>
                      <a:pt x="912" y="83"/>
                      <a:pt x="915" y="83"/>
                    </a:cubicBezTo>
                    <a:cubicBezTo>
                      <a:pt x="918" y="83"/>
                      <a:pt x="929" y="84"/>
                      <a:pt x="931" y="84"/>
                    </a:cubicBezTo>
                    <a:cubicBezTo>
                      <a:pt x="934" y="85"/>
                      <a:pt x="938" y="88"/>
                      <a:pt x="937" y="90"/>
                    </a:cubicBezTo>
                    <a:cubicBezTo>
                      <a:pt x="937" y="91"/>
                      <a:pt x="933" y="91"/>
                      <a:pt x="934" y="93"/>
                    </a:cubicBezTo>
                    <a:cubicBezTo>
                      <a:pt x="935" y="95"/>
                      <a:pt x="942" y="95"/>
                      <a:pt x="945" y="96"/>
                    </a:cubicBezTo>
                    <a:cubicBezTo>
                      <a:pt x="947" y="98"/>
                      <a:pt x="952" y="101"/>
                      <a:pt x="953" y="102"/>
                    </a:cubicBezTo>
                    <a:cubicBezTo>
                      <a:pt x="955" y="104"/>
                      <a:pt x="960" y="105"/>
                      <a:pt x="963" y="104"/>
                    </a:cubicBezTo>
                    <a:cubicBezTo>
                      <a:pt x="967" y="104"/>
                      <a:pt x="981" y="100"/>
                      <a:pt x="986" y="101"/>
                    </a:cubicBezTo>
                    <a:cubicBezTo>
                      <a:pt x="992" y="101"/>
                      <a:pt x="1002" y="103"/>
                      <a:pt x="1005" y="103"/>
                    </a:cubicBezTo>
                    <a:cubicBezTo>
                      <a:pt x="1008" y="104"/>
                      <a:pt x="1015" y="109"/>
                      <a:pt x="1015" y="111"/>
                    </a:cubicBezTo>
                    <a:cubicBezTo>
                      <a:pt x="1015" y="113"/>
                      <a:pt x="1008" y="116"/>
                      <a:pt x="1012" y="119"/>
                    </a:cubicBezTo>
                    <a:cubicBezTo>
                      <a:pt x="1016" y="121"/>
                      <a:pt x="1019" y="121"/>
                      <a:pt x="1020" y="121"/>
                    </a:cubicBezTo>
                    <a:cubicBezTo>
                      <a:pt x="1022" y="122"/>
                      <a:pt x="1020" y="128"/>
                      <a:pt x="1023" y="127"/>
                    </a:cubicBezTo>
                    <a:cubicBezTo>
                      <a:pt x="1027" y="126"/>
                      <a:pt x="1030" y="122"/>
                      <a:pt x="1033" y="121"/>
                    </a:cubicBezTo>
                    <a:cubicBezTo>
                      <a:pt x="1037" y="121"/>
                      <a:pt x="1045" y="119"/>
                      <a:pt x="1046" y="120"/>
                    </a:cubicBezTo>
                    <a:cubicBezTo>
                      <a:pt x="1048" y="120"/>
                      <a:pt x="1064" y="123"/>
                      <a:pt x="1066" y="123"/>
                    </a:cubicBezTo>
                    <a:cubicBezTo>
                      <a:pt x="1068" y="123"/>
                      <a:pt x="1072" y="119"/>
                      <a:pt x="1074" y="118"/>
                    </a:cubicBezTo>
                    <a:cubicBezTo>
                      <a:pt x="1075" y="118"/>
                      <a:pt x="1076" y="120"/>
                      <a:pt x="1077" y="122"/>
                    </a:cubicBezTo>
                    <a:cubicBezTo>
                      <a:pt x="1078" y="123"/>
                      <a:pt x="1076" y="127"/>
                      <a:pt x="1078" y="127"/>
                    </a:cubicBezTo>
                    <a:cubicBezTo>
                      <a:pt x="1081" y="128"/>
                      <a:pt x="1085" y="127"/>
                      <a:pt x="1086" y="128"/>
                    </a:cubicBezTo>
                    <a:cubicBezTo>
                      <a:pt x="1087" y="129"/>
                      <a:pt x="1085" y="133"/>
                      <a:pt x="1088" y="133"/>
                    </a:cubicBezTo>
                    <a:cubicBezTo>
                      <a:pt x="1091" y="133"/>
                      <a:pt x="1099" y="132"/>
                      <a:pt x="1098" y="129"/>
                    </a:cubicBezTo>
                    <a:cubicBezTo>
                      <a:pt x="1097" y="126"/>
                      <a:pt x="1093" y="121"/>
                      <a:pt x="1093" y="120"/>
                    </a:cubicBezTo>
                    <a:cubicBezTo>
                      <a:pt x="1093" y="118"/>
                      <a:pt x="1092" y="115"/>
                      <a:pt x="1094" y="115"/>
                    </a:cubicBezTo>
                    <a:cubicBezTo>
                      <a:pt x="1096" y="114"/>
                      <a:pt x="1111" y="117"/>
                      <a:pt x="1116" y="118"/>
                    </a:cubicBezTo>
                    <a:cubicBezTo>
                      <a:pt x="1122" y="118"/>
                      <a:pt x="1134" y="118"/>
                      <a:pt x="1136" y="118"/>
                    </a:cubicBezTo>
                    <a:cubicBezTo>
                      <a:pt x="1139" y="118"/>
                      <a:pt x="1144" y="120"/>
                      <a:pt x="1148" y="122"/>
                    </a:cubicBezTo>
                    <a:cubicBezTo>
                      <a:pt x="1152" y="123"/>
                      <a:pt x="1161" y="125"/>
                      <a:pt x="1163" y="126"/>
                    </a:cubicBezTo>
                    <a:cubicBezTo>
                      <a:pt x="1165" y="128"/>
                      <a:pt x="1173" y="131"/>
                      <a:pt x="1175" y="133"/>
                    </a:cubicBezTo>
                    <a:cubicBezTo>
                      <a:pt x="1177" y="134"/>
                      <a:pt x="1198" y="144"/>
                      <a:pt x="1203" y="147"/>
                    </a:cubicBezTo>
                    <a:cubicBezTo>
                      <a:pt x="1208" y="151"/>
                      <a:pt x="1207" y="154"/>
                      <a:pt x="1207" y="155"/>
                    </a:cubicBezTo>
                    <a:cubicBezTo>
                      <a:pt x="1207" y="156"/>
                      <a:pt x="1206" y="160"/>
                      <a:pt x="1208" y="161"/>
                    </a:cubicBezTo>
                    <a:cubicBezTo>
                      <a:pt x="1210" y="162"/>
                      <a:pt x="1213" y="165"/>
                      <a:pt x="1214" y="163"/>
                    </a:cubicBezTo>
                    <a:cubicBezTo>
                      <a:pt x="1214" y="161"/>
                      <a:pt x="1212" y="154"/>
                      <a:pt x="1213" y="154"/>
                    </a:cubicBezTo>
                    <a:cubicBezTo>
                      <a:pt x="1214" y="154"/>
                      <a:pt x="1229" y="156"/>
                      <a:pt x="1230" y="156"/>
                    </a:cubicBezTo>
                    <a:cubicBezTo>
                      <a:pt x="1231" y="157"/>
                      <a:pt x="1246" y="165"/>
                      <a:pt x="1246" y="167"/>
                    </a:cubicBezTo>
                    <a:cubicBezTo>
                      <a:pt x="1246" y="168"/>
                      <a:pt x="1240" y="169"/>
                      <a:pt x="1240" y="170"/>
                    </a:cubicBezTo>
                    <a:cubicBezTo>
                      <a:pt x="1240" y="171"/>
                      <a:pt x="1237" y="173"/>
                      <a:pt x="1234" y="174"/>
                    </a:cubicBezTo>
                    <a:cubicBezTo>
                      <a:pt x="1232" y="175"/>
                      <a:pt x="1225" y="172"/>
                      <a:pt x="1225" y="173"/>
                    </a:cubicBezTo>
                    <a:cubicBezTo>
                      <a:pt x="1225" y="175"/>
                      <a:pt x="1228" y="180"/>
                      <a:pt x="1227" y="181"/>
                    </a:cubicBezTo>
                    <a:cubicBezTo>
                      <a:pt x="1226" y="182"/>
                      <a:pt x="1221" y="183"/>
                      <a:pt x="1221" y="185"/>
                    </a:cubicBezTo>
                    <a:cubicBezTo>
                      <a:pt x="1221" y="187"/>
                      <a:pt x="1224" y="191"/>
                      <a:pt x="1221" y="191"/>
                    </a:cubicBezTo>
                    <a:cubicBezTo>
                      <a:pt x="1218" y="191"/>
                      <a:pt x="1213" y="189"/>
                      <a:pt x="1210" y="187"/>
                    </a:cubicBezTo>
                    <a:cubicBezTo>
                      <a:pt x="1207" y="185"/>
                      <a:pt x="1199" y="183"/>
                      <a:pt x="1199" y="181"/>
                    </a:cubicBezTo>
                    <a:cubicBezTo>
                      <a:pt x="1199" y="179"/>
                      <a:pt x="1198" y="174"/>
                      <a:pt x="1197" y="174"/>
                    </a:cubicBezTo>
                    <a:cubicBezTo>
                      <a:pt x="1196" y="173"/>
                      <a:pt x="1190" y="173"/>
                      <a:pt x="1189" y="173"/>
                    </a:cubicBezTo>
                    <a:cubicBezTo>
                      <a:pt x="1187" y="173"/>
                      <a:pt x="1186" y="176"/>
                      <a:pt x="1183" y="176"/>
                    </a:cubicBezTo>
                    <a:cubicBezTo>
                      <a:pt x="1179" y="175"/>
                      <a:pt x="1178" y="175"/>
                      <a:pt x="1178" y="173"/>
                    </a:cubicBezTo>
                    <a:cubicBezTo>
                      <a:pt x="1178" y="172"/>
                      <a:pt x="1179" y="166"/>
                      <a:pt x="1178" y="164"/>
                    </a:cubicBezTo>
                    <a:cubicBezTo>
                      <a:pt x="1178" y="163"/>
                      <a:pt x="1169" y="165"/>
                      <a:pt x="1168" y="167"/>
                    </a:cubicBezTo>
                    <a:cubicBezTo>
                      <a:pt x="1167" y="168"/>
                      <a:pt x="1165" y="170"/>
                      <a:pt x="1168" y="172"/>
                    </a:cubicBezTo>
                    <a:cubicBezTo>
                      <a:pt x="1170" y="173"/>
                      <a:pt x="1173" y="173"/>
                      <a:pt x="1172" y="175"/>
                    </a:cubicBezTo>
                    <a:cubicBezTo>
                      <a:pt x="1171" y="176"/>
                      <a:pt x="1163" y="184"/>
                      <a:pt x="1161" y="184"/>
                    </a:cubicBezTo>
                    <a:cubicBezTo>
                      <a:pt x="1158" y="184"/>
                      <a:pt x="1147" y="182"/>
                      <a:pt x="1146" y="182"/>
                    </a:cubicBezTo>
                    <a:cubicBezTo>
                      <a:pt x="1145" y="182"/>
                      <a:pt x="1138" y="181"/>
                      <a:pt x="1137" y="182"/>
                    </a:cubicBezTo>
                    <a:cubicBezTo>
                      <a:pt x="1137" y="183"/>
                      <a:pt x="1137" y="186"/>
                      <a:pt x="1139" y="187"/>
                    </a:cubicBezTo>
                    <a:cubicBezTo>
                      <a:pt x="1141" y="187"/>
                      <a:pt x="1144" y="187"/>
                      <a:pt x="1146" y="187"/>
                    </a:cubicBezTo>
                    <a:cubicBezTo>
                      <a:pt x="1147" y="188"/>
                      <a:pt x="1149" y="192"/>
                      <a:pt x="1151" y="192"/>
                    </a:cubicBezTo>
                    <a:cubicBezTo>
                      <a:pt x="1154" y="192"/>
                      <a:pt x="1154" y="190"/>
                      <a:pt x="1155" y="191"/>
                    </a:cubicBezTo>
                    <a:cubicBezTo>
                      <a:pt x="1156" y="191"/>
                      <a:pt x="1156" y="197"/>
                      <a:pt x="1158" y="199"/>
                    </a:cubicBezTo>
                    <a:cubicBezTo>
                      <a:pt x="1160" y="201"/>
                      <a:pt x="1165" y="207"/>
                      <a:pt x="1164" y="208"/>
                    </a:cubicBezTo>
                    <a:cubicBezTo>
                      <a:pt x="1163" y="209"/>
                      <a:pt x="1159" y="212"/>
                      <a:pt x="1159" y="214"/>
                    </a:cubicBezTo>
                    <a:cubicBezTo>
                      <a:pt x="1159" y="215"/>
                      <a:pt x="1150" y="210"/>
                      <a:pt x="1146" y="211"/>
                    </a:cubicBezTo>
                    <a:cubicBezTo>
                      <a:pt x="1142" y="212"/>
                      <a:pt x="1129" y="218"/>
                      <a:pt x="1126" y="219"/>
                    </a:cubicBezTo>
                    <a:cubicBezTo>
                      <a:pt x="1123" y="220"/>
                      <a:pt x="1111" y="225"/>
                      <a:pt x="1109" y="228"/>
                    </a:cubicBezTo>
                    <a:cubicBezTo>
                      <a:pt x="1106" y="230"/>
                      <a:pt x="1098" y="234"/>
                      <a:pt x="1097" y="235"/>
                    </a:cubicBezTo>
                    <a:cubicBezTo>
                      <a:pt x="1096" y="236"/>
                      <a:pt x="1095" y="241"/>
                      <a:pt x="1093" y="241"/>
                    </a:cubicBezTo>
                    <a:cubicBezTo>
                      <a:pt x="1090" y="241"/>
                      <a:pt x="1088" y="235"/>
                      <a:pt x="1085" y="234"/>
                    </a:cubicBezTo>
                    <a:cubicBezTo>
                      <a:pt x="1081" y="234"/>
                      <a:pt x="1073" y="234"/>
                      <a:pt x="1071" y="236"/>
                    </a:cubicBezTo>
                    <a:cubicBezTo>
                      <a:pt x="1069" y="238"/>
                      <a:pt x="1062" y="245"/>
                      <a:pt x="1061" y="244"/>
                    </a:cubicBezTo>
                    <a:cubicBezTo>
                      <a:pt x="1060" y="243"/>
                      <a:pt x="1063" y="236"/>
                      <a:pt x="1061" y="235"/>
                    </a:cubicBezTo>
                    <a:cubicBezTo>
                      <a:pt x="1059" y="234"/>
                      <a:pt x="1053" y="240"/>
                      <a:pt x="1052" y="241"/>
                    </a:cubicBezTo>
                    <a:cubicBezTo>
                      <a:pt x="1051" y="242"/>
                      <a:pt x="1047" y="238"/>
                      <a:pt x="1045" y="240"/>
                    </a:cubicBezTo>
                    <a:cubicBezTo>
                      <a:pt x="1042" y="242"/>
                      <a:pt x="1039" y="247"/>
                      <a:pt x="1038" y="250"/>
                    </a:cubicBezTo>
                    <a:cubicBezTo>
                      <a:pt x="1037" y="252"/>
                      <a:pt x="1030" y="256"/>
                      <a:pt x="1029" y="260"/>
                    </a:cubicBezTo>
                    <a:cubicBezTo>
                      <a:pt x="1029" y="265"/>
                      <a:pt x="1032" y="266"/>
                      <a:pt x="1033" y="265"/>
                    </a:cubicBezTo>
                    <a:cubicBezTo>
                      <a:pt x="1034" y="265"/>
                      <a:pt x="1037" y="263"/>
                      <a:pt x="1038" y="264"/>
                    </a:cubicBezTo>
                    <a:cubicBezTo>
                      <a:pt x="1039" y="265"/>
                      <a:pt x="1040" y="267"/>
                      <a:pt x="1039" y="268"/>
                    </a:cubicBezTo>
                    <a:cubicBezTo>
                      <a:pt x="1038" y="269"/>
                      <a:pt x="1034" y="272"/>
                      <a:pt x="1034" y="273"/>
                    </a:cubicBezTo>
                    <a:cubicBezTo>
                      <a:pt x="1034" y="274"/>
                      <a:pt x="1034" y="277"/>
                      <a:pt x="1035" y="277"/>
                    </a:cubicBezTo>
                    <a:cubicBezTo>
                      <a:pt x="1036" y="277"/>
                      <a:pt x="1040" y="275"/>
                      <a:pt x="1040" y="276"/>
                    </a:cubicBezTo>
                    <a:cubicBezTo>
                      <a:pt x="1040" y="278"/>
                      <a:pt x="1040" y="285"/>
                      <a:pt x="1039" y="285"/>
                    </a:cubicBezTo>
                    <a:cubicBezTo>
                      <a:pt x="1037" y="285"/>
                      <a:pt x="1033" y="282"/>
                      <a:pt x="1031" y="284"/>
                    </a:cubicBezTo>
                    <a:cubicBezTo>
                      <a:pt x="1029" y="286"/>
                      <a:pt x="1028" y="290"/>
                      <a:pt x="1028" y="291"/>
                    </a:cubicBezTo>
                    <a:cubicBezTo>
                      <a:pt x="1028" y="293"/>
                      <a:pt x="1032" y="298"/>
                      <a:pt x="1031" y="299"/>
                    </a:cubicBezTo>
                    <a:cubicBezTo>
                      <a:pt x="1029" y="300"/>
                      <a:pt x="1026" y="303"/>
                      <a:pt x="1024" y="301"/>
                    </a:cubicBezTo>
                    <a:cubicBezTo>
                      <a:pt x="1023" y="300"/>
                      <a:pt x="1019" y="300"/>
                      <a:pt x="1016" y="302"/>
                    </a:cubicBezTo>
                    <a:cubicBezTo>
                      <a:pt x="1013" y="304"/>
                      <a:pt x="1013" y="308"/>
                      <a:pt x="1013" y="309"/>
                    </a:cubicBezTo>
                    <a:cubicBezTo>
                      <a:pt x="1014" y="311"/>
                      <a:pt x="1014" y="313"/>
                      <a:pt x="1014" y="314"/>
                    </a:cubicBezTo>
                    <a:cubicBezTo>
                      <a:pt x="1014" y="315"/>
                      <a:pt x="1010" y="315"/>
                      <a:pt x="1007" y="316"/>
                    </a:cubicBezTo>
                    <a:cubicBezTo>
                      <a:pt x="1005" y="317"/>
                      <a:pt x="1002" y="318"/>
                      <a:pt x="1002" y="321"/>
                    </a:cubicBezTo>
                    <a:cubicBezTo>
                      <a:pt x="1003" y="324"/>
                      <a:pt x="1002" y="327"/>
                      <a:pt x="1000" y="329"/>
                    </a:cubicBezTo>
                    <a:cubicBezTo>
                      <a:pt x="997" y="331"/>
                      <a:pt x="992" y="338"/>
                      <a:pt x="990" y="337"/>
                    </a:cubicBezTo>
                    <a:cubicBezTo>
                      <a:pt x="987" y="337"/>
                      <a:pt x="987" y="329"/>
                      <a:pt x="987" y="326"/>
                    </a:cubicBezTo>
                    <a:cubicBezTo>
                      <a:pt x="987" y="324"/>
                      <a:pt x="984" y="312"/>
                      <a:pt x="983" y="307"/>
                    </a:cubicBezTo>
                    <a:cubicBezTo>
                      <a:pt x="981" y="302"/>
                      <a:pt x="980" y="284"/>
                      <a:pt x="983" y="279"/>
                    </a:cubicBezTo>
                    <a:cubicBezTo>
                      <a:pt x="985" y="275"/>
                      <a:pt x="989" y="273"/>
                      <a:pt x="989" y="272"/>
                    </a:cubicBezTo>
                    <a:cubicBezTo>
                      <a:pt x="990" y="271"/>
                      <a:pt x="989" y="266"/>
                      <a:pt x="991" y="265"/>
                    </a:cubicBezTo>
                    <a:cubicBezTo>
                      <a:pt x="992" y="264"/>
                      <a:pt x="996" y="265"/>
                      <a:pt x="999" y="263"/>
                    </a:cubicBezTo>
                    <a:cubicBezTo>
                      <a:pt x="1002" y="261"/>
                      <a:pt x="1014" y="253"/>
                      <a:pt x="1016" y="249"/>
                    </a:cubicBezTo>
                    <a:cubicBezTo>
                      <a:pt x="1018" y="246"/>
                      <a:pt x="1027" y="238"/>
                      <a:pt x="1029" y="237"/>
                    </a:cubicBezTo>
                    <a:cubicBezTo>
                      <a:pt x="1031" y="235"/>
                      <a:pt x="1042" y="231"/>
                      <a:pt x="1042" y="230"/>
                    </a:cubicBezTo>
                    <a:cubicBezTo>
                      <a:pt x="1043" y="228"/>
                      <a:pt x="1045" y="225"/>
                      <a:pt x="1045" y="224"/>
                    </a:cubicBezTo>
                    <a:cubicBezTo>
                      <a:pt x="1045" y="222"/>
                      <a:pt x="1046" y="216"/>
                      <a:pt x="1047" y="215"/>
                    </a:cubicBezTo>
                    <a:cubicBezTo>
                      <a:pt x="1049" y="214"/>
                      <a:pt x="1053" y="213"/>
                      <a:pt x="1053" y="212"/>
                    </a:cubicBezTo>
                    <a:cubicBezTo>
                      <a:pt x="1053" y="210"/>
                      <a:pt x="1050" y="208"/>
                      <a:pt x="1046" y="208"/>
                    </a:cubicBezTo>
                    <a:cubicBezTo>
                      <a:pt x="1043" y="209"/>
                      <a:pt x="1038" y="210"/>
                      <a:pt x="1037" y="213"/>
                    </a:cubicBezTo>
                    <a:cubicBezTo>
                      <a:pt x="1037" y="216"/>
                      <a:pt x="1038" y="221"/>
                      <a:pt x="1037" y="222"/>
                    </a:cubicBezTo>
                    <a:cubicBezTo>
                      <a:pt x="1036" y="222"/>
                      <a:pt x="1030" y="221"/>
                      <a:pt x="1028" y="224"/>
                    </a:cubicBezTo>
                    <a:cubicBezTo>
                      <a:pt x="1027" y="227"/>
                      <a:pt x="1020" y="232"/>
                      <a:pt x="1017" y="232"/>
                    </a:cubicBezTo>
                    <a:cubicBezTo>
                      <a:pt x="1014" y="232"/>
                      <a:pt x="1014" y="229"/>
                      <a:pt x="1014" y="227"/>
                    </a:cubicBezTo>
                    <a:cubicBezTo>
                      <a:pt x="1015" y="225"/>
                      <a:pt x="1018" y="218"/>
                      <a:pt x="1016" y="218"/>
                    </a:cubicBezTo>
                    <a:cubicBezTo>
                      <a:pt x="1014" y="217"/>
                      <a:pt x="1011" y="219"/>
                      <a:pt x="1006" y="219"/>
                    </a:cubicBezTo>
                    <a:cubicBezTo>
                      <a:pt x="1002" y="219"/>
                      <a:pt x="993" y="219"/>
                      <a:pt x="991" y="223"/>
                    </a:cubicBezTo>
                    <a:cubicBezTo>
                      <a:pt x="989" y="227"/>
                      <a:pt x="987" y="230"/>
                      <a:pt x="984" y="232"/>
                    </a:cubicBezTo>
                    <a:cubicBezTo>
                      <a:pt x="981" y="233"/>
                      <a:pt x="971" y="240"/>
                      <a:pt x="971" y="242"/>
                    </a:cubicBezTo>
                    <a:cubicBezTo>
                      <a:pt x="971" y="243"/>
                      <a:pt x="969" y="245"/>
                      <a:pt x="971" y="246"/>
                    </a:cubicBezTo>
                    <a:cubicBezTo>
                      <a:pt x="972" y="246"/>
                      <a:pt x="979" y="246"/>
                      <a:pt x="978" y="248"/>
                    </a:cubicBezTo>
                    <a:cubicBezTo>
                      <a:pt x="978" y="251"/>
                      <a:pt x="974" y="253"/>
                      <a:pt x="969" y="253"/>
                    </a:cubicBezTo>
                    <a:cubicBezTo>
                      <a:pt x="965" y="253"/>
                      <a:pt x="960" y="253"/>
                      <a:pt x="956" y="253"/>
                    </a:cubicBezTo>
                    <a:cubicBezTo>
                      <a:pt x="952" y="254"/>
                      <a:pt x="948" y="254"/>
                      <a:pt x="948" y="252"/>
                    </a:cubicBezTo>
                    <a:cubicBezTo>
                      <a:pt x="948" y="251"/>
                      <a:pt x="951" y="246"/>
                      <a:pt x="947" y="246"/>
                    </a:cubicBezTo>
                    <a:cubicBezTo>
                      <a:pt x="942" y="245"/>
                      <a:pt x="936" y="242"/>
                      <a:pt x="933" y="243"/>
                    </a:cubicBezTo>
                    <a:cubicBezTo>
                      <a:pt x="930" y="244"/>
                      <a:pt x="931" y="248"/>
                      <a:pt x="928" y="249"/>
                    </a:cubicBezTo>
                    <a:cubicBezTo>
                      <a:pt x="924" y="249"/>
                      <a:pt x="912" y="248"/>
                      <a:pt x="909" y="248"/>
                    </a:cubicBezTo>
                    <a:cubicBezTo>
                      <a:pt x="906" y="248"/>
                      <a:pt x="894" y="248"/>
                      <a:pt x="890" y="248"/>
                    </a:cubicBezTo>
                    <a:cubicBezTo>
                      <a:pt x="885" y="248"/>
                      <a:pt x="878" y="251"/>
                      <a:pt x="875" y="255"/>
                    </a:cubicBezTo>
                    <a:cubicBezTo>
                      <a:pt x="872" y="259"/>
                      <a:pt x="868" y="262"/>
                      <a:pt x="865" y="265"/>
                    </a:cubicBezTo>
                    <a:cubicBezTo>
                      <a:pt x="861" y="267"/>
                      <a:pt x="854" y="272"/>
                      <a:pt x="852" y="274"/>
                    </a:cubicBezTo>
                    <a:cubicBezTo>
                      <a:pt x="851" y="276"/>
                      <a:pt x="838" y="287"/>
                      <a:pt x="834" y="290"/>
                    </a:cubicBezTo>
                    <a:cubicBezTo>
                      <a:pt x="830" y="292"/>
                      <a:pt x="822" y="296"/>
                      <a:pt x="824" y="298"/>
                    </a:cubicBezTo>
                    <a:cubicBezTo>
                      <a:pt x="826" y="300"/>
                      <a:pt x="829" y="300"/>
                      <a:pt x="831" y="300"/>
                    </a:cubicBezTo>
                    <a:cubicBezTo>
                      <a:pt x="833" y="300"/>
                      <a:pt x="836" y="300"/>
                      <a:pt x="837" y="300"/>
                    </a:cubicBezTo>
                    <a:cubicBezTo>
                      <a:pt x="837" y="300"/>
                      <a:pt x="835" y="308"/>
                      <a:pt x="838" y="308"/>
                    </a:cubicBezTo>
                    <a:cubicBezTo>
                      <a:pt x="840" y="308"/>
                      <a:pt x="840" y="307"/>
                      <a:pt x="842" y="307"/>
                    </a:cubicBezTo>
                    <a:cubicBezTo>
                      <a:pt x="843" y="307"/>
                      <a:pt x="848" y="312"/>
                      <a:pt x="849" y="311"/>
                    </a:cubicBezTo>
                    <a:cubicBezTo>
                      <a:pt x="851" y="311"/>
                      <a:pt x="850" y="303"/>
                      <a:pt x="851" y="303"/>
                    </a:cubicBezTo>
                    <a:cubicBezTo>
                      <a:pt x="853" y="303"/>
                      <a:pt x="858" y="303"/>
                      <a:pt x="859" y="303"/>
                    </a:cubicBezTo>
                    <a:cubicBezTo>
                      <a:pt x="861" y="302"/>
                      <a:pt x="867" y="311"/>
                      <a:pt x="869" y="312"/>
                    </a:cubicBezTo>
                    <a:cubicBezTo>
                      <a:pt x="871" y="313"/>
                      <a:pt x="872" y="315"/>
                      <a:pt x="871" y="317"/>
                    </a:cubicBezTo>
                    <a:cubicBezTo>
                      <a:pt x="870" y="318"/>
                      <a:pt x="870" y="323"/>
                      <a:pt x="869" y="326"/>
                    </a:cubicBezTo>
                    <a:cubicBezTo>
                      <a:pt x="869" y="328"/>
                      <a:pt x="867" y="331"/>
                      <a:pt x="866" y="335"/>
                    </a:cubicBezTo>
                    <a:cubicBezTo>
                      <a:pt x="865" y="339"/>
                      <a:pt x="863" y="359"/>
                      <a:pt x="862" y="361"/>
                    </a:cubicBezTo>
                    <a:cubicBezTo>
                      <a:pt x="862" y="363"/>
                      <a:pt x="853" y="371"/>
                      <a:pt x="851" y="375"/>
                    </a:cubicBezTo>
                    <a:cubicBezTo>
                      <a:pt x="849" y="380"/>
                      <a:pt x="843" y="387"/>
                      <a:pt x="839" y="392"/>
                    </a:cubicBezTo>
                    <a:cubicBezTo>
                      <a:pt x="835" y="397"/>
                      <a:pt x="823" y="410"/>
                      <a:pt x="819" y="412"/>
                    </a:cubicBezTo>
                    <a:cubicBezTo>
                      <a:pt x="815" y="415"/>
                      <a:pt x="810" y="419"/>
                      <a:pt x="806" y="417"/>
                    </a:cubicBezTo>
                    <a:cubicBezTo>
                      <a:pt x="803" y="414"/>
                      <a:pt x="802" y="413"/>
                      <a:pt x="799" y="414"/>
                    </a:cubicBezTo>
                    <a:cubicBezTo>
                      <a:pt x="795" y="415"/>
                      <a:pt x="796" y="417"/>
                      <a:pt x="793" y="419"/>
                    </a:cubicBezTo>
                    <a:cubicBezTo>
                      <a:pt x="792" y="420"/>
                      <a:pt x="792" y="420"/>
                      <a:pt x="790" y="421"/>
                    </a:cubicBezTo>
                    <a:cubicBezTo>
                      <a:pt x="787" y="414"/>
                      <a:pt x="787" y="414"/>
                      <a:pt x="787" y="414"/>
                    </a:cubicBezTo>
                    <a:cubicBezTo>
                      <a:pt x="788" y="413"/>
                      <a:pt x="790" y="413"/>
                      <a:pt x="790" y="413"/>
                    </a:cubicBezTo>
                    <a:cubicBezTo>
                      <a:pt x="792" y="412"/>
                      <a:pt x="793" y="400"/>
                      <a:pt x="792" y="398"/>
                    </a:cubicBezTo>
                    <a:cubicBezTo>
                      <a:pt x="790" y="396"/>
                      <a:pt x="795" y="395"/>
                      <a:pt x="797" y="394"/>
                    </a:cubicBezTo>
                    <a:cubicBezTo>
                      <a:pt x="800" y="393"/>
                      <a:pt x="809" y="395"/>
                      <a:pt x="809" y="395"/>
                    </a:cubicBezTo>
                    <a:cubicBezTo>
                      <a:pt x="810" y="395"/>
                      <a:pt x="814" y="383"/>
                      <a:pt x="815" y="380"/>
                    </a:cubicBezTo>
                    <a:cubicBezTo>
                      <a:pt x="815" y="378"/>
                      <a:pt x="820" y="372"/>
                      <a:pt x="821" y="370"/>
                    </a:cubicBezTo>
                    <a:cubicBezTo>
                      <a:pt x="821" y="369"/>
                      <a:pt x="821" y="365"/>
                      <a:pt x="819" y="363"/>
                    </a:cubicBezTo>
                    <a:cubicBezTo>
                      <a:pt x="817" y="360"/>
                      <a:pt x="806" y="367"/>
                      <a:pt x="804" y="369"/>
                    </a:cubicBezTo>
                    <a:cubicBezTo>
                      <a:pt x="802" y="370"/>
                      <a:pt x="794" y="370"/>
                      <a:pt x="793" y="370"/>
                    </a:cubicBezTo>
                    <a:cubicBezTo>
                      <a:pt x="792" y="370"/>
                      <a:pt x="789" y="359"/>
                      <a:pt x="787" y="357"/>
                    </a:cubicBezTo>
                    <a:cubicBezTo>
                      <a:pt x="785" y="355"/>
                      <a:pt x="771" y="353"/>
                      <a:pt x="768" y="351"/>
                    </a:cubicBezTo>
                    <a:cubicBezTo>
                      <a:pt x="765" y="349"/>
                      <a:pt x="765" y="347"/>
                      <a:pt x="765" y="344"/>
                    </a:cubicBezTo>
                    <a:cubicBezTo>
                      <a:pt x="764" y="342"/>
                      <a:pt x="755" y="320"/>
                      <a:pt x="753" y="318"/>
                    </a:cubicBezTo>
                    <a:cubicBezTo>
                      <a:pt x="752" y="316"/>
                      <a:pt x="743" y="315"/>
                      <a:pt x="738" y="312"/>
                    </a:cubicBezTo>
                    <a:cubicBezTo>
                      <a:pt x="734" y="309"/>
                      <a:pt x="718" y="312"/>
                      <a:pt x="715" y="313"/>
                    </a:cubicBezTo>
                    <a:cubicBezTo>
                      <a:pt x="711" y="314"/>
                      <a:pt x="707" y="318"/>
                      <a:pt x="707" y="320"/>
                    </a:cubicBezTo>
                    <a:cubicBezTo>
                      <a:pt x="707" y="322"/>
                      <a:pt x="713" y="322"/>
                      <a:pt x="713" y="323"/>
                    </a:cubicBezTo>
                    <a:cubicBezTo>
                      <a:pt x="714" y="324"/>
                      <a:pt x="714" y="327"/>
                      <a:pt x="712" y="330"/>
                    </a:cubicBezTo>
                    <a:cubicBezTo>
                      <a:pt x="710" y="333"/>
                      <a:pt x="703" y="342"/>
                      <a:pt x="703" y="344"/>
                    </a:cubicBezTo>
                    <a:cubicBezTo>
                      <a:pt x="702" y="346"/>
                      <a:pt x="695" y="350"/>
                      <a:pt x="694" y="351"/>
                    </a:cubicBezTo>
                    <a:cubicBezTo>
                      <a:pt x="693" y="352"/>
                      <a:pt x="683" y="349"/>
                      <a:pt x="682" y="349"/>
                    </a:cubicBezTo>
                    <a:cubicBezTo>
                      <a:pt x="674" y="346"/>
                      <a:pt x="674" y="346"/>
                      <a:pt x="674" y="346"/>
                    </a:cubicBezTo>
                    <a:cubicBezTo>
                      <a:pt x="671" y="346"/>
                      <a:pt x="663" y="343"/>
                      <a:pt x="658" y="348"/>
                    </a:cubicBezTo>
                    <a:cubicBezTo>
                      <a:pt x="652" y="353"/>
                      <a:pt x="646" y="354"/>
                      <a:pt x="641" y="355"/>
                    </a:cubicBezTo>
                    <a:cubicBezTo>
                      <a:pt x="637" y="355"/>
                      <a:pt x="623" y="355"/>
                      <a:pt x="620" y="353"/>
                    </a:cubicBezTo>
                    <a:cubicBezTo>
                      <a:pt x="618" y="352"/>
                      <a:pt x="616" y="346"/>
                      <a:pt x="614" y="346"/>
                    </a:cubicBezTo>
                    <a:cubicBezTo>
                      <a:pt x="612" y="345"/>
                      <a:pt x="600" y="343"/>
                      <a:pt x="598" y="342"/>
                    </a:cubicBezTo>
                    <a:cubicBezTo>
                      <a:pt x="595" y="342"/>
                      <a:pt x="588" y="345"/>
                      <a:pt x="585" y="345"/>
                    </a:cubicBezTo>
                    <a:cubicBezTo>
                      <a:pt x="581" y="345"/>
                      <a:pt x="574" y="342"/>
                      <a:pt x="573" y="340"/>
                    </a:cubicBezTo>
                    <a:cubicBezTo>
                      <a:pt x="572" y="337"/>
                      <a:pt x="573" y="335"/>
                      <a:pt x="572" y="333"/>
                    </a:cubicBezTo>
                    <a:cubicBezTo>
                      <a:pt x="572" y="331"/>
                      <a:pt x="549" y="326"/>
                      <a:pt x="547" y="325"/>
                    </a:cubicBezTo>
                    <a:cubicBezTo>
                      <a:pt x="545" y="325"/>
                      <a:pt x="540" y="332"/>
                      <a:pt x="540" y="335"/>
                    </a:cubicBezTo>
                    <a:cubicBezTo>
                      <a:pt x="540" y="337"/>
                      <a:pt x="544" y="344"/>
                      <a:pt x="542" y="346"/>
                    </a:cubicBezTo>
                    <a:cubicBezTo>
                      <a:pt x="539" y="348"/>
                      <a:pt x="537" y="350"/>
                      <a:pt x="533" y="349"/>
                    </a:cubicBezTo>
                    <a:cubicBezTo>
                      <a:pt x="529" y="348"/>
                      <a:pt x="517" y="348"/>
                      <a:pt x="515" y="346"/>
                    </a:cubicBezTo>
                    <a:cubicBezTo>
                      <a:pt x="513" y="344"/>
                      <a:pt x="510" y="341"/>
                      <a:pt x="509" y="340"/>
                    </a:cubicBezTo>
                    <a:cubicBezTo>
                      <a:pt x="509" y="339"/>
                      <a:pt x="498" y="340"/>
                      <a:pt x="495" y="341"/>
                    </a:cubicBezTo>
                    <a:cubicBezTo>
                      <a:pt x="491" y="342"/>
                      <a:pt x="482" y="345"/>
                      <a:pt x="479" y="346"/>
                    </a:cubicBezTo>
                    <a:cubicBezTo>
                      <a:pt x="477" y="348"/>
                      <a:pt x="469" y="352"/>
                      <a:pt x="469" y="352"/>
                    </a:cubicBezTo>
                    <a:cubicBezTo>
                      <a:pt x="463" y="356"/>
                      <a:pt x="463" y="356"/>
                      <a:pt x="463" y="356"/>
                    </a:cubicBezTo>
                    <a:cubicBezTo>
                      <a:pt x="463" y="356"/>
                      <a:pt x="460" y="355"/>
                      <a:pt x="458" y="354"/>
                    </a:cubicBezTo>
                    <a:cubicBezTo>
                      <a:pt x="457" y="353"/>
                      <a:pt x="455" y="352"/>
                      <a:pt x="454" y="351"/>
                    </a:cubicBezTo>
                    <a:cubicBezTo>
                      <a:pt x="452" y="349"/>
                      <a:pt x="451" y="351"/>
                      <a:pt x="448" y="351"/>
                    </a:cubicBezTo>
                    <a:cubicBezTo>
                      <a:pt x="445" y="352"/>
                      <a:pt x="443" y="351"/>
                      <a:pt x="440" y="349"/>
                    </a:cubicBezTo>
                    <a:cubicBezTo>
                      <a:pt x="438" y="346"/>
                      <a:pt x="433" y="339"/>
                      <a:pt x="430" y="338"/>
                    </a:cubicBezTo>
                    <a:cubicBezTo>
                      <a:pt x="427" y="337"/>
                      <a:pt x="421" y="340"/>
                      <a:pt x="417" y="338"/>
                    </a:cubicBezTo>
                    <a:cubicBezTo>
                      <a:pt x="413" y="336"/>
                      <a:pt x="412" y="335"/>
                      <a:pt x="410" y="335"/>
                    </a:cubicBezTo>
                    <a:cubicBezTo>
                      <a:pt x="409" y="335"/>
                      <a:pt x="402" y="338"/>
                      <a:pt x="402" y="338"/>
                    </a:cubicBezTo>
                    <a:cubicBezTo>
                      <a:pt x="402" y="338"/>
                      <a:pt x="383" y="312"/>
                      <a:pt x="381" y="310"/>
                    </a:cubicBezTo>
                    <a:cubicBezTo>
                      <a:pt x="380" y="307"/>
                      <a:pt x="378" y="303"/>
                      <a:pt x="377" y="303"/>
                    </a:cubicBezTo>
                    <a:cubicBezTo>
                      <a:pt x="375" y="303"/>
                      <a:pt x="366" y="308"/>
                      <a:pt x="363" y="309"/>
                    </a:cubicBezTo>
                    <a:cubicBezTo>
                      <a:pt x="360" y="310"/>
                      <a:pt x="355" y="312"/>
                      <a:pt x="353" y="312"/>
                    </a:cubicBezTo>
                    <a:cubicBezTo>
                      <a:pt x="351" y="312"/>
                      <a:pt x="352" y="307"/>
                      <a:pt x="352" y="306"/>
                    </a:cubicBezTo>
                    <a:cubicBezTo>
                      <a:pt x="351" y="305"/>
                      <a:pt x="336" y="305"/>
                      <a:pt x="335" y="304"/>
                    </a:cubicBezTo>
                    <a:cubicBezTo>
                      <a:pt x="334" y="303"/>
                      <a:pt x="333" y="294"/>
                      <a:pt x="332" y="293"/>
                    </a:cubicBezTo>
                    <a:cubicBezTo>
                      <a:pt x="331" y="292"/>
                      <a:pt x="321" y="292"/>
                      <a:pt x="320" y="292"/>
                    </a:cubicBezTo>
                    <a:cubicBezTo>
                      <a:pt x="318" y="292"/>
                      <a:pt x="314" y="294"/>
                      <a:pt x="313" y="295"/>
                    </a:cubicBezTo>
                    <a:cubicBezTo>
                      <a:pt x="311" y="296"/>
                      <a:pt x="300" y="299"/>
                      <a:pt x="297" y="300"/>
                    </a:cubicBezTo>
                    <a:cubicBezTo>
                      <a:pt x="294" y="300"/>
                      <a:pt x="271" y="306"/>
                      <a:pt x="268" y="306"/>
                    </a:cubicBezTo>
                    <a:cubicBezTo>
                      <a:pt x="265" y="307"/>
                      <a:pt x="261" y="306"/>
                      <a:pt x="260" y="307"/>
                    </a:cubicBezTo>
                    <a:cubicBezTo>
                      <a:pt x="259" y="307"/>
                      <a:pt x="257" y="317"/>
                      <a:pt x="256" y="317"/>
                    </a:cubicBezTo>
                    <a:cubicBezTo>
                      <a:pt x="256" y="318"/>
                      <a:pt x="258" y="321"/>
                      <a:pt x="258" y="323"/>
                    </a:cubicBezTo>
                    <a:cubicBezTo>
                      <a:pt x="257" y="325"/>
                      <a:pt x="252" y="326"/>
                      <a:pt x="251" y="327"/>
                    </a:cubicBezTo>
                    <a:cubicBezTo>
                      <a:pt x="250" y="329"/>
                      <a:pt x="262" y="332"/>
                      <a:pt x="262" y="333"/>
                    </a:cubicBezTo>
                    <a:cubicBezTo>
                      <a:pt x="262" y="334"/>
                      <a:pt x="262" y="338"/>
                      <a:pt x="260" y="339"/>
                    </a:cubicBezTo>
                    <a:cubicBezTo>
                      <a:pt x="259" y="340"/>
                      <a:pt x="253" y="340"/>
                      <a:pt x="251" y="340"/>
                    </a:cubicBezTo>
                    <a:cubicBezTo>
                      <a:pt x="250" y="340"/>
                      <a:pt x="248" y="341"/>
                      <a:pt x="246" y="341"/>
                    </a:cubicBezTo>
                    <a:cubicBezTo>
                      <a:pt x="244" y="341"/>
                      <a:pt x="237" y="336"/>
                      <a:pt x="236" y="336"/>
                    </a:cubicBezTo>
                    <a:cubicBezTo>
                      <a:pt x="234" y="336"/>
                      <a:pt x="228" y="336"/>
                      <a:pt x="225" y="337"/>
                    </a:cubicBezTo>
                    <a:cubicBezTo>
                      <a:pt x="222" y="337"/>
                      <a:pt x="219" y="341"/>
                      <a:pt x="218" y="342"/>
                    </a:cubicBezTo>
                    <a:cubicBezTo>
                      <a:pt x="217" y="343"/>
                      <a:pt x="210" y="340"/>
                      <a:pt x="209" y="340"/>
                    </a:cubicBezTo>
                    <a:cubicBezTo>
                      <a:pt x="207" y="340"/>
                      <a:pt x="200" y="332"/>
                      <a:pt x="199" y="332"/>
                    </a:cubicBezTo>
                    <a:cubicBezTo>
                      <a:pt x="198" y="331"/>
                      <a:pt x="182" y="330"/>
                      <a:pt x="180" y="330"/>
                    </a:cubicBezTo>
                    <a:cubicBezTo>
                      <a:pt x="179" y="330"/>
                      <a:pt x="167" y="339"/>
                      <a:pt x="165" y="340"/>
                    </a:cubicBezTo>
                    <a:cubicBezTo>
                      <a:pt x="164" y="340"/>
                      <a:pt x="167" y="346"/>
                      <a:pt x="166" y="346"/>
                    </a:cubicBezTo>
                    <a:cubicBezTo>
                      <a:pt x="165" y="347"/>
                      <a:pt x="162" y="350"/>
                      <a:pt x="161" y="350"/>
                    </a:cubicBezTo>
                    <a:cubicBezTo>
                      <a:pt x="160" y="350"/>
                      <a:pt x="155" y="342"/>
                      <a:pt x="154" y="343"/>
                    </a:cubicBezTo>
                    <a:cubicBezTo>
                      <a:pt x="153" y="344"/>
                      <a:pt x="149" y="347"/>
                      <a:pt x="149" y="349"/>
                    </a:cubicBezTo>
                    <a:cubicBezTo>
                      <a:pt x="149" y="350"/>
                      <a:pt x="146" y="363"/>
                      <a:pt x="146" y="363"/>
                    </a:cubicBezTo>
                    <a:cubicBezTo>
                      <a:pt x="146" y="363"/>
                      <a:pt x="151" y="368"/>
                      <a:pt x="153" y="369"/>
                    </a:cubicBezTo>
                    <a:cubicBezTo>
                      <a:pt x="155" y="370"/>
                      <a:pt x="161" y="371"/>
                      <a:pt x="163" y="373"/>
                    </a:cubicBezTo>
                    <a:cubicBezTo>
                      <a:pt x="164" y="375"/>
                      <a:pt x="164" y="378"/>
                      <a:pt x="163" y="379"/>
                    </a:cubicBezTo>
                    <a:cubicBezTo>
                      <a:pt x="168" y="385"/>
                      <a:pt x="168" y="385"/>
                      <a:pt x="168" y="385"/>
                    </a:cubicBezTo>
                    <a:cubicBezTo>
                      <a:pt x="167" y="386"/>
                      <a:pt x="166" y="387"/>
                      <a:pt x="165" y="387"/>
                    </a:cubicBezTo>
                    <a:cubicBezTo>
                      <a:pt x="164" y="389"/>
                      <a:pt x="161" y="389"/>
                      <a:pt x="159" y="389"/>
                    </a:cubicBezTo>
                    <a:cubicBezTo>
                      <a:pt x="157" y="389"/>
                      <a:pt x="155" y="392"/>
                      <a:pt x="154" y="394"/>
                    </a:cubicBezTo>
                    <a:cubicBezTo>
                      <a:pt x="154" y="397"/>
                      <a:pt x="149" y="397"/>
                      <a:pt x="149" y="400"/>
                    </a:cubicBezTo>
                    <a:cubicBezTo>
                      <a:pt x="148" y="402"/>
                      <a:pt x="151" y="402"/>
                      <a:pt x="152" y="403"/>
                    </a:cubicBezTo>
                    <a:cubicBezTo>
                      <a:pt x="154" y="403"/>
                      <a:pt x="156" y="406"/>
                      <a:pt x="155" y="408"/>
                    </a:cubicBezTo>
                    <a:cubicBezTo>
                      <a:pt x="155" y="409"/>
                      <a:pt x="155" y="413"/>
                      <a:pt x="155" y="416"/>
                    </a:cubicBezTo>
                    <a:cubicBezTo>
                      <a:pt x="156" y="418"/>
                      <a:pt x="160" y="422"/>
                      <a:pt x="163" y="425"/>
                    </a:cubicBezTo>
                    <a:cubicBezTo>
                      <a:pt x="159" y="429"/>
                      <a:pt x="159" y="429"/>
                      <a:pt x="159" y="429"/>
                    </a:cubicBezTo>
                    <a:cubicBezTo>
                      <a:pt x="158" y="430"/>
                      <a:pt x="157" y="431"/>
                      <a:pt x="155" y="431"/>
                    </a:cubicBezTo>
                    <a:cubicBezTo>
                      <a:pt x="154" y="431"/>
                      <a:pt x="151" y="429"/>
                      <a:pt x="149" y="427"/>
                    </a:cubicBezTo>
                    <a:cubicBezTo>
                      <a:pt x="148" y="426"/>
                      <a:pt x="147" y="425"/>
                      <a:pt x="146" y="425"/>
                    </a:cubicBezTo>
                    <a:cubicBezTo>
                      <a:pt x="145" y="424"/>
                      <a:pt x="138" y="418"/>
                      <a:pt x="136" y="417"/>
                    </a:cubicBezTo>
                    <a:cubicBezTo>
                      <a:pt x="134" y="417"/>
                      <a:pt x="132" y="417"/>
                      <a:pt x="129" y="418"/>
                    </a:cubicBezTo>
                    <a:cubicBezTo>
                      <a:pt x="126" y="418"/>
                      <a:pt x="125" y="417"/>
                      <a:pt x="123" y="415"/>
                    </a:cubicBezTo>
                    <a:cubicBezTo>
                      <a:pt x="121" y="413"/>
                      <a:pt x="115" y="411"/>
                      <a:pt x="113" y="410"/>
                    </a:cubicBezTo>
                    <a:cubicBezTo>
                      <a:pt x="111" y="409"/>
                      <a:pt x="101" y="407"/>
                      <a:pt x="100" y="407"/>
                    </a:cubicBezTo>
                    <a:cubicBezTo>
                      <a:pt x="99" y="407"/>
                      <a:pt x="97" y="412"/>
                      <a:pt x="97" y="412"/>
                    </a:cubicBezTo>
                    <a:cubicBezTo>
                      <a:pt x="96" y="411"/>
                      <a:pt x="95" y="411"/>
                      <a:pt x="95" y="410"/>
                    </a:cubicBezTo>
                    <a:cubicBezTo>
                      <a:pt x="92" y="408"/>
                      <a:pt x="88" y="403"/>
                      <a:pt x="86" y="403"/>
                    </a:cubicBezTo>
                    <a:cubicBezTo>
                      <a:pt x="83" y="402"/>
                      <a:pt x="79" y="400"/>
                      <a:pt x="77" y="399"/>
                    </a:cubicBezTo>
                    <a:cubicBezTo>
                      <a:pt x="75" y="397"/>
                      <a:pt x="72" y="399"/>
                      <a:pt x="72" y="397"/>
                    </a:cubicBezTo>
                    <a:cubicBezTo>
                      <a:pt x="72" y="396"/>
                      <a:pt x="72" y="392"/>
                      <a:pt x="73" y="392"/>
                    </a:cubicBezTo>
                    <a:cubicBezTo>
                      <a:pt x="74" y="392"/>
                      <a:pt x="78" y="393"/>
                      <a:pt x="79" y="392"/>
                    </a:cubicBezTo>
                    <a:cubicBezTo>
                      <a:pt x="79" y="391"/>
                      <a:pt x="84" y="385"/>
                      <a:pt x="84" y="384"/>
                    </a:cubicBezTo>
                    <a:cubicBezTo>
                      <a:pt x="83" y="383"/>
                      <a:pt x="81" y="381"/>
                      <a:pt x="82" y="381"/>
                    </a:cubicBezTo>
                    <a:cubicBezTo>
                      <a:pt x="83" y="380"/>
                      <a:pt x="92" y="378"/>
                      <a:pt x="92" y="377"/>
                    </a:cubicBezTo>
                    <a:cubicBezTo>
                      <a:pt x="93" y="377"/>
                      <a:pt x="91" y="373"/>
                      <a:pt x="90" y="372"/>
                    </a:cubicBezTo>
                    <a:cubicBezTo>
                      <a:pt x="90" y="372"/>
                      <a:pt x="87" y="373"/>
                      <a:pt x="84" y="374"/>
                    </a:cubicBezTo>
                    <a:cubicBezTo>
                      <a:pt x="84" y="369"/>
                      <a:pt x="84" y="369"/>
                      <a:pt x="84" y="369"/>
                    </a:cubicBezTo>
                    <a:cubicBezTo>
                      <a:pt x="85" y="367"/>
                      <a:pt x="93" y="367"/>
                      <a:pt x="94" y="367"/>
                    </a:cubicBezTo>
                    <a:cubicBezTo>
                      <a:pt x="95" y="368"/>
                      <a:pt x="97" y="364"/>
                      <a:pt x="97" y="362"/>
                    </a:cubicBezTo>
                    <a:cubicBezTo>
                      <a:pt x="97" y="360"/>
                      <a:pt x="98" y="354"/>
                      <a:pt x="98" y="352"/>
                    </a:cubicBezTo>
                    <a:cubicBezTo>
                      <a:pt x="98" y="351"/>
                      <a:pt x="85" y="348"/>
                      <a:pt x="83" y="347"/>
                    </a:cubicBezTo>
                    <a:cubicBezTo>
                      <a:pt x="81" y="346"/>
                      <a:pt x="65" y="344"/>
                      <a:pt x="63" y="342"/>
                    </a:cubicBezTo>
                    <a:cubicBezTo>
                      <a:pt x="62" y="341"/>
                      <a:pt x="61" y="337"/>
                      <a:pt x="60" y="335"/>
                    </a:cubicBezTo>
                    <a:cubicBezTo>
                      <a:pt x="58" y="334"/>
                      <a:pt x="53" y="336"/>
                      <a:pt x="53" y="333"/>
                    </a:cubicBezTo>
                    <a:cubicBezTo>
                      <a:pt x="53" y="330"/>
                      <a:pt x="52" y="324"/>
                      <a:pt x="50" y="323"/>
                    </a:cubicBezTo>
                    <a:cubicBezTo>
                      <a:pt x="49" y="322"/>
                      <a:pt x="42" y="324"/>
                      <a:pt x="40" y="324"/>
                    </a:cubicBezTo>
                    <a:cubicBezTo>
                      <a:pt x="39" y="324"/>
                      <a:pt x="36" y="325"/>
                      <a:pt x="33" y="325"/>
                    </a:cubicBezTo>
                    <a:cubicBezTo>
                      <a:pt x="33" y="325"/>
                      <a:pt x="30" y="317"/>
                      <a:pt x="31" y="316"/>
                    </a:cubicBezTo>
                    <a:cubicBezTo>
                      <a:pt x="31" y="314"/>
                      <a:pt x="40" y="316"/>
                      <a:pt x="40" y="314"/>
                    </a:cubicBezTo>
                    <a:cubicBezTo>
                      <a:pt x="41" y="312"/>
                      <a:pt x="35" y="307"/>
                      <a:pt x="33" y="305"/>
                    </a:cubicBezTo>
                    <a:cubicBezTo>
                      <a:pt x="31" y="302"/>
                      <a:pt x="27" y="299"/>
                      <a:pt x="27" y="297"/>
                    </a:cubicBezTo>
                    <a:cubicBezTo>
                      <a:pt x="27" y="295"/>
                      <a:pt x="29" y="291"/>
                      <a:pt x="27" y="289"/>
                    </a:cubicBezTo>
                    <a:cubicBezTo>
                      <a:pt x="25" y="287"/>
                      <a:pt x="19" y="287"/>
                      <a:pt x="16" y="28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08" name="Freeform 99"/>
            <p:cNvSpPr>
              <a:spLocks/>
            </p:cNvSpPr>
            <p:nvPr/>
          </p:nvSpPr>
          <p:spPr bwMode="auto">
            <a:xfrm>
              <a:off x="6318799" y="4588455"/>
              <a:ext cx="122902" cy="112696"/>
            </a:xfrm>
            <a:custGeom>
              <a:avLst/>
              <a:gdLst>
                <a:gd name="T0" fmla="*/ 0 w 44"/>
                <a:gd name="T1" fmla="*/ 11567 h 43"/>
                <a:gd name="T2" fmla="*/ 9653 w 44"/>
                <a:gd name="T3" fmla="*/ 8980 h 43"/>
                <a:gd name="T4" fmla="*/ 29519 w 44"/>
                <a:gd name="T5" fmla="*/ 6711 h 43"/>
                <a:gd name="T6" fmla="*/ 54017 w 44"/>
                <a:gd name="T7" fmla="*/ 4500 h 43"/>
                <a:gd name="T8" fmla="*/ 36163 w 44"/>
                <a:gd name="T9" fmla="*/ 3456 h 43"/>
                <a:gd name="T10" fmla="*/ 44082 w 44"/>
                <a:gd name="T11" fmla="*/ 1328 h 43"/>
                <a:gd name="T12" fmla="*/ 79621 w 44"/>
                <a:gd name="T13" fmla="*/ 1210 h 43"/>
                <a:gd name="T14" fmla="*/ 111416 w 44"/>
                <a:gd name="T15" fmla="*/ 1210 h 43"/>
                <a:gd name="T16" fmla="*/ 119647 w 44"/>
                <a:gd name="T17" fmla="*/ 0 h 43"/>
                <a:gd name="T18" fmla="*/ 132098 w 44"/>
                <a:gd name="T19" fmla="*/ 1884 h 43"/>
                <a:gd name="T20" fmla="*/ 141214 w 44"/>
                <a:gd name="T21" fmla="*/ 4903 h 43"/>
                <a:gd name="T22" fmla="*/ 119647 w 44"/>
                <a:gd name="T23" fmla="*/ 8279 h 43"/>
                <a:gd name="T24" fmla="*/ 114869 w 44"/>
                <a:gd name="T25" fmla="*/ 10825 h 43"/>
                <a:gd name="T26" fmla="*/ 33072 w 44"/>
                <a:gd name="T27" fmla="*/ 10825 h 43"/>
                <a:gd name="T28" fmla="*/ 16015 w 44"/>
                <a:gd name="T29" fmla="*/ 11567 h 43"/>
                <a:gd name="T30" fmla="*/ 0 w 44"/>
                <a:gd name="T31" fmla="*/ 1156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4" h="43">
                  <a:moveTo>
                    <a:pt x="0" y="43"/>
                  </a:moveTo>
                  <a:cubicBezTo>
                    <a:pt x="2" y="41"/>
                    <a:pt x="3" y="35"/>
                    <a:pt x="3" y="33"/>
                  </a:cubicBezTo>
                  <a:cubicBezTo>
                    <a:pt x="4" y="31"/>
                    <a:pt x="6" y="27"/>
                    <a:pt x="9" y="25"/>
                  </a:cubicBezTo>
                  <a:cubicBezTo>
                    <a:pt x="11" y="23"/>
                    <a:pt x="16" y="17"/>
                    <a:pt x="16" y="17"/>
                  </a:cubicBezTo>
                  <a:cubicBezTo>
                    <a:pt x="16" y="17"/>
                    <a:pt x="11" y="14"/>
                    <a:pt x="11" y="13"/>
                  </a:cubicBezTo>
                  <a:cubicBezTo>
                    <a:pt x="11" y="11"/>
                    <a:pt x="12" y="5"/>
                    <a:pt x="13" y="5"/>
                  </a:cubicBezTo>
                  <a:cubicBezTo>
                    <a:pt x="14" y="4"/>
                    <a:pt x="21" y="4"/>
                    <a:pt x="24" y="4"/>
                  </a:cubicBezTo>
                  <a:cubicBezTo>
                    <a:pt x="27" y="4"/>
                    <a:pt x="34" y="4"/>
                    <a:pt x="34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10"/>
                    <a:pt x="44" y="13"/>
                    <a:pt x="43" y="18"/>
                  </a:cubicBezTo>
                  <a:cubicBezTo>
                    <a:pt x="42" y="22"/>
                    <a:pt x="36" y="29"/>
                    <a:pt x="36" y="31"/>
                  </a:cubicBezTo>
                  <a:cubicBezTo>
                    <a:pt x="36" y="33"/>
                    <a:pt x="35" y="40"/>
                    <a:pt x="35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5" y="43"/>
                    <a:pt x="5" y="43"/>
                    <a:pt x="5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09" name="Freeform 100"/>
            <p:cNvSpPr>
              <a:spLocks/>
            </p:cNvSpPr>
            <p:nvPr/>
          </p:nvSpPr>
          <p:spPr bwMode="auto">
            <a:xfrm>
              <a:off x="6310381" y="4723321"/>
              <a:ext cx="43773" cy="40644"/>
            </a:xfrm>
            <a:custGeom>
              <a:avLst/>
              <a:gdLst>
                <a:gd name="T0" fmla="*/ 2678 w 16"/>
                <a:gd name="T1" fmla="*/ 1678 h 16"/>
                <a:gd name="T2" fmla="*/ 0 w 16"/>
                <a:gd name="T3" fmla="*/ 707 h 16"/>
                <a:gd name="T4" fmla="*/ 11492 w 16"/>
                <a:gd name="T5" fmla="*/ 707 h 16"/>
                <a:gd name="T6" fmla="*/ 21340 w 16"/>
                <a:gd name="T7" fmla="*/ 0 h 16"/>
                <a:gd name="T8" fmla="*/ 33121 w 16"/>
                <a:gd name="T9" fmla="*/ 374 h 16"/>
                <a:gd name="T10" fmla="*/ 37642 w 16"/>
                <a:gd name="T11" fmla="*/ 1220 h 16"/>
                <a:gd name="T12" fmla="*/ 18675 w 16"/>
                <a:gd name="T13" fmla="*/ 2527 h 16"/>
                <a:gd name="T14" fmla="*/ 7072 w 16"/>
                <a:gd name="T15" fmla="*/ 2571 h 16"/>
                <a:gd name="T16" fmla="*/ 2678 w 16"/>
                <a:gd name="T17" fmla="*/ 1678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" h="16">
                  <a:moveTo>
                    <a:pt x="1" y="10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2" y="4"/>
                    <a:pt x="5" y="4"/>
                  </a:cubicBezTo>
                  <a:cubicBezTo>
                    <a:pt x="8" y="4"/>
                    <a:pt x="6" y="0"/>
                    <a:pt x="9" y="0"/>
                  </a:cubicBezTo>
                  <a:cubicBezTo>
                    <a:pt x="12" y="0"/>
                    <a:pt x="14" y="2"/>
                    <a:pt x="14" y="2"/>
                  </a:cubicBezTo>
                  <a:cubicBezTo>
                    <a:pt x="13" y="3"/>
                    <a:pt x="16" y="5"/>
                    <a:pt x="16" y="7"/>
                  </a:cubicBezTo>
                  <a:cubicBezTo>
                    <a:pt x="15" y="8"/>
                    <a:pt x="10" y="13"/>
                    <a:pt x="8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3"/>
                    <a:pt x="2" y="11"/>
                    <a:pt x="1" y="1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0" name="Freeform 101"/>
            <p:cNvSpPr>
              <a:spLocks/>
            </p:cNvSpPr>
            <p:nvPr/>
          </p:nvSpPr>
          <p:spPr bwMode="auto">
            <a:xfrm>
              <a:off x="6296912" y="4836017"/>
              <a:ext cx="111117" cy="136713"/>
            </a:xfrm>
            <a:custGeom>
              <a:avLst/>
              <a:gdLst>
                <a:gd name="T0" fmla="*/ 8692 w 40"/>
                <a:gd name="T1" fmla="*/ 5384 h 53"/>
                <a:gd name="T2" fmla="*/ 5268 w 40"/>
                <a:gd name="T3" fmla="*/ 2117 h 53"/>
                <a:gd name="T4" fmla="*/ 18688 w 40"/>
                <a:gd name="T5" fmla="*/ 577 h 53"/>
                <a:gd name="T6" fmla="*/ 56595 w 40"/>
                <a:gd name="T7" fmla="*/ 0 h 53"/>
                <a:gd name="T8" fmla="*/ 59982 w 40"/>
                <a:gd name="T9" fmla="*/ 577 h 53"/>
                <a:gd name="T10" fmla="*/ 107509 w 40"/>
                <a:gd name="T11" fmla="*/ 2193 h 53"/>
                <a:gd name="T12" fmla="*/ 115766 w 40"/>
                <a:gd name="T13" fmla="*/ 2692 h 53"/>
                <a:gd name="T14" fmla="*/ 121039 w 40"/>
                <a:gd name="T15" fmla="*/ 3606 h 53"/>
                <a:gd name="T16" fmla="*/ 115766 w 40"/>
                <a:gd name="T17" fmla="*/ 4837 h 53"/>
                <a:gd name="T18" fmla="*/ 117726 w 40"/>
                <a:gd name="T19" fmla="*/ 6819 h 53"/>
                <a:gd name="T20" fmla="*/ 107509 w 40"/>
                <a:gd name="T21" fmla="*/ 8045 h 53"/>
                <a:gd name="T22" fmla="*/ 107509 w 40"/>
                <a:gd name="T23" fmla="*/ 9521 h 53"/>
                <a:gd name="T24" fmla="*/ 47584 w 40"/>
                <a:gd name="T25" fmla="*/ 11037 h 53"/>
                <a:gd name="T26" fmla="*/ 30835 w 40"/>
                <a:gd name="T27" fmla="*/ 8745 h 53"/>
                <a:gd name="T28" fmla="*/ 30835 w 40"/>
                <a:gd name="T29" fmla="*/ 8745 h 53"/>
                <a:gd name="T30" fmla="*/ 36353 w 40"/>
                <a:gd name="T31" fmla="*/ 6754 h 53"/>
                <a:gd name="T32" fmla="*/ 8692 w 40"/>
                <a:gd name="T33" fmla="*/ 5384 h 5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53">
                  <a:moveTo>
                    <a:pt x="3" y="26"/>
                  </a:moveTo>
                  <a:cubicBezTo>
                    <a:pt x="2" y="23"/>
                    <a:pt x="3" y="13"/>
                    <a:pt x="2" y="10"/>
                  </a:cubicBezTo>
                  <a:cubicBezTo>
                    <a:pt x="0" y="8"/>
                    <a:pt x="6" y="3"/>
                    <a:pt x="6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2"/>
                    <a:pt x="20" y="3"/>
                  </a:cubicBezTo>
                  <a:cubicBezTo>
                    <a:pt x="21" y="6"/>
                    <a:pt x="34" y="10"/>
                    <a:pt x="36" y="11"/>
                  </a:cubicBezTo>
                  <a:cubicBezTo>
                    <a:pt x="37" y="11"/>
                    <a:pt x="38" y="12"/>
                    <a:pt x="38" y="13"/>
                  </a:cubicBezTo>
                  <a:cubicBezTo>
                    <a:pt x="39" y="14"/>
                    <a:pt x="39" y="16"/>
                    <a:pt x="40" y="17"/>
                  </a:cubicBezTo>
                  <a:cubicBezTo>
                    <a:pt x="40" y="19"/>
                    <a:pt x="40" y="21"/>
                    <a:pt x="38" y="23"/>
                  </a:cubicBezTo>
                  <a:cubicBezTo>
                    <a:pt x="37" y="25"/>
                    <a:pt x="39" y="31"/>
                    <a:pt x="39" y="33"/>
                  </a:cubicBezTo>
                  <a:cubicBezTo>
                    <a:pt x="39" y="35"/>
                    <a:pt x="38" y="36"/>
                    <a:pt x="36" y="39"/>
                  </a:cubicBezTo>
                  <a:cubicBezTo>
                    <a:pt x="35" y="42"/>
                    <a:pt x="36" y="46"/>
                    <a:pt x="36" y="46"/>
                  </a:cubicBezTo>
                  <a:cubicBezTo>
                    <a:pt x="35" y="47"/>
                    <a:pt x="18" y="52"/>
                    <a:pt x="16" y="5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2" y="41"/>
                    <a:pt x="12" y="34"/>
                    <a:pt x="12" y="32"/>
                  </a:cubicBezTo>
                  <a:cubicBezTo>
                    <a:pt x="12" y="30"/>
                    <a:pt x="4" y="29"/>
                    <a:pt x="3" y="2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1" name="Freeform 102"/>
            <p:cNvSpPr>
              <a:spLocks/>
            </p:cNvSpPr>
            <p:nvPr/>
          </p:nvSpPr>
          <p:spPr bwMode="auto">
            <a:xfrm>
              <a:off x="6318799" y="4693761"/>
              <a:ext cx="239069" cy="218002"/>
            </a:xfrm>
            <a:custGeom>
              <a:avLst/>
              <a:gdLst>
                <a:gd name="T0" fmla="*/ 3228 w 86"/>
                <a:gd name="T1" fmla="*/ 10569 h 83"/>
                <a:gd name="T2" fmla="*/ 0 w 86"/>
                <a:gd name="T3" fmla="*/ 7434 h 83"/>
                <a:gd name="T4" fmla="*/ 14532 w 86"/>
                <a:gd name="T5" fmla="*/ 7276 h 83"/>
                <a:gd name="T6" fmla="*/ 39620 w 86"/>
                <a:gd name="T7" fmla="*/ 5118 h 83"/>
                <a:gd name="T8" fmla="*/ 34019 w 86"/>
                <a:gd name="T9" fmla="*/ 3600 h 83"/>
                <a:gd name="T10" fmla="*/ 39620 w 86"/>
                <a:gd name="T11" fmla="*/ 1781 h 83"/>
                <a:gd name="T12" fmla="*/ 30991 w 86"/>
                <a:gd name="T13" fmla="*/ 0 h 83"/>
                <a:gd name="T14" fmla="*/ 108017 w 86"/>
                <a:gd name="T15" fmla="*/ 0 h 83"/>
                <a:gd name="T16" fmla="*/ 192491 w 86"/>
                <a:gd name="T17" fmla="*/ 4171 h 83"/>
                <a:gd name="T18" fmla="*/ 201222 w 86"/>
                <a:gd name="T19" fmla="*/ 6145 h 83"/>
                <a:gd name="T20" fmla="*/ 235244 w 86"/>
                <a:gd name="T21" fmla="*/ 7986 h 83"/>
                <a:gd name="T22" fmla="*/ 223889 w 86"/>
                <a:gd name="T23" fmla="*/ 11129 h 83"/>
                <a:gd name="T24" fmla="*/ 238443 w 86"/>
                <a:gd name="T25" fmla="*/ 13099 h 83"/>
                <a:gd name="T26" fmla="*/ 235244 w 86"/>
                <a:gd name="T27" fmla="*/ 15356 h 83"/>
                <a:gd name="T28" fmla="*/ 247778 w 86"/>
                <a:gd name="T29" fmla="*/ 19034 h 83"/>
                <a:gd name="T30" fmla="*/ 261660 w 86"/>
                <a:gd name="T31" fmla="*/ 20381 h 83"/>
                <a:gd name="T32" fmla="*/ 235244 w 86"/>
                <a:gd name="T33" fmla="*/ 21831 h 83"/>
                <a:gd name="T34" fmla="*/ 204985 w 86"/>
                <a:gd name="T35" fmla="*/ 22298 h 83"/>
                <a:gd name="T36" fmla="*/ 173687 w 86"/>
                <a:gd name="T37" fmla="*/ 23183 h 83"/>
                <a:gd name="T38" fmla="*/ 150063 w 86"/>
                <a:gd name="T39" fmla="*/ 22494 h 83"/>
                <a:gd name="T40" fmla="*/ 135595 w 86"/>
                <a:gd name="T41" fmla="*/ 22949 h 83"/>
                <a:gd name="T42" fmla="*/ 121867 w 86"/>
                <a:gd name="T43" fmla="*/ 19034 h 83"/>
                <a:gd name="T44" fmla="*/ 108017 w 86"/>
                <a:gd name="T45" fmla="*/ 18623 h 83"/>
                <a:gd name="T46" fmla="*/ 92747 w 86"/>
                <a:gd name="T47" fmla="*/ 18623 h 83"/>
                <a:gd name="T48" fmla="*/ 84492 w 86"/>
                <a:gd name="T49" fmla="*/ 17990 h 83"/>
                <a:gd name="T50" fmla="*/ 36572 w 86"/>
                <a:gd name="T51" fmla="*/ 15822 h 83"/>
                <a:gd name="T52" fmla="*/ 34019 w 86"/>
                <a:gd name="T53" fmla="*/ 15026 h 83"/>
                <a:gd name="T54" fmla="*/ 22149 w 86"/>
                <a:gd name="T55" fmla="*/ 12654 h 83"/>
                <a:gd name="T56" fmla="*/ 3228 w 86"/>
                <a:gd name="T57" fmla="*/ 10569 h 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83">
                  <a:moveTo>
                    <a:pt x="1" y="38"/>
                  </a:moveTo>
                  <a:cubicBezTo>
                    <a:pt x="1" y="36"/>
                    <a:pt x="1" y="31"/>
                    <a:pt x="0" y="27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24"/>
                    <a:pt x="12" y="19"/>
                    <a:pt x="13" y="18"/>
                  </a:cubicBezTo>
                  <a:cubicBezTo>
                    <a:pt x="13" y="16"/>
                    <a:pt x="10" y="14"/>
                    <a:pt x="11" y="13"/>
                  </a:cubicBezTo>
                  <a:cubicBezTo>
                    <a:pt x="12" y="11"/>
                    <a:pt x="14" y="8"/>
                    <a:pt x="13" y="6"/>
                  </a:cubicBezTo>
                  <a:cubicBezTo>
                    <a:pt x="12" y="4"/>
                    <a:pt x="10" y="0"/>
                    <a:pt x="1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61" y="14"/>
                    <a:pt x="63" y="15"/>
                  </a:cubicBezTo>
                  <a:cubicBezTo>
                    <a:pt x="65" y="16"/>
                    <a:pt x="65" y="21"/>
                    <a:pt x="66" y="22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5" y="32"/>
                    <a:pt x="72" y="37"/>
                    <a:pt x="73" y="40"/>
                  </a:cubicBezTo>
                  <a:cubicBezTo>
                    <a:pt x="73" y="43"/>
                    <a:pt x="80" y="45"/>
                    <a:pt x="78" y="47"/>
                  </a:cubicBezTo>
                  <a:cubicBezTo>
                    <a:pt x="77" y="49"/>
                    <a:pt x="76" y="51"/>
                    <a:pt x="77" y="55"/>
                  </a:cubicBezTo>
                  <a:cubicBezTo>
                    <a:pt x="77" y="59"/>
                    <a:pt x="78" y="65"/>
                    <a:pt x="81" y="68"/>
                  </a:cubicBezTo>
                  <a:cubicBezTo>
                    <a:pt x="83" y="70"/>
                    <a:pt x="86" y="72"/>
                    <a:pt x="86" y="73"/>
                  </a:cubicBezTo>
                  <a:cubicBezTo>
                    <a:pt x="86" y="73"/>
                    <a:pt x="79" y="77"/>
                    <a:pt x="77" y="78"/>
                  </a:cubicBezTo>
                  <a:cubicBezTo>
                    <a:pt x="75" y="79"/>
                    <a:pt x="69" y="79"/>
                    <a:pt x="67" y="80"/>
                  </a:cubicBezTo>
                  <a:cubicBezTo>
                    <a:pt x="65" y="81"/>
                    <a:pt x="61" y="83"/>
                    <a:pt x="57" y="83"/>
                  </a:cubicBezTo>
                  <a:cubicBezTo>
                    <a:pt x="54" y="83"/>
                    <a:pt x="51" y="82"/>
                    <a:pt x="49" y="81"/>
                  </a:cubicBezTo>
                  <a:cubicBezTo>
                    <a:pt x="48" y="81"/>
                    <a:pt x="46" y="82"/>
                    <a:pt x="44" y="82"/>
                  </a:cubicBezTo>
                  <a:cubicBezTo>
                    <a:pt x="44" y="82"/>
                    <a:pt x="41" y="70"/>
                    <a:pt x="40" y="68"/>
                  </a:cubicBezTo>
                  <a:cubicBezTo>
                    <a:pt x="38" y="66"/>
                    <a:pt x="35" y="67"/>
                    <a:pt x="35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29" y="65"/>
                    <a:pt x="28" y="65"/>
                  </a:cubicBezTo>
                  <a:cubicBezTo>
                    <a:pt x="26" y="64"/>
                    <a:pt x="13" y="60"/>
                    <a:pt x="12" y="57"/>
                  </a:cubicBezTo>
                  <a:cubicBezTo>
                    <a:pt x="11" y="56"/>
                    <a:pt x="11" y="55"/>
                    <a:pt x="11" y="54"/>
                  </a:cubicBezTo>
                  <a:cubicBezTo>
                    <a:pt x="10" y="51"/>
                    <a:pt x="9" y="47"/>
                    <a:pt x="7" y="46"/>
                  </a:cubicBezTo>
                  <a:cubicBezTo>
                    <a:pt x="5" y="44"/>
                    <a:pt x="1" y="40"/>
                    <a:pt x="1" y="3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2" name="Freeform 103"/>
            <p:cNvSpPr>
              <a:spLocks/>
            </p:cNvSpPr>
            <p:nvPr/>
          </p:nvSpPr>
          <p:spPr bwMode="auto">
            <a:xfrm>
              <a:off x="6307013" y="4693761"/>
              <a:ext cx="50508" cy="38797"/>
            </a:xfrm>
            <a:custGeom>
              <a:avLst/>
              <a:gdLst>
                <a:gd name="T0" fmla="*/ 21542 w 18"/>
                <a:gd name="T1" fmla="*/ 3244 h 15"/>
                <a:gd name="T2" fmla="*/ 3688 w 18"/>
                <a:gd name="T3" fmla="*/ 3244 h 15"/>
                <a:gd name="T4" fmla="*/ 0 w 18"/>
                <a:gd name="T5" fmla="*/ 2730 h 15"/>
                <a:gd name="T6" fmla="*/ 15175 w 18"/>
                <a:gd name="T7" fmla="*/ 603 h 15"/>
                <a:gd name="T8" fmla="*/ 32255 w 18"/>
                <a:gd name="T9" fmla="*/ 603 h 15"/>
                <a:gd name="T10" fmla="*/ 48325 w 18"/>
                <a:gd name="T11" fmla="*/ 0 h 15"/>
                <a:gd name="T12" fmla="*/ 59838 w 18"/>
                <a:gd name="T13" fmla="*/ 1182 h 15"/>
                <a:gd name="T14" fmla="*/ 53758 w 18"/>
                <a:gd name="T15" fmla="*/ 2801 h 15"/>
                <a:gd name="T16" fmla="*/ 35903 w 18"/>
                <a:gd name="T17" fmla="*/ 2317 h 15"/>
                <a:gd name="T18" fmla="*/ 21542 w 18"/>
                <a:gd name="T19" fmla="*/ 3244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8" h="15">
                  <a:moveTo>
                    <a:pt x="6" y="15"/>
                  </a:moveTo>
                  <a:cubicBezTo>
                    <a:pt x="3" y="15"/>
                    <a:pt x="1" y="15"/>
                    <a:pt x="1" y="15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9"/>
                    <a:pt x="3" y="4"/>
                    <a:pt x="4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6" y="4"/>
                    <a:pt x="17" y="6"/>
                  </a:cubicBezTo>
                  <a:cubicBezTo>
                    <a:pt x="18" y="8"/>
                    <a:pt x="16" y="11"/>
                    <a:pt x="15" y="13"/>
                  </a:cubicBezTo>
                  <a:cubicBezTo>
                    <a:pt x="15" y="13"/>
                    <a:pt x="13" y="11"/>
                    <a:pt x="10" y="11"/>
                  </a:cubicBezTo>
                  <a:cubicBezTo>
                    <a:pt x="7" y="11"/>
                    <a:pt x="9" y="15"/>
                    <a:pt x="6" y="15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3" name="Freeform 104"/>
            <p:cNvSpPr>
              <a:spLocks/>
            </p:cNvSpPr>
            <p:nvPr/>
          </p:nvSpPr>
          <p:spPr bwMode="auto">
            <a:xfrm>
              <a:off x="6268291" y="5260936"/>
              <a:ext cx="52191" cy="51729"/>
            </a:xfrm>
            <a:custGeom>
              <a:avLst/>
              <a:gdLst>
                <a:gd name="T0" fmla="*/ 2779 w 19"/>
                <a:gd name="T1" fmla="*/ 2001 h 20"/>
                <a:gd name="T2" fmla="*/ 32131 w 19"/>
                <a:gd name="T3" fmla="*/ 1 h 20"/>
                <a:gd name="T4" fmla="*/ 48003 w 19"/>
                <a:gd name="T5" fmla="*/ 1586 h 20"/>
                <a:gd name="T6" fmla="*/ 35958 w 19"/>
                <a:gd name="T7" fmla="*/ 3108 h 20"/>
                <a:gd name="T8" fmla="*/ 22676 w 19"/>
                <a:gd name="T9" fmla="*/ 4218 h 20"/>
                <a:gd name="T10" fmla="*/ 7398 w 19"/>
                <a:gd name="T11" fmla="*/ 2801 h 20"/>
                <a:gd name="T12" fmla="*/ 2779 w 19"/>
                <a:gd name="T13" fmla="*/ 2001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1" y="9"/>
                  </a:moveTo>
                  <a:cubicBezTo>
                    <a:pt x="2" y="8"/>
                    <a:pt x="9" y="0"/>
                    <a:pt x="13" y="1"/>
                  </a:cubicBezTo>
                  <a:cubicBezTo>
                    <a:pt x="16" y="1"/>
                    <a:pt x="19" y="5"/>
                    <a:pt x="19" y="7"/>
                  </a:cubicBezTo>
                  <a:cubicBezTo>
                    <a:pt x="19" y="9"/>
                    <a:pt x="15" y="14"/>
                    <a:pt x="14" y="14"/>
                  </a:cubicBezTo>
                  <a:cubicBezTo>
                    <a:pt x="13" y="14"/>
                    <a:pt x="11" y="17"/>
                    <a:pt x="9" y="19"/>
                  </a:cubicBezTo>
                  <a:cubicBezTo>
                    <a:pt x="8" y="20"/>
                    <a:pt x="3" y="13"/>
                    <a:pt x="3" y="13"/>
                  </a:cubicBezTo>
                  <a:cubicBezTo>
                    <a:pt x="2" y="12"/>
                    <a:pt x="0" y="11"/>
                    <a:pt x="1" y="9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4" name="Freeform 105"/>
            <p:cNvSpPr>
              <a:spLocks/>
            </p:cNvSpPr>
            <p:nvPr/>
          </p:nvSpPr>
          <p:spPr bwMode="auto">
            <a:xfrm>
              <a:off x="6266607" y="3620377"/>
              <a:ext cx="57242" cy="70204"/>
            </a:xfrm>
            <a:custGeom>
              <a:avLst/>
              <a:gdLst>
                <a:gd name="T0" fmla="*/ 0 w 21"/>
                <a:gd name="T1" fmla="*/ 0 h 28"/>
                <a:gd name="T2" fmla="*/ 4193 w 21"/>
                <a:gd name="T3" fmla="*/ 0 h 28"/>
                <a:gd name="T4" fmla="*/ 24606 w 21"/>
                <a:gd name="T5" fmla="*/ 1 h 28"/>
                <a:gd name="T6" fmla="*/ 42450 w 21"/>
                <a:gd name="T7" fmla="*/ 748 h 28"/>
                <a:gd name="T8" fmla="*/ 44054 w 21"/>
                <a:gd name="T9" fmla="*/ 1378 h 28"/>
                <a:gd name="T10" fmla="*/ 44054 w 21"/>
                <a:gd name="T11" fmla="*/ 2394 h 28"/>
                <a:gd name="T12" fmla="*/ 35616 w 21"/>
                <a:gd name="T13" fmla="*/ 2660 h 28"/>
                <a:gd name="T14" fmla="*/ 31414 w 21"/>
                <a:gd name="T15" fmla="*/ 3729 h 28"/>
                <a:gd name="T16" fmla="*/ 21998 w 21"/>
                <a:gd name="T17" fmla="*/ 3610 h 28"/>
                <a:gd name="T18" fmla="*/ 20394 w 21"/>
                <a:gd name="T19" fmla="*/ 1960 h 28"/>
                <a:gd name="T20" fmla="*/ 4193 w 21"/>
                <a:gd name="T21" fmla="*/ 784 h 28"/>
                <a:gd name="T22" fmla="*/ 0 w 21"/>
                <a:gd name="T23" fmla="*/ 0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" h="28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9" y="0"/>
                    <a:pt x="11" y="1"/>
                  </a:cubicBezTo>
                  <a:cubicBezTo>
                    <a:pt x="13" y="2"/>
                    <a:pt x="18" y="3"/>
                    <a:pt x="19" y="5"/>
                  </a:cubicBezTo>
                  <a:cubicBezTo>
                    <a:pt x="19" y="7"/>
                    <a:pt x="19" y="9"/>
                    <a:pt x="20" y="10"/>
                  </a:cubicBezTo>
                  <a:cubicBezTo>
                    <a:pt x="21" y="12"/>
                    <a:pt x="20" y="18"/>
                    <a:pt x="20" y="18"/>
                  </a:cubicBezTo>
                  <a:cubicBezTo>
                    <a:pt x="20" y="18"/>
                    <a:pt x="16" y="19"/>
                    <a:pt x="16" y="2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2" y="28"/>
                    <a:pt x="10" y="28"/>
                    <a:pt x="10" y="27"/>
                  </a:cubicBezTo>
                  <a:cubicBezTo>
                    <a:pt x="10" y="25"/>
                    <a:pt x="11" y="17"/>
                    <a:pt x="9" y="15"/>
                  </a:cubicBezTo>
                  <a:cubicBezTo>
                    <a:pt x="8" y="12"/>
                    <a:pt x="3" y="7"/>
                    <a:pt x="2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5" name="Freeform 106"/>
            <p:cNvSpPr>
              <a:spLocks/>
            </p:cNvSpPr>
            <p:nvPr/>
          </p:nvSpPr>
          <p:spPr bwMode="auto">
            <a:xfrm>
              <a:off x="6244721" y="3777412"/>
              <a:ext cx="405744" cy="145951"/>
            </a:xfrm>
            <a:custGeom>
              <a:avLst/>
              <a:gdLst>
                <a:gd name="T0" fmla="*/ 20917 w 145"/>
                <a:gd name="T1" fmla="*/ 6410 h 56"/>
                <a:gd name="T2" fmla="*/ 0 w 145"/>
                <a:gd name="T3" fmla="*/ 6028 h 56"/>
                <a:gd name="T4" fmla="*/ 9776 w 145"/>
                <a:gd name="T5" fmla="*/ 4203 h 56"/>
                <a:gd name="T6" fmla="*/ 24288 w 145"/>
                <a:gd name="T7" fmla="*/ 3933 h 56"/>
                <a:gd name="T8" fmla="*/ 31111 w 145"/>
                <a:gd name="T9" fmla="*/ 3933 h 56"/>
                <a:gd name="T10" fmla="*/ 81189 w 145"/>
                <a:gd name="T11" fmla="*/ 3933 h 56"/>
                <a:gd name="T12" fmla="*/ 96038 w 145"/>
                <a:gd name="T13" fmla="*/ 3029 h 56"/>
                <a:gd name="T14" fmla="*/ 87247 w 145"/>
                <a:gd name="T15" fmla="*/ 2147 h 56"/>
                <a:gd name="T16" fmla="*/ 101770 w 145"/>
                <a:gd name="T17" fmla="*/ 1976 h 56"/>
                <a:gd name="T18" fmla="*/ 138776 w 145"/>
                <a:gd name="T19" fmla="*/ 2147 h 56"/>
                <a:gd name="T20" fmla="*/ 169149 w 145"/>
                <a:gd name="T21" fmla="*/ 993 h 56"/>
                <a:gd name="T22" fmla="*/ 206080 w 145"/>
                <a:gd name="T23" fmla="*/ 0 h 56"/>
                <a:gd name="T24" fmla="*/ 237418 w 145"/>
                <a:gd name="T25" fmla="*/ 0 h 56"/>
                <a:gd name="T26" fmla="*/ 244437 w 145"/>
                <a:gd name="T27" fmla="*/ 704 h 56"/>
                <a:gd name="T28" fmla="*/ 265303 w 145"/>
                <a:gd name="T29" fmla="*/ 704 h 56"/>
                <a:gd name="T30" fmla="*/ 281137 w 145"/>
                <a:gd name="T31" fmla="*/ 1401 h 56"/>
                <a:gd name="T32" fmla="*/ 317803 w 145"/>
                <a:gd name="T33" fmla="*/ 2147 h 56"/>
                <a:gd name="T34" fmla="*/ 348433 w 145"/>
                <a:gd name="T35" fmla="*/ 2147 h 56"/>
                <a:gd name="T36" fmla="*/ 375917 w 145"/>
                <a:gd name="T37" fmla="*/ 2460 h 56"/>
                <a:gd name="T38" fmla="*/ 409634 w 145"/>
                <a:gd name="T39" fmla="*/ 993 h 56"/>
                <a:gd name="T40" fmla="*/ 437096 w 145"/>
                <a:gd name="T41" fmla="*/ 1236 h 56"/>
                <a:gd name="T42" fmla="*/ 456411 w 145"/>
                <a:gd name="T43" fmla="*/ 2147 h 56"/>
                <a:gd name="T44" fmla="*/ 461701 w 145"/>
                <a:gd name="T45" fmla="*/ 4273 h 56"/>
                <a:gd name="T46" fmla="*/ 486240 w 145"/>
                <a:gd name="T47" fmla="*/ 5427 h 56"/>
                <a:gd name="T48" fmla="*/ 475016 w 145"/>
                <a:gd name="T49" fmla="*/ 6637 h 56"/>
                <a:gd name="T50" fmla="*/ 481850 w 145"/>
                <a:gd name="T51" fmla="*/ 9043 h 56"/>
                <a:gd name="T52" fmla="*/ 491972 w 145"/>
                <a:gd name="T53" fmla="*/ 10800 h 56"/>
                <a:gd name="T54" fmla="*/ 440952 w 145"/>
                <a:gd name="T55" fmla="*/ 10616 h 56"/>
                <a:gd name="T56" fmla="*/ 426174 w 145"/>
                <a:gd name="T57" fmla="*/ 11042 h 56"/>
                <a:gd name="T58" fmla="*/ 413593 w 145"/>
                <a:gd name="T59" fmla="*/ 10281 h 56"/>
                <a:gd name="T60" fmla="*/ 383365 w 145"/>
                <a:gd name="T61" fmla="*/ 11042 h 56"/>
                <a:gd name="T62" fmla="*/ 336097 w 145"/>
                <a:gd name="T63" fmla="*/ 11799 h 56"/>
                <a:gd name="T64" fmla="*/ 317803 w 145"/>
                <a:gd name="T65" fmla="*/ 11376 h 56"/>
                <a:gd name="T66" fmla="*/ 287460 w 145"/>
                <a:gd name="T67" fmla="*/ 11799 h 56"/>
                <a:gd name="T68" fmla="*/ 277787 w 145"/>
                <a:gd name="T69" fmla="*/ 13165 h 56"/>
                <a:gd name="T70" fmla="*/ 265303 w 145"/>
                <a:gd name="T71" fmla="*/ 13619 h 56"/>
                <a:gd name="T72" fmla="*/ 265303 w 145"/>
                <a:gd name="T73" fmla="*/ 13165 h 56"/>
                <a:gd name="T74" fmla="*/ 261234 w 145"/>
                <a:gd name="T75" fmla="*/ 12757 h 56"/>
                <a:gd name="T76" fmla="*/ 265303 w 145"/>
                <a:gd name="T77" fmla="*/ 11042 h 56"/>
                <a:gd name="T78" fmla="*/ 244437 w 145"/>
                <a:gd name="T79" fmla="*/ 11997 h 56"/>
                <a:gd name="T80" fmla="*/ 226174 w 145"/>
                <a:gd name="T81" fmla="*/ 11799 h 56"/>
                <a:gd name="T82" fmla="*/ 200003 w 145"/>
                <a:gd name="T83" fmla="*/ 13165 h 56"/>
                <a:gd name="T84" fmla="*/ 169149 w 145"/>
                <a:gd name="T85" fmla="*/ 13209 h 56"/>
                <a:gd name="T86" fmla="*/ 134942 w 145"/>
                <a:gd name="T87" fmla="*/ 11483 h 56"/>
                <a:gd name="T88" fmla="*/ 122779 w 145"/>
                <a:gd name="T89" fmla="*/ 11483 h 56"/>
                <a:gd name="T90" fmla="*/ 116820 w 145"/>
                <a:gd name="T91" fmla="*/ 12757 h 56"/>
                <a:gd name="T92" fmla="*/ 96038 w 145"/>
                <a:gd name="T93" fmla="*/ 13165 h 56"/>
                <a:gd name="T94" fmla="*/ 81189 w 145"/>
                <a:gd name="T95" fmla="*/ 11799 h 56"/>
                <a:gd name="T96" fmla="*/ 55674 w 145"/>
                <a:gd name="T97" fmla="*/ 11799 h 56"/>
                <a:gd name="T98" fmla="*/ 34765 w 145"/>
                <a:gd name="T99" fmla="*/ 11376 h 56"/>
                <a:gd name="T100" fmla="*/ 40368 w 145"/>
                <a:gd name="T101" fmla="*/ 10616 h 56"/>
                <a:gd name="T102" fmla="*/ 24288 w 145"/>
                <a:gd name="T103" fmla="*/ 9654 h 56"/>
                <a:gd name="T104" fmla="*/ 34765 w 145"/>
                <a:gd name="T105" fmla="*/ 8927 h 56"/>
                <a:gd name="T106" fmla="*/ 5882 w 145"/>
                <a:gd name="T107" fmla="*/ 8140 h 56"/>
                <a:gd name="T108" fmla="*/ 27005 w 145"/>
                <a:gd name="T109" fmla="*/ 7288 h 56"/>
                <a:gd name="T110" fmla="*/ 20917 w 145"/>
                <a:gd name="T111" fmla="*/ 6410 h 5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45" h="56">
                  <a:moveTo>
                    <a:pt x="6" y="26"/>
                  </a:moveTo>
                  <a:cubicBezTo>
                    <a:pt x="6" y="26"/>
                    <a:pt x="0" y="26"/>
                    <a:pt x="0" y="25"/>
                  </a:cubicBezTo>
                  <a:cubicBezTo>
                    <a:pt x="0" y="23"/>
                    <a:pt x="2" y="18"/>
                    <a:pt x="3" y="17"/>
                  </a:cubicBezTo>
                  <a:cubicBezTo>
                    <a:pt x="4" y="17"/>
                    <a:pt x="5" y="16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1" y="17"/>
                    <a:pt x="22" y="16"/>
                    <a:pt x="24" y="16"/>
                  </a:cubicBezTo>
                  <a:cubicBezTo>
                    <a:pt x="27" y="16"/>
                    <a:pt x="28" y="15"/>
                    <a:pt x="28" y="13"/>
                  </a:cubicBezTo>
                  <a:cubicBezTo>
                    <a:pt x="29" y="12"/>
                    <a:pt x="26" y="10"/>
                    <a:pt x="26" y="9"/>
                  </a:cubicBezTo>
                  <a:cubicBezTo>
                    <a:pt x="26" y="8"/>
                    <a:pt x="28" y="8"/>
                    <a:pt x="30" y="8"/>
                  </a:cubicBezTo>
                  <a:cubicBezTo>
                    <a:pt x="32" y="8"/>
                    <a:pt x="38" y="10"/>
                    <a:pt x="41" y="9"/>
                  </a:cubicBezTo>
                  <a:cubicBezTo>
                    <a:pt x="43" y="7"/>
                    <a:pt x="48" y="6"/>
                    <a:pt x="50" y="4"/>
                  </a:cubicBezTo>
                  <a:cubicBezTo>
                    <a:pt x="52" y="3"/>
                    <a:pt x="57" y="0"/>
                    <a:pt x="61" y="0"/>
                  </a:cubicBezTo>
                  <a:cubicBezTo>
                    <a:pt x="65" y="1"/>
                    <a:pt x="67" y="0"/>
                    <a:pt x="70" y="0"/>
                  </a:cubicBezTo>
                  <a:cubicBezTo>
                    <a:pt x="72" y="0"/>
                    <a:pt x="70" y="3"/>
                    <a:pt x="72" y="3"/>
                  </a:cubicBezTo>
                  <a:cubicBezTo>
                    <a:pt x="75" y="4"/>
                    <a:pt x="77" y="2"/>
                    <a:pt x="78" y="3"/>
                  </a:cubicBezTo>
                  <a:cubicBezTo>
                    <a:pt x="79" y="3"/>
                    <a:pt x="79" y="5"/>
                    <a:pt x="83" y="6"/>
                  </a:cubicBezTo>
                  <a:cubicBezTo>
                    <a:pt x="86" y="8"/>
                    <a:pt x="90" y="9"/>
                    <a:pt x="94" y="9"/>
                  </a:cubicBezTo>
                  <a:cubicBezTo>
                    <a:pt x="98" y="10"/>
                    <a:pt x="100" y="9"/>
                    <a:pt x="103" y="9"/>
                  </a:cubicBezTo>
                  <a:cubicBezTo>
                    <a:pt x="107" y="9"/>
                    <a:pt x="109" y="11"/>
                    <a:pt x="111" y="10"/>
                  </a:cubicBezTo>
                  <a:cubicBezTo>
                    <a:pt x="114" y="9"/>
                    <a:pt x="119" y="6"/>
                    <a:pt x="121" y="4"/>
                  </a:cubicBezTo>
                  <a:cubicBezTo>
                    <a:pt x="121" y="4"/>
                    <a:pt x="128" y="5"/>
                    <a:pt x="129" y="5"/>
                  </a:cubicBezTo>
                  <a:cubicBezTo>
                    <a:pt x="131" y="5"/>
                    <a:pt x="132" y="8"/>
                    <a:pt x="135" y="9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20"/>
                    <a:pt x="140" y="20"/>
                    <a:pt x="143" y="22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9"/>
                    <a:pt x="142" y="34"/>
                    <a:pt x="142" y="37"/>
                  </a:cubicBezTo>
                  <a:cubicBezTo>
                    <a:pt x="142" y="40"/>
                    <a:pt x="143" y="40"/>
                    <a:pt x="145" y="44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29" y="43"/>
                    <a:pt x="128" y="44"/>
                    <a:pt x="126" y="45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0" y="42"/>
                    <a:pt x="116" y="44"/>
                    <a:pt x="113" y="45"/>
                  </a:cubicBezTo>
                  <a:cubicBezTo>
                    <a:pt x="110" y="46"/>
                    <a:pt x="101" y="49"/>
                    <a:pt x="99" y="48"/>
                  </a:cubicBezTo>
                  <a:cubicBezTo>
                    <a:pt x="98" y="47"/>
                    <a:pt x="95" y="46"/>
                    <a:pt x="94" y="46"/>
                  </a:cubicBezTo>
                  <a:cubicBezTo>
                    <a:pt x="92" y="46"/>
                    <a:pt x="85" y="46"/>
                    <a:pt x="85" y="48"/>
                  </a:cubicBezTo>
                  <a:cubicBezTo>
                    <a:pt x="85" y="50"/>
                    <a:pt x="84" y="52"/>
                    <a:pt x="82" y="53"/>
                  </a:cubicBezTo>
                  <a:cubicBezTo>
                    <a:pt x="81" y="54"/>
                    <a:pt x="78" y="55"/>
                    <a:pt x="78" y="55"/>
                  </a:cubicBezTo>
                  <a:cubicBezTo>
                    <a:pt x="78" y="54"/>
                    <a:pt x="78" y="54"/>
                    <a:pt x="78" y="53"/>
                  </a:cubicBezTo>
                  <a:cubicBezTo>
                    <a:pt x="77" y="52"/>
                    <a:pt x="77" y="53"/>
                    <a:pt x="77" y="52"/>
                  </a:cubicBezTo>
                  <a:cubicBezTo>
                    <a:pt x="76" y="51"/>
                    <a:pt x="82" y="49"/>
                    <a:pt x="78" y="45"/>
                  </a:cubicBezTo>
                  <a:cubicBezTo>
                    <a:pt x="75" y="43"/>
                    <a:pt x="73" y="49"/>
                    <a:pt x="72" y="49"/>
                  </a:cubicBezTo>
                  <a:cubicBezTo>
                    <a:pt x="70" y="49"/>
                    <a:pt x="69" y="46"/>
                    <a:pt x="67" y="48"/>
                  </a:cubicBezTo>
                  <a:cubicBezTo>
                    <a:pt x="64" y="50"/>
                    <a:pt x="61" y="53"/>
                    <a:pt x="59" y="53"/>
                  </a:cubicBezTo>
                  <a:cubicBezTo>
                    <a:pt x="56" y="53"/>
                    <a:pt x="52" y="56"/>
                    <a:pt x="50" y="54"/>
                  </a:cubicBezTo>
                  <a:cubicBezTo>
                    <a:pt x="48" y="52"/>
                    <a:pt x="43" y="47"/>
                    <a:pt x="40" y="47"/>
                  </a:cubicBezTo>
                  <a:cubicBezTo>
                    <a:pt x="37" y="46"/>
                    <a:pt x="37" y="45"/>
                    <a:pt x="36" y="47"/>
                  </a:cubicBezTo>
                  <a:cubicBezTo>
                    <a:pt x="34" y="48"/>
                    <a:pt x="37" y="52"/>
                    <a:pt x="34" y="52"/>
                  </a:cubicBezTo>
                  <a:cubicBezTo>
                    <a:pt x="32" y="52"/>
                    <a:pt x="31" y="54"/>
                    <a:pt x="28" y="53"/>
                  </a:cubicBezTo>
                  <a:cubicBezTo>
                    <a:pt x="25" y="51"/>
                    <a:pt x="25" y="49"/>
                    <a:pt x="24" y="48"/>
                  </a:cubicBezTo>
                  <a:cubicBezTo>
                    <a:pt x="22" y="48"/>
                    <a:pt x="18" y="48"/>
                    <a:pt x="16" y="48"/>
                  </a:cubicBezTo>
                  <a:cubicBezTo>
                    <a:pt x="13" y="48"/>
                    <a:pt x="11" y="46"/>
                    <a:pt x="10" y="46"/>
                  </a:cubicBezTo>
                  <a:cubicBezTo>
                    <a:pt x="10" y="45"/>
                    <a:pt x="14" y="44"/>
                    <a:pt x="12" y="43"/>
                  </a:cubicBezTo>
                  <a:cubicBezTo>
                    <a:pt x="10" y="41"/>
                    <a:pt x="8" y="40"/>
                    <a:pt x="7" y="39"/>
                  </a:cubicBezTo>
                  <a:cubicBezTo>
                    <a:pt x="5" y="39"/>
                    <a:pt x="12" y="38"/>
                    <a:pt x="10" y="36"/>
                  </a:cubicBezTo>
                  <a:cubicBezTo>
                    <a:pt x="7" y="35"/>
                    <a:pt x="1" y="35"/>
                    <a:pt x="2" y="33"/>
                  </a:cubicBezTo>
                  <a:cubicBezTo>
                    <a:pt x="2" y="31"/>
                    <a:pt x="8" y="31"/>
                    <a:pt x="8" y="30"/>
                  </a:cubicBezTo>
                  <a:cubicBezTo>
                    <a:pt x="8" y="29"/>
                    <a:pt x="7" y="27"/>
                    <a:pt x="6" y="2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6" name="Freeform 107"/>
            <p:cNvSpPr>
              <a:spLocks/>
            </p:cNvSpPr>
            <p:nvPr/>
          </p:nvSpPr>
          <p:spPr bwMode="auto">
            <a:xfrm>
              <a:off x="6221151" y="4013890"/>
              <a:ext cx="230651" cy="219850"/>
            </a:xfrm>
            <a:custGeom>
              <a:avLst/>
              <a:gdLst>
                <a:gd name="T0" fmla="*/ 197230 w 83"/>
                <a:gd name="T1" fmla="*/ 25099 h 83"/>
                <a:gd name="T2" fmla="*/ 5280 w 83"/>
                <a:gd name="T3" fmla="*/ 25099 h 83"/>
                <a:gd name="T4" fmla="*/ 5280 w 83"/>
                <a:gd name="T5" fmla="*/ 7153 h 83"/>
                <a:gd name="T6" fmla="*/ 0 w 83"/>
                <a:gd name="T7" fmla="*/ 4228 h 83"/>
                <a:gd name="T8" fmla="*/ 13391 w 83"/>
                <a:gd name="T9" fmla="*/ 2466 h 83"/>
                <a:gd name="T10" fmla="*/ 13391 w 83"/>
                <a:gd name="T11" fmla="*/ 698 h 83"/>
                <a:gd name="T12" fmla="*/ 42650 w 83"/>
                <a:gd name="T13" fmla="*/ 698 h 83"/>
                <a:gd name="T14" fmla="*/ 99398 w 83"/>
                <a:gd name="T15" fmla="*/ 2189 h 83"/>
                <a:gd name="T16" fmla="*/ 133796 w 83"/>
                <a:gd name="T17" fmla="*/ 698 h 83"/>
                <a:gd name="T18" fmla="*/ 149244 w 83"/>
                <a:gd name="T19" fmla="*/ 1 h 83"/>
                <a:gd name="T20" fmla="*/ 167246 w 83"/>
                <a:gd name="T21" fmla="*/ 698 h 83"/>
                <a:gd name="T22" fmla="*/ 186642 w 83"/>
                <a:gd name="T23" fmla="*/ 2057 h 83"/>
                <a:gd name="T24" fmla="*/ 215539 w 83"/>
                <a:gd name="T25" fmla="*/ 1435 h 83"/>
                <a:gd name="T26" fmla="*/ 234404 w 83"/>
                <a:gd name="T27" fmla="*/ 6763 h 83"/>
                <a:gd name="T28" fmla="*/ 234404 w 83"/>
                <a:gd name="T29" fmla="*/ 6763 h 83"/>
                <a:gd name="T30" fmla="*/ 220844 w 83"/>
                <a:gd name="T31" fmla="*/ 9696 h 83"/>
                <a:gd name="T32" fmla="*/ 209437 w 83"/>
                <a:gd name="T33" fmla="*/ 8895 h 83"/>
                <a:gd name="T34" fmla="*/ 186906 w 83"/>
                <a:gd name="T35" fmla="*/ 5070 h 83"/>
                <a:gd name="T36" fmla="*/ 176246 w 83"/>
                <a:gd name="T37" fmla="*/ 4989 h 83"/>
                <a:gd name="T38" fmla="*/ 172915 w 83"/>
                <a:gd name="T39" fmla="*/ 5729 h 83"/>
                <a:gd name="T40" fmla="*/ 197230 w 83"/>
                <a:gd name="T41" fmla="*/ 10422 h 83"/>
                <a:gd name="T42" fmla="*/ 212518 w 83"/>
                <a:gd name="T43" fmla="*/ 13259 h 83"/>
                <a:gd name="T44" fmla="*/ 248277 w 83"/>
                <a:gd name="T45" fmla="*/ 20472 h 83"/>
                <a:gd name="T46" fmla="*/ 252029 w 83"/>
                <a:gd name="T47" fmla="*/ 22934 h 83"/>
                <a:gd name="T48" fmla="*/ 237641 w 83"/>
                <a:gd name="T49" fmla="*/ 23373 h 83"/>
                <a:gd name="T50" fmla="*/ 229350 w 83"/>
                <a:gd name="T51" fmla="*/ 24977 h 83"/>
                <a:gd name="T52" fmla="*/ 212518 w 83"/>
                <a:gd name="T53" fmla="*/ 26214 h 83"/>
                <a:gd name="T54" fmla="*/ 197230 w 83"/>
                <a:gd name="T55" fmla="*/ 25099 h 8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3" h="83">
                  <a:moveTo>
                    <a:pt x="65" y="79"/>
                  </a:moveTo>
                  <a:cubicBezTo>
                    <a:pt x="2" y="79"/>
                    <a:pt x="2" y="79"/>
                    <a:pt x="2" y="79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0" y="17"/>
                    <a:pt x="0" y="13"/>
                  </a:cubicBezTo>
                  <a:cubicBezTo>
                    <a:pt x="0" y="10"/>
                    <a:pt x="4" y="10"/>
                    <a:pt x="4" y="8"/>
                  </a:cubicBezTo>
                  <a:cubicBezTo>
                    <a:pt x="4" y="6"/>
                    <a:pt x="4" y="2"/>
                    <a:pt x="4" y="2"/>
                  </a:cubicBezTo>
                  <a:cubicBezTo>
                    <a:pt x="7" y="2"/>
                    <a:pt x="11" y="2"/>
                    <a:pt x="14" y="2"/>
                  </a:cubicBezTo>
                  <a:cubicBezTo>
                    <a:pt x="16" y="2"/>
                    <a:pt x="30" y="7"/>
                    <a:pt x="33" y="7"/>
                  </a:cubicBezTo>
                  <a:cubicBezTo>
                    <a:pt x="37" y="7"/>
                    <a:pt x="42" y="3"/>
                    <a:pt x="44" y="2"/>
                  </a:cubicBezTo>
                  <a:cubicBezTo>
                    <a:pt x="47" y="1"/>
                    <a:pt x="47" y="1"/>
                    <a:pt x="49" y="1"/>
                  </a:cubicBezTo>
                  <a:cubicBezTo>
                    <a:pt x="52" y="0"/>
                    <a:pt x="53" y="1"/>
                    <a:pt x="55" y="2"/>
                  </a:cubicBezTo>
                  <a:cubicBezTo>
                    <a:pt x="57" y="3"/>
                    <a:pt x="59" y="6"/>
                    <a:pt x="61" y="6"/>
                  </a:cubicBezTo>
                  <a:cubicBezTo>
                    <a:pt x="64" y="5"/>
                    <a:pt x="69" y="6"/>
                    <a:pt x="71" y="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5" y="23"/>
                    <a:pt x="74" y="30"/>
                    <a:pt x="73" y="30"/>
                  </a:cubicBezTo>
                  <a:cubicBezTo>
                    <a:pt x="72" y="30"/>
                    <a:pt x="71" y="30"/>
                    <a:pt x="69" y="28"/>
                  </a:cubicBezTo>
                  <a:cubicBezTo>
                    <a:pt x="68" y="26"/>
                    <a:pt x="63" y="18"/>
                    <a:pt x="62" y="16"/>
                  </a:cubicBezTo>
                  <a:cubicBezTo>
                    <a:pt x="61" y="13"/>
                    <a:pt x="59" y="13"/>
                    <a:pt x="58" y="15"/>
                  </a:cubicBezTo>
                  <a:cubicBezTo>
                    <a:pt x="57" y="17"/>
                    <a:pt x="58" y="17"/>
                    <a:pt x="57" y="18"/>
                  </a:cubicBezTo>
                  <a:cubicBezTo>
                    <a:pt x="57" y="20"/>
                    <a:pt x="63" y="31"/>
                    <a:pt x="65" y="33"/>
                  </a:cubicBezTo>
                  <a:cubicBezTo>
                    <a:pt x="67" y="35"/>
                    <a:pt x="68" y="39"/>
                    <a:pt x="70" y="42"/>
                  </a:cubicBezTo>
                  <a:cubicBezTo>
                    <a:pt x="73" y="45"/>
                    <a:pt x="82" y="62"/>
                    <a:pt x="82" y="64"/>
                  </a:cubicBezTo>
                  <a:cubicBezTo>
                    <a:pt x="82" y="65"/>
                    <a:pt x="82" y="69"/>
                    <a:pt x="83" y="72"/>
                  </a:cubicBezTo>
                  <a:cubicBezTo>
                    <a:pt x="83" y="72"/>
                    <a:pt x="80" y="73"/>
                    <a:pt x="78" y="73"/>
                  </a:cubicBezTo>
                  <a:cubicBezTo>
                    <a:pt x="77" y="73"/>
                    <a:pt x="76" y="78"/>
                    <a:pt x="76" y="78"/>
                  </a:cubicBezTo>
                  <a:cubicBezTo>
                    <a:pt x="76" y="78"/>
                    <a:pt x="72" y="81"/>
                    <a:pt x="70" y="82"/>
                  </a:cubicBezTo>
                  <a:cubicBezTo>
                    <a:pt x="68" y="83"/>
                    <a:pt x="67" y="80"/>
                    <a:pt x="65" y="79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7" name="Freeform 108"/>
            <p:cNvSpPr>
              <a:spLocks/>
            </p:cNvSpPr>
            <p:nvPr/>
          </p:nvSpPr>
          <p:spPr bwMode="auto">
            <a:xfrm>
              <a:off x="6251455" y="3770023"/>
              <a:ext cx="58925" cy="40644"/>
            </a:xfrm>
            <a:custGeom>
              <a:avLst/>
              <a:gdLst>
                <a:gd name="T0" fmla="*/ 0 w 21"/>
                <a:gd name="T1" fmla="*/ 5922 h 15"/>
                <a:gd name="T2" fmla="*/ 10245 w 21"/>
                <a:gd name="T3" fmla="*/ 4038 h 15"/>
                <a:gd name="T4" fmla="*/ 3688 w 21"/>
                <a:gd name="T5" fmla="*/ 873 h 15"/>
                <a:gd name="T6" fmla="*/ 28458 w 21"/>
                <a:gd name="T7" fmla="*/ 0 h 15"/>
                <a:gd name="T8" fmla="*/ 42153 w 21"/>
                <a:gd name="T9" fmla="*/ 0 h 15"/>
                <a:gd name="T10" fmla="*/ 42153 w 21"/>
                <a:gd name="T11" fmla="*/ 0 h 15"/>
                <a:gd name="T12" fmla="*/ 48325 w 21"/>
                <a:gd name="T13" fmla="*/ 2156 h 15"/>
                <a:gd name="T14" fmla="*/ 74422 w 21"/>
                <a:gd name="T15" fmla="*/ 4038 h 15"/>
                <a:gd name="T16" fmla="*/ 63297 w 21"/>
                <a:gd name="T17" fmla="*/ 4919 h 15"/>
                <a:gd name="T18" fmla="*/ 32255 w 21"/>
                <a:gd name="T19" fmla="*/ 4919 h 15"/>
                <a:gd name="T20" fmla="*/ 17075 w 21"/>
                <a:gd name="T21" fmla="*/ 6528 h 15"/>
                <a:gd name="T22" fmla="*/ 15175 w 21"/>
                <a:gd name="T23" fmla="*/ 6528 h 15"/>
                <a:gd name="T24" fmla="*/ 0 w 21"/>
                <a:gd name="T25" fmla="*/ 5922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1" h="15">
                  <a:moveTo>
                    <a:pt x="0" y="13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7" y="0"/>
                    <a:pt x="8" y="0"/>
                  </a:cubicBezTo>
                  <a:cubicBezTo>
                    <a:pt x="9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3" y="4"/>
                    <a:pt x="14" y="5"/>
                  </a:cubicBezTo>
                  <a:cubicBezTo>
                    <a:pt x="15" y="5"/>
                    <a:pt x="21" y="8"/>
                    <a:pt x="21" y="9"/>
                  </a:cubicBezTo>
                  <a:cubicBezTo>
                    <a:pt x="20" y="10"/>
                    <a:pt x="20" y="11"/>
                    <a:pt x="18" y="11"/>
                  </a:cubicBezTo>
                  <a:cubicBezTo>
                    <a:pt x="16" y="11"/>
                    <a:pt x="11" y="10"/>
                    <a:pt x="9" y="11"/>
                  </a:cubicBezTo>
                  <a:cubicBezTo>
                    <a:pt x="8" y="13"/>
                    <a:pt x="7" y="14"/>
                    <a:pt x="5" y="14"/>
                  </a:cubicBezTo>
                  <a:cubicBezTo>
                    <a:pt x="5" y="14"/>
                    <a:pt x="4" y="14"/>
                    <a:pt x="4" y="14"/>
                  </a:cubicBezTo>
                  <a:cubicBezTo>
                    <a:pt x="2" y="14"/>
                    <a:pt x="1" y="15"/>
                    <a:pt x="0" y="1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8" name="Freeform 109"/>
            <p:cNvSpPr>
              <a:spLocks/>
            </p:cNvSpPr>
            <p:nvPr/>
          </p:nvSpPr>
          <p:spPr bwMode="auto">
            <a:xfrm>
              <a:off x="6231252" y="4989357"/>
              <a:ext cx="168358" cy="140408"/>
            </a:xfrm>
            <a:custGeom>
              <a:avLst/>
              <a:gdLst>
                <a:gd name="T0" fmla="*/ 6147 w 60"/>
                <a:gd name="T1" fmla="*/ 6457 h 53"/>
                <a:gd name="T2" fmla="*/ 0 w 60"/>
                <a:gd name="T3" fmla="*/ 5075 h 53"/>
                <a:gd name="T4" fmla="*/ 42153 w 60"/>
                <a:gd name="T5" fmla="*/ 5737 h 53"/>
                <a:gd name="T6" fmla="*/ 74422 w 60"/>
                <a:gd name="T7" fmla="*/ 3140 h 53"/>
                <a:gd name="T8" fmla="*/ 99730 w 60"/>
                <a:gd name="T9" fmla="*/ 2065 h 53"/>
                <a:gd name="T10" fmla="*/ 112422 w 60"/>
                <a:gd name="T11" fmla="*/ 0 h 53"/>
                <a:gd name="T12" fmla="*/ 127700 w 60"/>
                <a:gd name="T13" fmla="*/ 0 h 53"/>
                <a:gd name="T14" fmla="*/ 137708 w 60"/>
                <a:gd name="T15" fmla="*/ 0 h 53"/>
                <a:gd name="T16" fmla="*/ 137708 w 60"/>
                <a:gd name="T17" fmla="*/ 0 h 53"/>
                <a:gd name="T18" fmla="*/ 143347 w 60"/>
                <a:gd name="T19" fmla="*/ 1004 h 53"/>
                <a:gd name="T20" fmla="*/ 169967 w 60"/>
                <a:gd name="T21" fmla="*/ 1440 h 53"/>
                <a:gd name="T22" fmla="*/ 206728 w 60"/>
                <a:gd name="T23" fmla="*/ 2961 h 53"/>
                <a:gd name="T24" fmla="*/ 208078 w 60"/>
                <a:gd name="T25" fmla="*/ 8155 h 53"/>
                <a:gd name="T26" fmla="*/ 208078 w 60"/>
                <a:gd name="T27" fmla="*/ 10435 h 53"/>
                <a:gd name="T28" fmla="*/ 201217 w 60"/>
                <a:gd name="T29" fmla="*/ 11984 h 53"/>
                <a:gd name="T30" fmla="*/ 195153 w 60"/>
                <a:gd name="T31" fmla="*/ 14460 h 53"/>
                <a:gd name="T32" fmla="*/ 181388 w 60"/>
                <a:gd name="T33" fmla="*/ 15521 h 53"/>
                <a:gd name="T34" fmla="*/ 163255 w 60"/>
                <a:gd name="T35" fmla="*/ 16916 h 53"/>
                <a:gd name="T36" fmla="*/ 163255 w 60"/>
                <a:gd name="T37" fmla="*/ 16916 h 53"/>
                <a:gd name="T38" fmla="*/ 137708 w 60"/>
                <a:gd name="T39" fmla="*/ 16769 h 53"/>
                <a:gd name="T40" fmla="*/ 112422 w 60"/>
                <a:gd name="T41" fmla="*/ 16026 h 53"/>
                <a:gd name="T42" fmla="*/ 105495 w 60"/>
                <a:gd name="T43" fmla="*/ 15521 h 53"/>
                <a:gd name="T44" fmla="*/ 70255 w 60"/>
                <a:gd name="T45" fmla="*/ 14460 h 53"/>
                <a:gd name="T46" fmla="*/ 67453 w 60"/>
                <a:gd name="T47" fmla="*/ 11984 h 53"/>
                <a:gd name="T48" fmla="*/ 57328 w 60"/>
                <a:gd name="T49" fmla="*/ 12520 h 53"/>
                <a:gd name="T50" fmla="*/ 37978 w 60"/>
                <a:gd name="T51" fmla="*/ 10824 h 53"/>
                <a:gd name="T52" fmla="*/ 6147 w 60"/>
                <a:gd name="T53" fmla="*/ 7180 h 53"/>
                <a:gd name="T54" fmla="*/ 6147 w 60"/>
                <a:gd name="T55" fmla="*/ 6457 h 5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60" h="53">
                  <a:moveTo>
                    <a:pt x="2" y="2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" y="17"/>
                    <a:pt x="11" y="18"/>
                    <a:pt x="12" y="18"/>
                  </a:cubicBezTo>
                  <a:cubicBezTo>
                    <a:pt x="14" y="18"/>
                    <a:pt x="19" y="11"/>
                    <a:pt x="21" y="10"/>
                  </a:cubicBezTo>
                  <a:cubicBezTo>
                    <a:pt x="24" y="9"/>
                    <a:pt x="28" y="6"/>
                    <a:pt x="28" y="6"/>
                  </a:cubicBezTo>
                  <a:cubicBezTo>
                    <a:pt x="28" y="6"/>
                    <a:pt x="30" y="0"/>
                    <a:pt x="32" y="0"/>
                  </a:cubicBezTo>
                  <a:cubicBezTo>
                    <a:pt x="34" y="0"/>
                    <a:pt x="36" y="0"/>
                    <a:pt x="3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1"/>
                    <a:pt x="40" y="3"/>
                    <a:pt x="40" y="3"/>
                  </a:cubicBezTo>
                  <a:cubicBezTo>
                    <a:pt x="40" y="3"/>
                    <a:pt x="46" y="4"/>
                    <a:pt x="48" y="4"/>
                  </a:cubicBezTo>
                  <a:cubicBezTo>
                    <a:pt x="50" y="4"/>
                    <a:pt x="57" y="8"/>
                    <a:pt x="58" y="9"/>
                  </a:cubicBezTo>
                  <a:cubicBezTo>
                    <a:pt x="59" y="10"/>
                    <a:pt x="60" y="22"/>
                    <a:pt x="59" y="25"/>
                  </a:cubicBezTo>
                  <a:cubicBezTo>
                    <a:pt x="58" y="28"/>
                    <a:pt x="59" y="32"/>
                    <a:pt x="59" y="33"/>
                  </a:cubicBezTo>
                  <a:cubicBezTo>
                    <a:pt x="59" y="35"/>
                    <a:pt x="59" y="36"/>
                    <a:pt x="57" y="38"/>
                  </a:cubicBezTo>
                  <a:cubicBezTo>
                    <a:pt x="55" y="39"/>
                    <a:pt x="55" y="43"/>
                    <a:pt x="55" y="45"/>
                  </a:cubicBezTo>
                  <a:cubicBezTo>
                    <a:pt x="55" y="46"/>
                    <a:pt x="54" y="47"/>
                    <a:pt x="51" y="49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5" y="52"/>
                    <a:pt x="41" y="52"/>
                    <a:pt x="39" y="52"/>
                  </a:cubicBezTo>
                  <a:cubicBezTo>
                    <a:pt x="37" y="52"/>
                    <a:pt x="34" y="51"/>
                    <a:pt x="32" y="50"/>
                  </a:cubicBezTo>
                  <a:cubicBezTo>
                    <a:pt x="31" y="50"/>
                    <a:pt x="30" y="49"/>
                    <a:pt x="30" y="49"/>
                  </a:cubicBezTo>
                  <a:cubicBezTo>
                    <a:pt x="27" y="48"/>
                    <a:pt x="21" y="46"/>
                    <a:pt x="20" y="45"/>
                  </a:cubicBezTo>
                  <a:cubicBezTo>
                    <a:pt x="20" y="44"/>
                    <a:pt x="19" y="38"/>
                    <a:pt x="19" y="38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3" y="35"/>
                    <a:pt x="11" y="34"/>
                  </a:cubicBezTo>
                  <a:cubicBezTo>
                    <a:pt x="8" y="32"/>
                    <a:pt x="4" y="24"/>
                    <a:pt x="2" y="22"/>
                  </a:cubicBezTo>
                  <a:lnTo>
                    <a:pt x="2" y="20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19" name="Freeform 110"/>
            <p:cNvSpPr>
              <a:spLocks/>
            </p:cNvSpPr>
            <p:nvPr/>
          </p:nvSpPr>
          <p:spPr bwMode="auto">
            <a:xfrm>
              <a:off x="6162225" y="4895136"/>
              <a:ext cx="178460" cy="144103"/>
            </a:xfrm>
            <a:custGeom>
              <a:avLst/>
              <a:gdLst>
                <a:gd name="T0" fmla="*/ 29059 w 64"/>
                <a:gd name="T1" fmla="*/ 18500 h 54"/>
                <a:gd name="T2" fmla="*/ 0 w 64"/>
                <a:gd name="T3" fmla="*/ 14416 h 54"/>
                <a:gd name="T4" fmla="*/ 0 w 64"/>
                <a:gd name="T5" fmla="*/ 5677 h 54"/>
                <a:gd name="T6" fmla="*/ 52781 w 64"/>
                <a:gd name="T7" fmla="*/ 5677 h 54"/>
                <a:gd name="T8" fmla="*/ 48129 w 64"/>
                <a:gd name="T9" fmla="*/ 0 h 54"/>
                <a:gd name="T10" fmla="*/ 83086 w 64"/>
                <a:gd name="T11" fmla="*/ 734 h 54"/>
                <a:gd name="T12" fmla="*/ 108614 w 64"/>
                <a:gd name="T13" fmla="*/ 2393 h 54"/>
                <a:gd name="T14" fmla="*/ 127796 w 64"/>
                <a:gd name="T15" fmla="*/ 1531 h 54"/>
                <a:gd name="T16" fmla="*/ 160302 w 64"/>
                <a:gd name="T17" fmla="*/ 4614 h 54"/>
                <a:gd name="T18" fmla="*/ 185778 w 64"/>
                <a:gd name="T19" fmla="*/ 6665 h 54"/>
                <a:gd name="T20" fmla="*/ 206319 w 64"/>
                <a:gd name="T21" fmla="*/ 10754 h 54"/>
                <a:gd name="T22" fmla="*/ 206319 w 64"/>
                <a:gd name="T23" fmla="*/ 11205 h 54"/>
                <a:gd name="T24" fmla="*/ 206319 w 64"/>
                <a:gd name="T25" fmla="*/ 12831 h 54"/>
                <a:gd name="T26" fmla="*/ 206319 w 64"/>
                <a:gd name="T27" fmla="*/ 12831 h 54"/>
                <a:gd name="T28" fmla="*/ 195519 w 64"/>
                <a:gd name="T29" fmla="*/ 12831 h 54"/>
                <a:gd name="T30" fmla="*/ 181812 w 64"/>
                <a:gd name="T31" fmla="*/ 12831 h 54"/>
                <a:gd name="T32" fmla="*/ 170922 w 64"/>
                <a:gd name="T33" fmla="*/ 15047 h 54"/>
                <a:gd name="T34" fmla="*/ 147451 w 64"/>
                <a:gd name="T35" fmla="*/ 16328 h 54"/>
                <a:gd name="T36" fmla="*/ 118049 w 64"/>
                <a:gd name="T37" fmla="*/ 19393 h 54"/>
                <a:gd name="T38" fmla="*/ 79714 w 64"/>
                <a:gd name="T39" fmla="*/ 18534 h 54"/>
                <a:gd name="T40" fmla="*/ 73344 w 64"/>
                <a:gd name="T41" fmla="*/ 18500 h 54"/>
                <a:gd name="T42" fmla="*/ 29059 w 64"/>
                <a:gd name="T43" fmla="*/ 18500 h 5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4" h="54">
                  <a:moveTo>
                    <a:pt x="9" y="51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26" y="2"/>
                    <a:pt x="26" y="2"/>
                  </a:cubicBezTo>
                  <a:cubicBezTo>
                    <a:pt x="26" y="2"/>
                    <a:pt x="32" y="7"/>
                    <a:pt x="34" y="7"/>
                  </a:cubicBezTo>
                  <a:cubicBezTo>
                    <a:pt x="37" y="7"/>
                    <a:pt x="40" y="2"/>
                    <a:pt x="40" y="4"/>
                  </a:cubicBezTo>
                  <a:cubicBezTo>
                    <a:pt x="42" y="6"/>
                    <a:pt x="47" y="11"/>
                    <a:pt x="50" y="13"/>
                  </a:cubicBezTo>
                  <a:cubicBezTo>
                    <a:pt x="52" y="16"/>
                    <a:pt x="55" y="19"/>
                    <a:pt x="58" y="1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1"/>
                  </a:cubicBezTo>
                  <a:cubicBezTo>
                    <a:pt x="64" y="31"/>
                    <a:pt x="64" y="34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59" y="36"/>
                    <a:pt x="57" y="36"/>
                  </a:cubicBezTo>
                  <a:cubicBezTo>
                    <a:pt x="55" y="36"/>
                    <a:pt x="53" y="42"/>
                    <a:pt x="53" y="42"/>
                  </a:cubicBezTo>
                  <a:cubicBezTo>
                    <a:pt x="53" y="42"/>
                    <a:pt x="49" y="45"/>
                    <a:pt x="46" y="46"/>
                  </a:cubicBezTo>
                  <a:cubicBezTo>
                    <a:pt x="44" y="47"/>
                    <a:pt x="39" y="54"/>
                    <a:pt x="37" y="54"/>
                  </a:cubicBezTo>
                  <a:cubicBezTo>
                    <a:pt x="36" y="54"/>
                    <a:pt x="29" y="53"/>
                    <a:pt x="25" y="52"/>
                  </a:cubicBezTo>
                  <a:cubicBezTo>
                    <a:pt x="24" y="52"/>
                    <a:pt x="23" y="52"/>
                    <a:pt x="23" y="51"/>
                  </a:cubicBezTo>
                  <a:cubicBezTo>
                    <a:pt x="22" y="50"/>
                    <a:pt x="15" y="51"/>
                    <a:pt x="9" y="5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20" name="Freeform 111"/>
            <p:cNvSpPr>
              <a:spLocks/>
            </p:cNvSpPr>
            <p:nvPr/>
          </p:nvSpPr>
          <p:spPr bwMode="auto">
            <a:xfrm>
              <a:off x="6187479" y="3411612"/>
              <a:ext cx="203714" cy="134866"/>
            </a:xfrm>
            <a:custGeom>
              <a:avLst/>
              <a:gdLst>
                <a:gd name="T0" fmla="*/ 15511 w 73"/>
                <a:gd name="T1" fmla="*/ 13495 h 51"/>
                <a:gd name="T2" fmla="*/ 0 w 73"/>
                <a:gd name="T3" fmla="*/ 12346 h 51"/>
                <a:gd name="T4" fmla="*/ 19713 w 73"/>
                <a:gd name="T5" fmla="*/ 9961 h 51"/>
                <a:gd name="T6" fmla="*/ 9358 w 73"/>
                <a:gd name="T7" fmla="*/ 7077 h 51"/>
                <a:gd name="T8" fmla="*/ 42615 w 73"/>
                <a:gd name="T9" fmla="*/ 6674 h 51"/>
                <a:gd name="T10" fmla="*/ 60740 w 73"/>
                <a:gd name="T11" fmla="*/ 5624 h 51"/>
                <a:gd name="T12" fmla="*/ 68537 w 73"/>
                <a:gd name="T13" fmla="*/ 4165 h 51"/>
                <a:gd name="T14" fmla="*/ 84329 w 73"/>
                <a:gd name="T15" fmla="*/ 3454 h 51"/>
                <a:gd name="T16" fmla="*/ 88464 w 73"/>
                <a:gd name="T17" fmla="*/ 1516 h 51"/>
                <a:gd name="T18" fmla="*/ 122372 w 73"/>
                <a:gd name="T19" fmla="*/ 0 h 51"/>
                <a:gd name="T20" fmla="*/ 157035 w 73"/>
                <a:gd name="T21" fmla="*/ 693 h 51"/>
                <a:gd name="T22" fmla="*/ 191749 w 73"/>
                <a:gd name="T23" fmla="*/ 1516 h 51"/>
                <a:gd name="T24" fmla="*/ 191749 w 73"/>
                <a:gd name="T25" fmla="*/ 4165 h 51"/>
                <a:gd name="T26" fmla="*/ 211844 w 73"/>
                <a:gd name="T27" fmla="*/ 6587 h 51"/>
                <a:gd name="T28" fmla="*/ 232852 w 73"/>
                <a:gd name="T29" fmla="*/ 9428 h 51"/>
                <a:gd name="T30" fmla="*/ 202836 w 73"/>
                <a:gd name="T31" fmla="*/ 9961 h 51"/>
                <a:gd name="T32" fmla="*/ 211844 w 73"/>
                <a:gd name="T33" fmla="*/ 12701 h 51"/>
                <a:gd name="T34" fmla="*/ 194067 w 73"/>
                <a:gd name="T35" fmla="*/ 13495 h 51"/>
                <a:gd name="T36" fmla="*/ 184550 w 73"/>
                <a:gd name="T37" fmla="*/ 15556 h 51"/>
                <a:gd name="T38" fmla="*/ 157035 w 73"/>
                <a:gd name="T39" fmla="*/ 15145 h 51"/>
                <a:gd name="T40" fmla="*/ 113602 w 73"/>
                <a:gd name="T41" fmla="*/ 14258 h 51"/>
                <a:gd name="T42" fmla="*/ 64790 w 73"/>
                <a:gd name="T43" fmla="*/ 13495 h 51"/>
                <a:gd name="T44" fmla="*/ 39088 w 73"/>
                <a:gd name="T45" fmla="*/ 13996 h 51"/>
                <a:gd name="T46" fmla="*/ 14227 w 73"/>
                <a:gd name="T47" fmla="*/ 15071 h 51"/>
                <a:gd name="T48" fmla="*/ 14227 w 73"/>
                <a:gd name="T49" fmla="*/ 15071 h 51"/>
                <a:gd name="T50" fmla="*/ 15511 w 73"/>
                <a:gd name="T51" fmla="*/ 13495 h 5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73" h="51">
                  <a:moveTo>
                    <a:pt x="5" y="43"/>
                  </a:moveTo>
                  <a:cubicBezTo>
                    <a:pt x="3" y="42"/>
                    <a:pt x="0" y="41"/>
                    <a:pt x="0" y="40"/>
                  </a:cubicBezTo>
                  <a:cubicBezTo>
                    <a:pt x="0" y="39"/>
                    <a:pt x="6" y="34"/>
                    <a:pt x="6" y="32"/>
                  </a:cubicBezTo>
                  <a:cubicBezTo>
                    <a:pt x="6" y="31"/>
                    <a:pt x="4" y="26"/>
                    <a:pt x="3" y="23"/>
                  </a:cubicBezTo>
                  <a:cubicBezTo>
                    <a:pt x="3" y="23"/>
                    <a:pt x="11" y="23"/>
                    <a:pt x="13" y="22"/>
                  </a:cubicBezTo>
                  <a:cubicBezTo>
                    <a:pt x="14" y="20"/>
                    <a:pt x="18" y="19"/>
                    <a:pt x="19" y="18"/>
                  </a:cubicBezTo>
                  <a:cubicBezTo>
                    <a:pt x="20" y="17"/>
                    <a:pt x="21" y="13"/>
                    <a:pt x="21" y="13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9" y="5"/>
                    <a:pt x="38" y="0"/>
                    <a:pt x="38" y="0"/>
                  </a:cubicBezTo>
                  <a:cubicBezTo>
                    <a:pt x="40" y="0"/>
                    <a:pt x="45" y="1"/>
                    <a:pt x="48" y="2"/>
                  </a:cubicBezTo>
                  <a:cubicBezTo>
                    <a:pt x="51" y="3"/>
                    <a:pt x="57" y="3"/>
                    <a:pt x="59" y="5"/>
                  </a:cubicBezTo>
                  <a:cubicBezTo>
                    <a:pt x="61" y="7"/>
                    <a:pt x="59" y="11"/>
                    <a:pt x="59" y="13"/>
                  </a:cubicBezTo>
                  <a:cubicBezTo>
                    <a:pt x="59" y="15"/>
                    <a:pt x="63" y="18"/>
                    <a:pt x="65" y="21"/>
                  </a:cubicBezTo>
                  <a:cubicBezTo>
                    <a:pt x="67" y="23"/>
                    <a:pt x="73" y="28"/>
                    <a:pt x="72" y="30"/>
                  </a:cubicBezTo>
                  <a:cubicBezTo>
                    <a:pt x="72" y="32"/>
                    <a:pt x="63" y="30"/>
                    <a:pt x="63" y="32"/>
                  </a:cubicBezTo>
                  <a:cubicBezTo>
                    <a:pt x="62" y="33"/>
                    <a:pt x="65" y="41"/>
                    <a:pt x="65" y="41"/>
                  </a:cubicBezTo>
                  <a:cubicBezTo>
                    <a:pt x="63" y="42"/>
                    <a:pt x="61" y="43"/>
                    <a:pt x="60" y="43"/>
                  </a:cubicBezTo>
                  <a:cubicBezTo>
                    <a:pt x="59" y="44"/>
                    <a:pt x="59" y="49"/>
                    <a:pt x="57" y="50"/>
                  </a:cubicBezTo>
                  <a:cubicBezTo>
                    <a:pt x="56" y="51"/>
                    <a:pt x="51" y="50"/>
                    <a:pt x="48" y="49"/>
                  </a:cubicBezTo>
                  <a:cubicBezTo>
                    <a:pt x="45" y="49"/>
                    <a:pt x="38" y="47"/>
                    <a:pt x="35" y="46"/>
                  </a:cubicBezTo>
                  <a:cubicBezTo>
                    <a:pt x="33" y="46"/>
                    <a:pt x="23" y="43"/>
                    <a:pt x="20" y="43"/>
                  </a:cubicBezTo>
                  <a:cubicBezTo>
                    <a:pt x="17" y="43"/>
                    <a:pt x="14" y="44"/>
                    <a:pt x="12" y="45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6"/>
                    <a:pt x="6" y="45"/>
                    <a:pt x="5" y="4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21" name="Freeform 112"/>
            <p:cNvSpPr>
              <a:spLocks/>
            </p:cNvSpPr>
            <p:nvPr/>
          </p:nvSpPr>
          <p:spPr bwMode="auto">
            <a:xfrm>
              <a:off x="6165592" y="3511376"/>
              <a:ext cx="383857" cy="216155"/>
            </a:xfrm>
            <a:custGeom>
              <a:avLst/>
              <a:gdLst>
                <a:gd name="T0" fmla="*/ 3243 w 138"/>
                <a:gd name="T1" fmla="*/ 11820 h 82"/>
                <a:gd name="T2" fmla="*/ 13777 w 138"/>
                <a:gd name="T3" fmla="*/ 10236 h 82"/>
                <a:gd name="T4" fmla="*/ 22762 w 138"/>
                <a:gd name="T5" fmla="*/ 10179 h 82"/>
                <a:gd name="T6" fmla="*/ 19081 w 138"/>
                <a:gd name="T7" fmla="*/ 8284 h 82"/>
                <a:gd name="T8" fmla="*/ 37607 w 138"/>
                <a:gd name="T9" fmla="*/ 6399 h 82"/>
                <a:gd name="T10" fmla="*/ 48343 w 138"/>
                <a:gd name="T11" fmla="*/ 5709 h 82"/>
                <a:gd name="T12" fmla="*/ 37607 w 138"/>
                <a:gd name="T13" fmla="*/ 3349 h 82"/>
                <a:gd name="T14" fmla="*/ 37607 w 138"/>
                <a:gd name="T15" fmla="*/ 2939 h 82"/>
                <a:gd name="T16" fmla="*/ 37607 w 138"/>
                <a:gd name="T17" fmla="*/ 2939 h 82"/>
                <a:gd name="T18" fmla="*/ 62133 w 138"/>
                <a:gd name="T19" fmla="*/ 2060 h 82"/>
                <a:gd name="T20" fmla="*/ 86053 w 138"/>
                <a:gd name="T21" fmla="*/ 1444 h 82"/>
                <a:gd name="T22" fmla="*/ 131961 w 138"/>
                <a:gd name="T23" fmla="*/ 2347 h 82"/>
                <a:gd name="T24" fmla="*/ 173833 w 138"/>
                <a:gd name="T25" fmla="*/ 3349 h 82"/>
                <a:gd name="T26" fmla="*/ 199310 w 138"/>
                <a:gd name="T27" fmla="*/ 3504 h 82"/>
                <a:gd name="T28" fmla="*/ 209317 w 138"/>
                <a:gd name="T29" fmla="*/ 1444 h 82"/>
                <a:gd name="T30" fmla="*/ 225330 w 138"/>
                <a:gd name="T31" fmla="*/ 965 h 82"/>
                <a:gd name="T32" fmla="*/ 246128 w 138"/>
                <a:gd name="T33" fmla="*/ 676 h 82"/>
                <a:gd name="T34" fmla="*/ 277666 w 138"/>
                <a:gd name="T35" fmla="*/ 1 h 82"/>
                <a:gd name="T36" fmla="*/ 287202 w 138"/>
                <a:gd name="T37" fmla="*/ 3349 h 82"/>
                <a:gd name="T38" fmla="*/ 308320 w 138"/>
                <a:gd name="T39" fmla="*/ 4001 h 82"/>
                <a:gd name="T40" fmla="*/ 317194 w 138"/>
                <a:gd name="T41" fmla="*/ 5983 h 82"/>
                <a:gd name="T42" fmla="*/ 378088 w 138"/>
                <a:gd name="T43" fmla="*/ 7370 h 82"/>
                <a:gd name="T44" fmla="*/ 425721 w 138"/>
                <a:gd name="T45" fmla="*/ 8853 h 82"/>
                <a:gd name="T46" fmla="*/ 421126 w 138"/>
                <a:gd name="T47" fmla="*/ 11820 h 82"/>
                <a:gd name="T48" fmla="*/ 412047 w 138"/>
                <a:gd name="T49" fmla="*/ 13201 h 82"/>
                <a:gd name="T50" fmla="*/ 382685 w 138"/>
                <a:gd name="T51" fmla="*/ 13879 h 82"/>
                <a:gd name="T52" fmla="*/ 382685 w 138"/>
                <a:gd name="T53" fmla="*/ 15324 h 82"/>
                <a:gd name="T54" fmla="*/ 363607 w 138"/>
                <a:gd name="T55" fmla="*/ 15659 h 82"/>
                <a:gd name="T56" fmla="*/ 302629 w 138"/>
                <a:gd name="T57" fmla="*/ 18024 h 82"/>
                <a:gd name="T58" fmla="*/ 297456 w 138"/>
                <a:gd name="T59" fmla="*/ 19314 h 82"/>
                <a:gd name="T60" fmla="*/ 315298 w 138"/>
                <a:gd name="T61" fmla="*/ 20322 h 82"/>
                <a:gd name="T62" fmla="*/ 326025 w 138"/>
                <a:gd name="T63" fmla="*/ 20322 h 82"/>
                <a:gd name="T64" fmla="*/ 326025 w 138"/>
                <a:gd name="T65" fmla="*/ 21410 h 82"/>
                <a:gd name="T66" fmla="*/ 292526 w 138"/>
                <a:gd name="T67" fmla="*/ 22791 h 82"/>
                <a:gd name="T68" fmla="*/ 268399 w 138"/>
                <a:gd name="T69" fmla="*/ 23663 h 82"/>
                <a:gd name="T70" fmla="*/ 268399 w 138"/>
                <a:gd name="T71" fmla="*/ 21410 h 82"/>
                <a:gd name="T72" fmla="*/ 246128 w 138"/>
                <a:gd name="T73" fmla="*/ 20839 h 82"/>
                <a:gd name="T74" fmla="*/ 271422 w 138"/>
                <a:gd name="T75" fmla="*/ 19314 h 82"/>
                <a:gd name="T76" fmla="*/ 259887 w 138"/>
                <a:gd name="T77" fmla="*/ 18326 h 82"/>
                <a:gd name="T78" fmla="*/ 228408 w 138"/>
                <a:gd name="T79" fmla="*/ 18326 h 82"/>
                <a:gd name="T80" fmla="*/ 228408 w 138"/>
                <a:gd name="T81" fmla="*/ 16865 h 82"/>
                <a:gd name="T82" fmla="*/ 203113 w 138"/>
                <a:gd name="T83" fmla="*/ 17380 h 82"/>
                <a:gd name="T84" fmla="*/ 180325 w 138"/>
                <a:gd name="T85" fmla="*/ 19803 h 82"/>
                <a:gd name="T86" fmla="*/ 175021 w 138"/>
                <a:gd name="T87" fmla="*/ 20723 h 82"/>
                <a:gd name="T88" fmla="*/ 164282 w 138"/>
                <a:gd name="T89" fmla="*/ 20723 h 82"/>
                <a:gd name="T90" fmla="*/ 154277 w 138"/>
                <a:gd name="T91" fmla="*/ 20322 h 82"/>
                <a:gd name="T92" fmla="*/ 160489 w 138"/>
                <a:gd name="T93" fmla="*/ 18024 h 82"/>
                <a:gd name="T94" fmla="*/ 173833 w 138"/>
                <a:gd name="T95" fmla="*/ 17380 h 82"/>
                <a:gd name="T96" fmla="*/ 173833 w 138"/>
                <a:gd name="T97" fmla="*/ 15005 h 82"/>
                <a:gd name="T98" fmla="*/ 169604 w 138"/>
                <a:gd name="T99" fmla="*/ 13619 h 82"/>
                <a:gd name="T100" fmla="*/ 145730 w 138"/>
                <a:gd name="T101" fmla="*/ 12520 h 82"/>
                <a:gd name="T102" fmla="*/ 117415 w 138"/>
                <a:gd name="T103" fmla="*/ 12181 h 82"/>
                <a:gd name="T104" fmla="*/ 109144 w 138"/>
                <a:gd name="T105" fmla="*/ 12181 h 82"/>
                <a:gd name="T106" fmla="*/ 89449 w 138"/>
                <a:gd name="T107" fmla="*/ 13201 h 82"/>
                <a:gd name="T108" fmla="*/ 66061 w 138"/>
                <a:gd name="T109" fmla="*/ 14019 h 82"/>
                <a:gd name="T110" fmla="*/ 57626 w 138"/>
                <a:gd name="T111" fmla="*/ 13619 h 82"/>
                <a:gd name="T112" fmla="*/ 39921 w 138"/>
                <a:gd name="T113" fmla="*/ 13201 h 82"/>
                <a:gd name="T114" fmla="*/ 19081 w 138"/>
                <a:gd name="T115" fmla="*/ 13027 h 82"/>
                <a:gd name="T116" fmla="*/ 3243 w 138"/>
                <a:gd name="T117" fmla="*/ 11820 h 8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38" h="82">
                  <a:moveTo>
                    <a:pt x="1" y="40"/>
                  </a:moveTo>
                  <a:cubicBezTo>
                    <a:pt x="1" y="39"/>
                    <a:pt x="3" y="35"/>
                    <a:pt x="4" y="35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7" y="33"/>
                    <a:pt x="5" y="29"/>
                    <a:pt x="6" y="28"/>
                  </a:cubicBezTo>
                  <a:cubicBezTo>
                    <a:pt x="6" y="28"/>
                    <a:pt x="12" y="22"/>
                    <a:pt x="12" y="22"/>
                  </a:cubicBezTo>
                  <a:cubicBezTo>
                    <a:pt x="13" y="21"/>
                    <a:pt x="16" y="22"/>
                    <a:pt x="16" y="19"/>
                  </a:cubicBezTo>
                  <a:cubicBezTo>
                    <a:pt x="16" y="17"/>
                    <a:pt x="12" y="14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2" y="6"/>
                    <a:pt x="25" y="5"/>
                    <a:pt x="28" y="5"/>
                  </a:cubicBezTo>
                  <a:cubicBezTo>
                    <a:pt x="31" y="5"/>
                    <a:pt x="41" y="8"/>
                    <a:pt x="43" y="8"/>
                  </a:cubicBezTo>
                  <a:cubicBezTo>
                    <a:pt x="46" y="9"/>
                    <a:pt x="53" y="11"/>
                    <a:pt x="56" y="11"/>
                  </a:cubicBezTo>
                  <a:cubicBezTo>
                    <a:pt x="59" y="12"/>
                    <a:pt x="64" y="13"/>
                    <a:pt x="65" y="12"/>
                  </a:cubicBezTo>
                  <a:cubicBezTo>
                    <a:pt x="67" y="11"/>
                    <a:pt x="67" y="6"/>
                    <a:pt x="68" y="5"/>
                  </a:cubicBezTo>
                  <a:cubicBezTo>
                    <a:pt x="69" y="5"/>
                    <a:pt x="71" y="4"/>
                    <a:pt x="73" y="3"/>
                  </a:cubicBezTo>
                  <a:cubicBezTo>
                    <a:pt x="76" y="3"/>
                    <a:pt x="79" y="2"/>
                    <a:pt x="80" y="2"/>
                  </a:cubicBezTo>
                  <a:cubicBezTo>
                    <a:pt x="82" y="2"/>
                    <a:pt x="89" y="0"/>
                    <a:pt x="90" y="1"/>
                  </a:cubicBezTo>
                  <a:cubicBezTo>
                    <a:pt x="92" y="2"/>
                    <a:pt x="93" y="8"/>
                    <a:pt x="93" y="11"/>
                  </a:cubicBezTo>
                  <a:cubicBezTo>
                    <a:pt x="93" y="14"/>
                    <a:pt x="98" y="12"/>
                    <a:pt x="100" y="13"/>
                  </a:cubicBezTo>
                  <a:cubicBezTo>
                    <a:pt x="101" y="15"/>
                    <a:pt x="102" y="19"/>
                    <a:pt x="103" y="20"/>
                  </a:cubicBezTo>
                  <a:cubicBezTo>
                    <a:pt x="105" y="22"/>
                    <a:pt x="121" y="24"/>
                    <a:pt x="123" y="25"/>
                  </a:cubicBezTo>
                  <a:cubicBezTo>
                    <a:pt x="125" y="26"/>
                    <a:pt x="138" y="29"/>
                    <a:pt x="138" y="30"/>
                  </a:cubicBezTo>
                  <a:cubicBezTo>
                    <a:pt x="138" y="32"/>
                    <a:pt x="137" y="38"/>
                    <a:pt x="137" y="40"/>
                  </a:cubicBezTo>
                  <a:cubicBezTo>
                    <a:pt x="137" y="42"/>
                    <a:pt x="135" y="46"/>
                    <a:pt x="134" y="45"/>
                  </a:cubicBezTo>
                  <a:cubicBezTo>
                    <a:pt x="133" y="45"/>
                    <a:pt x="125" y="45"/>
                    <a:pt x="124" y="47"/>
                  </a:cubicBezTo>
                  <a:cubicBezTo>
                    <a:pt x="124" y="52"/>
                    <a:pt x="124" y="52"/>
                    <a:pt x="124" y="52"/>
                  </a:cubicBezTo>
                  <a:cubicBezTo>
                    <a:pt x="122" y="52"/>
                    <a:pt x="119" y="53"/>
                    <a:pt x="118" y="53"/>
                  </a:cubicBezTo>
                  <a:cubicBezTo>
                    <a:pt x="116" y="53"/>
                    <a:pt x="99" y="60"/>
                    <a:pt x="98" y="61"/>
                  </a:cubicBezTo>
                  <a:cubicBezTo>
                    <a:pt x="96" y="62"/>
                    <a:pt x="96" y="64"/>
                    <a:pt x="96" y="65"/>
                  </a:cubicBezTo>
                  <a:cubicBezTo>
                    <a:pt x="97" y="65"/>
                    <a:pt x="101" y="69"/>
                    <a:pt x="102" y="69"/>
                  </a:cubicBezTo>
                  <a:cubicBezTo>
                    <a:pt x="104" y="69"/>
                    <a:pt x="106" y="69"/>
                    <a:pt x="106" y="69"/>
                  </a:cubicBezTo>
                  <a:cubicBezTo>
                    <a:pt x="107" y="70"/>
                    <a:pt x="106" y="73"/>
                    <a:pt x="106" y="73"/>
                  </a:cubicBezTo>
                  <a:cubicBezTo>
                    <a:pt x="102" y="76"/>
                    <a:pt x="97" y="76"/>
                    <a:pt x="95" y="77"/>
                  </a:cubicBezTo>
                  <a:cubicBezTo>
                    <a:pt x="94" y="78"/>
                    <a:pt x="88" y="82"/>
                    <a:pt x="87" y="80"/>
                  </a:cubicBezTo>
                  <a:cubicBezTo>
                    <a:pt x="86" y="77"/>
                    <a:pt x="89" y="74"/>
                    <a:pt x="87" y="73"/>
                  </a:cubicBezTo>
                  <a:cubicBezTo>
                    <a:pt x="85" y="72"/>
                    <a:pt x="80" y="72"/>
                    <a:pt x="80" y="71"/>
                  </a:cubicBezTo>
                  <a:cubicBezTo>
                    <a:pt x="79" y="70"/>
                    <a:pt x="88" y="66"/>
                    <a:pt x="88" y="65"/>
                  </a:cubicBezTo>
                  <a:cubicBezTo>
                    <a:pt x="88" y="64"/>
                    <a:pt x="86" y="62"/>
                    <a:pt x="84" y="62"/>
                  </a:cubicBezTo>
                  <a:cubicBezTo>
                    <a:pt x="83" y="61"/>
                    <a:pt x="75" y="64"/>
                    <a:pt x="74" y="62"/>
                  </a:cubicBezTo>
                  <a:cubicBezTo>
                    <a:pt x="72" y="60"/>
                    <a:pt x="76" y="58"/>
                    <a:pt x="74" y="57"/>
                  </a:cubicBezTo>
                  <a:cubicBezTo>
                    <a:pt x="72" y="56"/>
                    <a:pt x="67" y="58"/>
                    <a:pt x="66" y="59"/>
                  </a:cubicBezTo>
                  <a:cubicBezTo>
                    <a:pt x="64" y="59"/>
                    <a:pt x="61" y="66"/>
                    <a:pt x="59" y="67"/>
                  </a:cubicBezTo>
                  <a:cubicBezTo>
                    <a:pt x="58" y="68"/>
                    <a:pt x="57" y="69"/>
                    <a:pt x="57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1" y="69"/>
                    <a:pt x="50" y="69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0"/>
                    <a:pt x="56" y="59"/>
                    <a:pt x="56" y="59"/>
                  </a:cubicBezTo>
                  <a:cubicBezTo>
                    <a:pt x="56" y="59"/>
                    <a:pt x="57" y="53"/>
                    <a:pt x="56" y="51"/>
                  </a:cubicBezTo>
                  <a:cubicBezTo>
                    <a:pt x="55" y="50"/>
                    <a:pt x="55" y="48"/>
                    <a:pt x="55" y="46"/>
                  </a:cubicBezTo>
                  <a:cubicBezTo>
                    <a:pt x="54" y="44"/>
                    <a:pt x="49" y="43"/>
                    <a:pt x="47" y="42"/>
                  </a:cubicBezTo>
                  <a:cubicBezTo>
                    <a:pt x="45" y="41"/>
                    <a:pt x="39" y="41"/>
                    <a:pt x="38" y="41"/>
                  </a:cubicBezTo>
                  <a:cubicBezTo>
                    <a:pt x="37" y="41"/>
                    <a:pt x="37" y="41"/>
                    <a:pt x="36" y="41"/>
                  </a:cubicBezTo>
                  <a:cubicBezTo>
                    <a:pt x="33" y="43"/>
                    <a:pt x="30" y="45"/>
                    <a:pt x="29" y="45"/>
                  </a:cubicBezTo>
                  <a:cubicBezTo>
                    <a:pt x="28" y="45"/>
                    <a:pt x="24" y="47"/>
                    <a:pt x="22" y="48"/>
                  </a:cubicBezTo>
                  <a:cubicBezTo>
                    <a:pt x="21" y="48"/>
                    <a:pt x="20" y="47"/>
                    <a:pt x="19" y="46"/>
                  </a:cubicBezTo>
                  <a:cubicBezTo>
                    <a:pt x="17" y="45"/>
                    <a:pt x="14" y="45"/>
                    <a:pt x="13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3"/>
                    <a:pt x="0" y="41"/>
                    <a:pt x="1" y="4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22" name="Freeform 113"/>
            <p:cNvSpPr>
              <a:spLocks/>
            </p:cNvSpPr>
            <p:nvPr/>
          </p:nvSpPr>
          <p:spPr bwMode="auto">
            <a:xfrm>
              <a:off x="6170643" y="3721988"/>
              <a:ext cx="134687" cy="68357"/>
            </a:xfrm>
            <a:custGeom>
              <a:avLst/>
              <a:gdLst>
                <a:gd name="T0" fmla="*/ 3688 w 48"/>
                <a:gd name="T1" fmla="*/ 2151 h 27"/>
                <a:gd name="T2" fmla="*/ 17075 w 48"/>
                <a:gd name="T3" fmla="*/ 1570 h 27"/>
                <a:gd name="T4" fmla="*/ 3688 w 48"/>
                <a:gd name="T5" fmla="*/ 610 h 27"/>
                <a:gd name="T6" fmla="*/ 6147 w 48"/>
                <a:gd name="T7" fmla="*/ 0 h 27"/>
                <a:gd name="T8" fmla="*/ 25292 w 48"/>
                <a:gd name="T9" fmla="*/ 445 h 27"/>
                <a:gd name="T10" fmla="*/ 47430 w 48"/>
                <a:gd name="T11" fmla="*/ 836 h 27"/>
                <a:gd name="T12" fmla="*/ 89597 w 48"/>
                <a:gd name="T13" fmla="*/ 932 h 27"/>
                <a:gd name="T14" fmla="*/ 117092 w 48"/>
                <a:gd name="T15" fmla="*/ 325 h 27"/>
                <a:gd name="T16" fmla="*/ 149328 w 48"/>
                <a:gd name="T17" fmla="*/ 445 h 27"/>
                <a:gd name="T18" fmla="*/ 169967 w 48"/>
                <a:gd name="T19" fmla="*/ 610 h 27"/>
                <a:gd name="T20" fmla="*/ 169967 w 48"/>
                <a:gd name="T21" fmla="*/ 1146 h 27"/>
                <a:gd name="T22" fmla="*/ 143880 w 48"/>
                <a:gd name="T23" fmla="*/ 1570 h 27"/>
                <a:gd name="T24" fmla="*/ 143880 w 48"/>
                <a:gd name="T25" fmla="*/ 2612 h 27"/>
                <a:gd name="T26" fmla="*/ 143880 w 48"/>
                <a:gd name="T27" fmla="*/ 2948 h 27"/>
                <a:gd name="T28" fmla="*/ 131750 w 48"/>
                <a:gd name="T29" fmla="*/ 2948 h 27"/>
                <a:gd name="T30" fmla="*/ 105495 w 48"/>
                <a:gd name="T31" fmla="*/ 3286 h 27"/>
                <a:gd name="T32" fmla="*/ 91797 w 48"/>
                <a:gd name="T33" fmla="*/ 3864 h 27"/>
                <a:gd name="T34" fmla="*/ 67453 w 48"/>
                <a:gd name="T35" fmla="*/ 3722 h 27"/>
                <a:gd name="T36" fmla="*/ 37978 w 48"/>
                <a:gd name="T37" fmla="*/ 3722 h 27"/>
                <a:gd name="T38" fmla="*/ 17075 w 48"/>
                <a:gd name="T39" fmla="*/ 4230 h 27"/>
                <a:gd name="T40" fmla="*/ 17075 w 48"/>
                <a:gd name="T41" fmla="*/ 3579 h 27"/>
                <a:gd name="T42" fmla="*/ 0 w 48"/>
                <a:gd name="T43" fmla="*/ 2820 h 27"/>
                <a:gd name="T44" fmla="*/ 3688 w 48"/>
                <a:gd name="T45" fmla="*/ 2151 h 2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8" h="27">
                  <a:moveTo>
                    <a:pt x="1" y="14"/>
                  </a:moveTo>
                  <a:cubicBezTo>
                    <a:pt x="2" y="12"/>
                    <a:pt x="5" y="12"/>
                    <a:pt x="5" y="10"/>
                  </a:cubicBezTo>
                  <a:cubicBezTo>
                    <a:pt x="4" y="9"/>
                    <a:pt x="1" y="6"/>
                    <a:pt x="1" y="4"/>
                  </a:cubicBezTo>
                  <a:cubicBezTo>
                    <a:pt x="1" y="3"/>
                    <a:pt x="1" y="2"/>
                    <a:pt x="2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12" y="5"/>
                    <a:pt x="13" y="5"/>
                  </a:cubicBezTo>
                  <a:cubicBezTo>
                    <a:pt x="15" y="5"/>
                    <a:pt x="23" y="6"/>
                    <a:pt x="25" y="6"/>
                  </a:cubicBezTo>
                  <a:cubicBezTo>
                    <a:pt x="27" y="6"/>
                    <a:pt x="30" y="2"/>
                    <a:pt x="33" y="2"/>
                  </a:cubicBezTo>
                  <a:cubicBezTo>
                    <a:pt x="35" y="2"/>
                    <a:pt x="40" y="3"/>
                    <a:pt x="42" y="3"/>
                  </a:cubicBezTo>
                  <a:cubicBezTo>
                    <a:pt x="43" y="3"/>
                    <a:pt x="48" y="4"/>
                    <a:pt x="48" y="4"/>
                  </a:cubicBezTo>
                  <a:cubicBezTo>
                    <a:pt x="48" y="5"/>
                    <a:pt x="48" y="6"/>
                    <a:pt x="48" y="7"/>
                  </a:cubicBezTo>
                  <a:cubicBezTo>
                    <a:pt x="48" y="8"/>
                    <a:pt x="42" y="9"/>
                    <a:pt x="41" y="10"/>
                  </a:cubicBezTo>
                  <a:cubicBezTo>
                    <a:pt x="41" y="12"/>
                    <a:pt x="40" y="15"/>
                    <a:pt x="41" y="17"/>
                  </a:cubicBezTo>
                  <a:cubicBezTo>
                    <a:pt x="41" y="18"/>
                    <a:pt x="41" y="18"/>
                    <a:pt x="41" y="19"/>
                  </a:cubicBezTo>
                  <a:cubicBezTo>
                    <a:pt x="41" y="19"/>
                    <a:pt x="38" y="19"/>
                    <a:pt x="37" y="19"/>
                  </a:cubicBezTo>
                  <a:cubicBezTo>
                    <a:pt x="36" y="19"/>
                    <a:pt x="31" y="21"/>
                    <a:pt x="30" y="21"/>
                  </a:cubicBezTo>
                  <a:cubicBezTo>
                    <a:pt x="29" y="22"/>
                    <a:pt x="27" y="23"/>
                    <a:pt x="26" y="25"/>
                  </a:cubicBezTo>
                  <a:cubicBezTo>
                    <a:pt x="25" y="26"/>
                    <a:pt x="20" y="25"/>
                    <a:pt x="19" y="24"/>
                  </a:cubicBezTo>
                  <a:cubicBezTo>
                    <a:pt x="18" y="24"/>
                    <a:pt x="13" y="24"/>
                    <a:pt x="11" y="24"/>
                  </a:cubicBezTo>
                  <a:cubicBezTo>
                    <a:pt x="10" y="24"/>
                    <a:pt x="7" y="26"/>
                    <a:pt x="5" y="27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1"/>
                    <a:pt x="0" y="20"/>
                    <a:pt x="0" y="18"/>
                  </a:cubicBezTo>
                  <a:cubicBezTo>
                    <a:pt x="0" y="17"/>
                    <a:pt x="0" y="15"/>
                    <a:pt x="1" y="1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23" name="Freeform 114"/>
            <p:cNvSpPr>
              <a:spLocks/>
            </p:cNvSpPr>
            <p:nvPr/>
          </p:nvSpPr>
          <p:spPr bwMode="auto">
            <a:xfrm>
              <a:off x="6160542" y="3310001"/>
              <a:ext cx="129636" cy="59119"/>
            </a:xfrm>
            <a:custGeom>
              <a:avLst/>
              <a:gdLst>
                <a:gd name="T0" fmla="*/ 4782 w 47"/>
                <a:gd name="T1" fmla="*/ 3130 h 23"/>
                <a:gd name="T2" fmla="*/ 4782 w 47"/>
                <a:gd name="T3" fmla="*/ 2429 h 23"/>
                <a:gd name="T4" fmla="*/ 15991 w 47"/>
                <a:gd name="T5" fmla="*/ 1856 h 23"/>
                <a:gd name="T6" fmla="*/ 34447 w 47"/>
                <a:gd name="T7" fmla="*/ 1369 h 23"/>
                <a:gd name="T8" fmla="*/ 41049 w 47"/>
                <a:gd name="T9" fmla="*/ 569 h 23"/>
                <a:gd name="T10" fmla="*/ 72190 w 47"/>
                <a:gd name="T11" fmla="*/ 1 h 23"/>
                <a:gd name="T12" fmla="*/ 105393 w 47"/>
                <a:gd name="T13" fmla="*/ 409 h 23"/>
                <a:gd name="T14" fmla="*/ 125918 w 47"/>
                <a:gd name="T15" fmla="*/ 409 h 23"/>
                <a:gd name="T16" fmla="*/ 115199 w 47"/>
                <a:gd name="T17" fmla="*/ 2582 h 23"/>
                <a:gd name="T18" fmla="*/ 118269 w 47"/>
                <a:gd name="T19" fmla="*/ 4634 h 23"/>
                <a:gd name="T20" fmla="*/ 93001 w 47"/>
                <a:gd name="T21" fmla="*/ 4634 h 23"/>
                <a:gd name="T22" fmla="*/ 78969 w 47"/>
                <a:gd name="T23" fmla="*/ 3592 h 23"/>
                <a:gd name="T24" fmla="*/ 56434 w 47"/>
                <a:gd name="T25" fmla="*/ 3592 h 23"/>
                <a:gd name="T26" fmla="*/ 56434 w 47"/>
                <a:gd name="T27" fmla="*/ 3592 h 23"/>
                <a:gd name="T28" fmla="*/ 56434 w 47"/>
                <a:gd name="T29" fmla="*/ 2650 h 23"/>
                <a:gd name="T30" fmla="*/ 46095 w 47"/>
                <a:gd name="T31" fmla="*/ 2582 h 23"/>
                <a:gd name="T32" fmla="*/ 32908 w 47"/>
                <a:gd name="T33" fmla="*/ 2582 h 23"/>
                <a:gd name="T34" fmla="*/ 4782 w 47"/>
                <a:gd name="T35" fmla="*/ 3130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7" h="23">
                  <a:moveTo>
                    <a:pt x="2" y="16"/>
                  </a:moveTo>
                  <a:cubicBezTo>
                    <a:pt x="0" y="15"/>
                    <a:pt x="0" y="13"/>
                    <a:pt x="2" y="12"/>
                  </a:cubicBezTo>
                  <a:cubicBezTo>
                    <a:pt x="3" y="11"/>
                    <a:pt x="5" y="9"/>
                    <a:pt x="6" y="9"/>
                  </a:cubicBezTo>
                  <a:cubicBezTo>
                    <a:pt x="7" y="9"/>
                    <a:pt x="12" y="8"/>
                    <a:pt x="13" y="7"/>
                  </a:cubicBezTo>
                  <a:cubicBezTo>
                    <a:pt x="13" y="6"/>
                    <a:pt x="13" y="4"/>
                    <a:pt x="15" y="3"/>
                  </a:cubicBezTo>
                  <a:cubicBezTo>
                    <a:pt x="16" y="2"/>
                    <a:pt x="25" y="0"/>
                    <a:pt x="27" y="1"/>
                  </a:cubicBezTo>
                  <a:cubicBezTo>
                    <a:pt x="29" y="1"/>
                    <a:pt x="37" y="2"/>
                    <a:pt x="39" y="2"/>
                  </a:cubicBezTo>
                  <a:cubicBezTo>
                    <a:pt x="41" y="2"/>
                    <a:pt x="47" y="3"/>
                    <a:pt x="47" y="2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2" y="16"/>
                    <a:pt x="43" y="22"/>
                    <a:pt x="44" y="23"/>
                  </a:cubicBezTo>
                  <a:cubicBezTo>
                    <a:pt x="44" y="23"/>
                    <a:pt x="38" y="23"/>
                    <a:pt x="35" y="23"/>
                  </a:cubicBezTo>
                  <a:cubicBezTo>
                    <a:pt x="33" y="23"/>
                    <a:pt x="31" y="18"/>
                    <a:pt x="29" y="18"/>
                  </a:cubicBezTo>
                  <a:cubicBezTo>
                    <a:pt x="26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7"/>
                    <a:pt x="21" y="15"/>
                    <a:pt x="21" y="14"/>
                  </a:cubicBezTo>
                  <a:cubicBezTo>
                    <a:pt x="21" y="13"/>
                    <a:pt x="18" y="14"/>
                    <a:pt x="17" y="13"/>
                  </a:cubicBezTo>
                  <a:cubicBezTo>
                    <a:pt x="15" y="13"/>
                    <a:pt x="13" y="12"/>
                    <a:pt x="12" y="13"/>
                  </a:cubicBezTo>
                  <a:cubicBezTo>
                    <a:pt x="10" y="13"/>
                    <a:pt x="4" y="17"/>
                    <a:pt x="2" y="1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24" name="Group 115"/>
            <p:cNvGrpSpPr>
              <a:grpSpLocks/>
            </p:cNvGrpSpPr>
            <p:nvPr/>
          </p:nvGrpSpPr>
          <p:grpSpPr bwMode="auto">
            <a:xfrm>
              <a:off x="6123503" y="3777412"/>
              <a:ext cx="136370" cy="171815"/>
              <a:chOff x="3029" y="1870"/>
              <a:chExt cx="99" cy="134"/>
            </a:xfrm>
            <a:solidFill>
              <a:srgbClr val="EBEBE3"/>
            </a:solidFill>
          </p:grpSpPr>
          <p:sp>
            <p:nvSpPr>
              <p:cNvPr id="589" name="Freeform 116"/>
              <p:cNvSpPr>
                <a:spLocks/>
              </p:cNvSpPr>
              <p:nvPr/>
            </p:nvSpPr>
            <p:spPr bwMode="auto">
              <a:xfrm>
                <a:off x="3082" y="1985"/>
                <a:ext cx="44" cy="19"/>
              </a:xfrm>
              <a:custGeom>
                <a:avLst/>
                <a:gdLst>
                  <a:gd name="T0" fmla="*/ 327680 w 22"/>
                  <a:gd name="T1" fmla="*/ 805323 h 9"/>
                  <a:gd name="T2" fmla="*/ 0 w 22"/>
                  <a:gd name="T3" fmla="*/ 444575 h 9"/>
                  <a:gd name="T4" fmla="*/ 131072 w 22"/>
                  <a:gd name="T5" fmla="*/ 133378 h 9"/>
                  <a:gd name="T6" fmla="*/ 983040 w 22"/>
                  <a:gd name="T7" fmla="*/ 281576 h 9"/>
                  <a:gd name="T8" fmla="*/ 1179648 w 22"/>
                  <a:gd name="T9" fmla="*/ 594438 h 9"/>
                  <a:gd name="T10" fmla="*/ 1441792 w 22"/>
                  <a:gd name="T11" fmla="*/ 594438 h 9"/>
                  <a:gd name="T12" fmla="*/ 1441792 w 22"/>
                  <a:gd name="T13" fmla="*/ 1254925 h 9"/>
                  <a:gd name="T14" fmla="*/ 1048576 w 22"/>
                  <a:gd name="T15" fmla="*/ 1254925 h 9"/>
                  <a:gd name="T16" fmla="*/ 589824 w 22"/>
                  <a:gd name="T17" fmla="*/ 1254925 h 9"/>
                  <a:gd name="T18" fmla="*/ 327680 w 22"/>
                  <a:gd name="T19" fmla="*/ 805323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" h="9">
                    <a:moveTo>
                      <a:pt x="5" y="5"/>
                    </a:moveTo>
                    <a:cubicBezTo>
                      <a:pt x="4" y="5"/>
                      <a:pt x="0" y="3"/>
                      <a:pt x="0" y="3"/>
                    </a:cubicBezTo>
                    <a:cubicBezTo>
                      <a:pt x="0" y="1"/>
                      <a:pt x="0" y="0"/>
                      <a:pt x="2" y="1"/>
                    </a:cubicBezTo>
                    <a:cubicBezTo>
                      <a:pt x="4" y="1"/>
                      <a:pt x="14" y="2"/>
                      <a:pt x="15" y="2"/>
                    </a:cubicBezTo>
                    <a:cubicBezTo>
                      <a:pt x="17" y="2"/>
                      <a:pt x="17" y="4"/>
                      <a:pt x="18" y="4"/>
                    </a:cubicBezTo>
                    <a:cubicBezTo>
                      <a:pt x="19" y="4"/>
                      <a:pt x="22" y="3"/>
                      <a:pt x="22" y="4"/>
                    </a:cubicBezTo>
                    <a:cubicBezTo>
                      <a:pt x="22" y="5"/>
                      <a:pt x="22" y="7"/>
                      <a:pt x="22" y="8"/>
                    </a:cubicBezTo>
                    <a:cubicBezTo>
                      <a:pt x="22" y="9"/>
                      <a:pt x="19" y="8"/>
                      <a:pt x="16" y="8"/>
                    </a:cubicBezTo>
                    <a:cubicBezTo>
                      <a:pt x="13" y="8"/>
                      <a:pt x="10" y="8"/>
                      <a:pt x="9" y="8"/>
                    </a:cubicBezTo>
                    <a:cubicBezTo>
                      <a:pt x="8" y="8"/>
                      <a:pt x="7" y="5"/>
                      <a:pt x="5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0" name="Freeform 117"/>
              <p:cNvSpPr>
                <a:spLocks/>
              </p:cNvSpPr>
              <p:nvPr/>
            </p:nvSpPr>
            <p:spPr bwMode="auto">
              <a:xfrm>
                <a:off x="3029" y="1870"/>
                <a:ext cx="99" cy="101"/>
              </a:xfrm>
              <a:custGeom>
                <a:avLst/>
                <a:gdLst>
                  <a:gd name="T0" fmla="*/ 222103 w 49"/>
                  <a:gd name="T1" fmla="*/ 2013597 h 50"/>
                  <a:gd name="T2" fmla="*/ 0 w 49"/>
                  <a:gd name="T3" fmla="*/ 1601468 h 50"/>
                  <a:gd name="T4" fmla="*/ 531719 w 49"/>
                  <a:gd name="T5" fmla="*/ 996830 h 50"/>
                  <a:gd name="T6" fmla="*/ 531719 w 49"/>
                  <a:gd name="T7" fmla="*/ 831634 h 50"/>
                  <a:gd name="T8" fmla="*/ 1074289 w 49"/>
                  <a:gd name="T9" fmla="*/ 605447 h 50"/>
                  <a:gd name="T10" fmla="*/ 1609556 w 49"/>
                  <a:gd name="T11" fmla="*/ 447909 h 50"/>
                  <a:gd name="T12" fmla="*/ 1682939 w 49"/>
                  <a:gd name="T13" fmla="*/ 447909 h 50"/>
                  <a:gd name="T14" fmla="*/ 2170502 w 49"/>
                  <a:gd name="T15" fmla="*/ 221737 h 50"/>
                  <a:gd name="T16" fmla="*/ 2775764 w 49"/>
                  <a:gd name="T17" fmla="*/ 221737 h 50"/>
                  <a:gd name="T18" fmla="*/ 3327780 w 49"/>
                  <a:gd name="T19" fmla="*/ 299726 h 50"/>
                  <a:gd name="T20" fmla="*/ 3626881 w 49"/>
                  <a:gd name="T21" fmla="*/ 0 h 50"/>
                  <a:gd name="T22" fmla="*/ 3776513 w 49"/>
                  <a:gd name="T23" fmla="*/ 530244 h 50"/>
                  <a:gd name="T24" fmla="*/ 3554294 w 49"/>
                  <a:gd name="T25" fmla="*/ 831634 h 50"/>
                  <a:gd name="T26" fmla="*/ 3096793 w 49"/>
                  <a:gd name="T27" fmla="*/ 678639 h 50"/>
                  <a:gd name="T28" fmla="*/ 2475657 w 49"/>
                  <a:gd name="T29" fmla="*/ 756563 h 50"/>
                  <a:gd name="T30" fmla="*/ 2244021 w 49"/>
                  <a:gd name="T31" fmla="*/ 996830 h 50"/>
                  <a:gd name="T32" fmla="*/ 2475657 w 49"/>
                  <a:gd name="T33" fmla="*/ 1297404 h 50"/>
                  <a:gd name="T34" fmla="*/ 2017194 w 49"/>
                  <a:gd name="T35" fmla="*/ 1370851 h 50"/>
                  <a:gd name="T36" fmla="*/ 1609556 w 49"/>
                  <a:gd name="T37" fmla="*/ 996830 h 50"/>
                  <a:gd name="T38" fmla="*/ 1456312 w 49"/>
                  <a:gd name="T39" fmla="*/ 1370851 h 50"/>
                  <a:gd name="T40" fmla="*/ 1831775 w 49"/>
                  <a:gd name="T41" fmla="*/ 1937418 h 50"/>
                  <a:gd name="T42" fmla="*/ 2170502 w 49"/>
                  <a:gd name="T43" fmla="*/ 2239883 h 50"/>
                  <a:gd name="T44" fmla="*/ 2475657 w 49"/>
                  <a:gd name="T45" fmla="*/ 2696777 h 50"/>
                  <a:gd name="T46" fmla="*/ 2869893 w 49"/>
                  <a:gd name="T47" fmla="*/ 2936496 h 50"/>
                  <a:gd name="T48" fmla="*/ 2327086 w 49"/>
                  <a:gd name="T49" fmla="*/ 2936496 h 50"/>
                  <a:gd name="T50" fmla="*/ 1943922 w 49"/>
                  <a:gd name="T51" fmla="*/ 2860760 h 50"/>
                  <a:gd name="T52" fmla="*/ 1943922 w 49"/>
                  <a:gd name="T53" fmla="*/ 3162686 h 50"/>
                  <a:gd name="T54" fmla="*/ 1532756 w 49"/>
                  <a:gd name="T55" fmla="*/ 3162686 h 50"/>
                  <a:gd name="T56" fmla="*/ 1682939 w 49"/>
                  <a:gd name="T57" fmla="*/ 3841309 h 50"/>
                  <a:gd name="T58" fmla="*/ 1225325 w 49"/>
                  <a:gd name="T59" fmla="*/ 3691849 h 50"/>
                  <a:gd name="T60" fmla="*/ 832970 w 49"/>
                  <a:gd name="T61" fmla="*/ 3544211 h 50"/>
                  <a:gd name="T62" fmla="*/ 906636 w 49"/>
                  <a:gd name="T63" fmla="*/ 3162686 h 50"/>
                  <a:gd name="T64" fmla="*/ 679993 w 49"/>
                  <a:gd name="T65" fmla="*/ 2860760 h 50"/>
                  <a:gd name="T66" fmla="*/ 1074289 w 49"/>
                  <a:gd name="T67" fmla="*/ 2769119 h 50"/>
                  <a:gd name="T68" fmla="*/ 606474 w 49"/>
                  <a:gd name="T69" fmla="*/ 2470466 h 50"/>
                  <a:gd name="T70" fmla="*/ 222103 w 49"/>
                  <a:gd name="T71" fmla="*/ 2013597 h 5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49" h="50">
                    <a:moveTo>
                      <a:pt x="3" y="26"/>
                    </a:moveTo>
                    <a:cubicBezTo>
                      <a:pt x="2" y="24"/>
                      <a:pt x="1" y="23"/>
                      <a:pt x="0" y="21"/>
                    </a:cubicBezTo>
                    <a:cubicBezTo>
                      <a:pt x="3" y="18"/>
                      <a:pt x="7" y="14"/>
                      <a:pt x="7" y="13"/>
                    </a:cubicBezTo>
                    <a:cubicBezTo>
                      <a:pt x="7" y="13"/>
                      <a:pt x="7" y="12"/>
                      <a:pt x="7" y="11"/>
                    </a:cubicBezTo>
                    <a:cubicBezTo>
                      <a:pt x="7" y="11"/>
                      <a:pt x="13" y="8"/>
                      <a:pt x="14" y="8"/>
                    </a:cubicBezTo>
                    <a:cubicBezTo>
                      <a:pt x="15" y="7"/>
                      <a:pt x="19" y="6"/>
                      <a:pt x="21" y="6"/>
                    </a:cubicBezTo>
                    <a:cubicBezTo>
                      <a:pt x="21" y="6"/>
                      <a:pt x="21" y="6"/>
                      <a:pt x="22" y="6"/>
                    </a:cubicBezTo>
                    <a:cubicBezTo>
                      <a:pt x="24" y="5"/>
                      <a:pt x="27" y="3"/>
                      <a:pt x="28" y="3"/>
                    </a:cubicBezTo>
                    <a:cubicBezTo>
                      <a:pt x="30" y="3"/>
                      <a:pt x="35" y="3"/>
                      <a:pt x="36" y="3"/>
                    </a:cubicBezTo>
                    <a:cubicBezTo>
                      <a:pt x="37" y="4"/>
                      <a:pt x="42" y="5"/>
                      <a:pt x="43" y="4"/>
                    </a:cubicBezTo>
                    <a:cubicBezTo>
                      <a:pt x="44" y="2"/>
                      <a:pt x="46" y="1"/>
                      <a:pt x="47" y="0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4" y="9"/>
                      <a:pt x="41" y="9"/>
                      <a:pt x="40" y="9"/>
                    </a:cubicBezTo>
                    <a:cubicBezTo>
                      <a:pt x="38" y="9"/>
                      <a:pt x="33" y="9"/>
                      <a:pt x="32" y="10"/>
                    </a:cubicBezTo>
                    <a:cubicBezTo>
                      <a:pt x="30" y="11"/>
                      <a:pt x="27" y="12"/>
                      <a:pt x="29" y="13"/>
                    </a:cubicBezTo>
                    <a:cubicBezTo>
                      <a:pt x="32" y="15"/>
                      <a:pt x="34" y="17"/>
                      <a:pt x="32" y="17"/>
                    </a:cubicBezTo>
                    <a:cubicBezTo>
                      <a:pt x="31" y="18"/>
                      <a:pt x="27" y="20"/>
                      <a:pt x="26" y="18"/>
                    </a:cubicBezTo>
                    <a:cubicBezTo>
                      <a:pt x="25" y="17"/>
                      <a:pt x="23" y="13"/>
                      <a:pt x="21" y="13"/>
                    </a:cubicBezTo>
                    <a:cubicBezTo>
                      <a:pt x="20" y="13"/>
                      <a:pt x="19" y="16"/>
                      <a:pt x="19" y="18"/>
                    </a:cubicBezTo>
                    <a:cubicBezTo>
                      <a:pt x="20" y="21"/>
                      <a:pt x="24" y="23"/>
                      <a:pt x="24" y="25"/>
                    </a:cubicBezTo>
                    <a:cubicBezTo>
                      <a:pt x="24" y="27"/>
                      <a:pt x="25" y="27"/>
                      <a:pt x="28" y="29"/>
                    </a:cubicBezTo>
                    <a:cubicBezTo>
                      <a:pt x="30" y="31"/>
                      <a:pt x="32" y="34"/>
                      <a:pt x="32" y="35"/>
                    </a:cubicBezTo>
                    <a:cubicBezTo>
                      <a:pt x="33" y="35"/>
                      <a:pt x="37" y="38"/>
                      <a:pt x="37" y="38"/>
                    </a:cubicBezTo>
                    <a:cubicBezTo>
                      <a:pt x="36" y="39"/>
                      <a:pt x="32" y="37"/>
                      <a:pt x="30" y="38"/>
                    </a:cubicBezTo>
                    <a:cubicBezTo>
                      <a:pt x="29" y="38"/>
                      <a:pt x="26" y="35"/>
                      <a:pt x="25" y="37"/>
                    </a:cubicBezTo>
                    <a:cubicBezTo>
                      <a:pt x="24" y="38"/>
                      <a:pt x="26" y="41"/>
                      <a:pt x="25" y="41"/>
                    </a:cubicBezTo>
                    <a:cubicBezTo>
                      <a:pt x="24" y="42"/>
                      <a:pt x="21" y="39"/>
                      <a:pt x="20" y="41"/>
                    </a:cubicBezTo>
                    <a:cubicBezTo>
                      <a:pt x="20" y="42"/>
                      <a:pt x="24" y="50"/>
                      <a:pt x="22" y="50"/>
                    </a:cubicBezTo>
                    <a:cubicBezTo>
                      <a:pt x="21" y="50"/>
                      <a:pt x="17" y="48"/>
                      <a:pt x="16" y="48"/>
                    </a:cubicBezTo>
                    <a:cubicBezTo>
                      <a:pt x="15" y="47"/>
                      <a:pt x="11" y="47"/>
                      <a:pt x="11" y="46"/>
                    </a:cubicBezTo>
                    <a:cubicBezTo>
                      <a:pt x="11" y="44"/>
                      <a:pt x="14" y="42"/>
                      <a:pt x="12" y="41"/>
                    </a:cubicBezTo>
                    <a:cubicBezTo>
                      <a:pt x="10" y="39"/>
                      <a:pt x="8" y="37"/>
                      <a:pt x="9" y="37"/>
                    </a:cubicBezTo>
                    <a:cubicBezTo>
                      <a:pt x="10" y="36"/>
                      <a:pt x="12" y="36"/>
                      <a:pt x="14" y="36"/>
                    </a:cubicBezTo>
                    <a:cubicBezTo>
                      <a:pt x="15" y="36"/>
                      <a:pt x="10" y="33"/>
                      <a:pt x="8" y="32"/>
                    </a:cubicBezTo>
                    <a:cubicBezTo>
                      <a:pt x="6" y="30"/>
                      <a:pt x="5" y="28"/>
                      <a:pt x="3" y="2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25" name="Freeform 118"/>
            <p:cNvSpPr>
              <a:spLocks/>
            </p:cNvSpPr>
            <p:nvPr/>
          </p:nvSpPr>
          <p:spPr bwMode="auto">
            <a:xfrm>
              <a:off x="6142022" y="3404222"/>
              <a:ext cx="121218" cy="66509"/>
            </a:xfrm>
            <a:custGeom>
              <a:avLst/>
              <a:gdLst>
                <a:gd name="T0" fmla="*/ 0 w 43"/>
                <a:gd name="T1" fmla="*/ 385 h 26"/>
                <a:gd name="T2" fmla="*/ 30093 w 43"/>
                <a:gd name="T3" fmla="*/ 0 h 26"/>
                <a:gd name="T4" fmla="*/ 95099 w 43"/>
                <a:gd name="T5" fmla="*/ 385 h 26"/>
                <a:gd name="T6" fmla="*/ 141272 w 43"/>
                <a:gd name="T7" fmla="*/ 738 h 26"/>
                <a:gd name="T8" fmla="*/ 165089 w 43"/>
                <a:gd name="T9" fmla="*/ 1415 h 26"/>
                <a:gd name="T10" fmla="*/ 159236 w 43"/>
                <a:gd name="T11" fmla="*/ 2487 h 26"/>
                <a:gd name="T12" fmla="*/ 141272 w 43"/>
                <a:gd name="T13" fmla="*/ 2876 h 26"/>
                <a:gd name="T14" fmla="*/ 134874 w 43"/>
                <a:gd name="T15" fmla="*/ 3755 h 26"/>
                <a:gd name="T16" fmla="*/ 111031 w 43"/>
                <a:gd name="T17" fmla="*/ 4510 h 26"/>
                <a:gd name="T18" fmla="*/ 73479 w 43"/>
                <a:gd name="T19" fmla="*/ 4769 h 26"/>
                <a:gd name="T20" fmla="*/ 73479 w 43"/>
                <a:gd name="T21" fmla="*/ 4395 h 26"/>
                <a:gd name="T22" fmla="*/ 52964 w 43"/>
                <a:gd name="T23" fmla="*/ 3755 h 26"/>
                <a:gd name="T24" fmla="*/ 52964 w 43"/>
                <a:gd name="T25" fmla="*/ 2712 h 26"/>
                <a:gd name="T26" fmla="*/ 3828 w 43"/>
                <a:gd name="T27" fmla="*/ 1655 h 26"/>
                <a:gd name="T28" fmla="*/ 0 w 43"/>
                <a:gd name="T29" fmla="*/ 385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3" h="26">
                  <a:moveTo>
                    <a:pt x="0" y="2"/>
                  </a:moveTo>
                  <a:cubicBezTo>
                    <a:pt x="0" y="2"/>
                    <a:pt x="5" y="0"/>
                    <a:pt x="8" y="0"/>
                  </a:cubicBezTo>
                  <a:cubicBezTo>
                    <a:pt x="10" y="0"/>
                    <a:pt x="23" y="2"/>
                    <a:pt x="25" y="2"/>
                  </a:cubicBezTo>
                  <a:cubicBezTo>
                    <a:pt x="26" y="2"/>
                    <a:pt x="35" y="4"/>
                    <a:pt x="37" y="4"/>
                  </a:cubicBezTo>
                  <a:cubicBezTo>
                    <a:pt x="39" y="4"/>
                    <a:pt x="41" y="8"/>
                    <a:pt x="43" y="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6" y="20"/>
                    <a:pt x="35" y="21"/>
                  </a:cubicBezTo>
                  <a:cubicBezTo>
                    <a:pt x="34" y="22"/>
                    <a:pt x="30" y="23"/>
                    <a:pt x="29" y="25"/>
                  </a:cubicBezTo>
                  <a:cubicBezTo>
                    <a:pt x="27" y="26"/>
                    <a:pt x="19" y="26"/>
                    <a:pt x="19" y="26"/>
                  </a:cubicBezTo>
                  <a:cubicBezTo>
                    <a:pt x="19" y="25"/>
                    <a:pt x="19" y="25"/>
                    <a:pt x="19" y="24"/>
                  </a:cubicBezTo>
                  <a:cubicBezTo>
                    <a:pt x="19" y="23"/>
                    <a:pt x="15" y="21"/>
                    <a:pt x="14" y="21"/>
                  </a:cubicBezTo>
                  <a:cubicBezTo>
                    <a:pt x="14" y="21"/>
                    <a:pt x="15" y="16"/>
                    <a:pt x="14" y="15"/>
                  </a:cubicBezTo>
                  <a:cubicBezTo>
                    <a:pt x="13" y="14"/>
                    <a:pt x="1" y="9"/>
                    <a:pt x="1" y="9"/>
                  </a:cubicBezTo>
                  <a:cubicBezTo>
                    <a:pt x="1" y="8"/>
                    <a:pt x="0" y="5"/>
                    <a:pt x="0" y="2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26" name="Freeform 119"/>
            <p:cNvSpPr>
              <a:spLocks/>
            </p:cNvSpPr>
            <p:nvPr/>
          </p:nvSpPr>
          <p:spPr bwMode="auto">
            <a:xfrm>
              <a:off x="6142022" y="3356188"/>
              <a:ext cx="151523" cy="68357"/>
            </a:xfrm>
            <a:custGeom>
              <a:avLst/>
              <a:gdLst>
                <a:gd name="T0" fmla="*/ 0 w 54"/>
                <a:gd name="T1" fmla="*/ 3919 h 26"/>
                <a:gd name="T2" fmla="*/ 10245 w 54"/>
                <a:gd name="T3" fmla="*/ 2754 h 26"/>
                <a:gd name="T4" fmla="*/ 17075 w 54"/>
                <a:gd name="T5" fmla="*/ 1360 h 26"/>
                <a:gd name="T6" fmla="*/ 37978 w 54"/>
                <a:gd name="T7" fmla="*/ 1301 h 26"/>
                <a:gd name="T8" fmla="*/ 57328 w 54"/>
                <a:gd name="T9" fmla="*/ 2270 h 26"/>
                <a:gd name="T10" fmla="*/ 74422 w 54"/>
                <a:gd name="T11" fmla="*/ 3297 h 26"/>
                <a:gd name="T12" fmla="*/ 95547 w 54"/>
                <a:gd name="T13" fmla="*/ 1360 h 26"/>
                <a:gd name="T14" fmla="*/ 95547 w 54"/>
                <a:gd name="T15" fmla="*/ 0 h 26"/>
                <a:gd name="T16" fmla="*/ 95547 w 54"/>
                <a:gd name="T17" fmla="*/ 0 h 26"/>
                <a:gd name="T18" fmla="*/ 124037 w 54"/>
                <a:gd name="T19" fmla="*/ 0 h 26"/>
                <a:gd name="T20" fmla="*/ 143880 w 54"/>
                <a:gd name="T21" fmla="*/ 1360 h 26"/>
                <a:gd name="T22" fmla="*/ 175825 w 54"/>
                <a:gd name="T23" fmla="*/ 1360 h 26"/>
                <a:gd name="T24" fmla="*/ 185287 w 54"/>
                <a:gd name="T25" fmla="*/ 3748 h 26"/>
                <a:gd name="T26" fmla="*/ 191550 w 54"/>
                <a:gd name="T27" fmla="*/ 5997 h 26"/>
                <a:gd name="T28" fmla="*/ 152995 w 54"/>
                <a:gd name="T29" fmla="*/ 7349 h 26"/>
                <a:gd name="T30" fmla="*/ 131750 w 54"/>
                <a:gd name="T31" fmla="*/ 6205 h 26"/>
                <a:gd name="T32" fmla="*/ 89597 w 54"/>
                <a:gd name="T33" fmla="*/ 5577 h 26"/>
                <a:gd name="T34" fmla="*/ 28458 w 54"/>
                <a:gd name="T35" fmla="*/ 5164 h 26"/>
                <a:gd name="T36" fmla="*/ 0 w 54"/>
                <a:gd name="T37" fmla="*/ 5577 h 26"/>
                <a:gd name="T38" fmla="*/ 0 w 54"/>
                <a:gd name="T39" fmla="*/ 3919 h 2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4" h="26">
                  <a:moveTo>
                    <a:pt x="0" y="14"/>
                  </a:moveTo>
                  <a:cubicBezTo>
                    <a:pt x="1" y="12"/>
                    <a:pt x="3" y="12"/>
                    <a:pt x="3" y="10"/>
                  </a:cubicBezTo>
                  <a:cubicBezTo>
                    <a:pt x="3" y="9"/>
                    <a:pt x="4" y="5"/>
                    <a:pt x="5" y="5"/>
                  </a:cubicBezTo>
                  <a:cubicBezTo>
                    <a:pt x="6" y="5"/>
                    <a:pt x="10" y="3"/>
                    <a:pt x="11" y="4"/>
                  </a:cubicBezTo>
                  <a:cubicBezTo>
                    <a:pt x="12" y="4"/>
                    <a:pt x="16" y="7"/>
                    <a:pt x="16" y="8"/>
                  </a:cubicBezTo>
                  <a:cubicBezTo>
                    <a:pt x="16" y="9"/>
                    <a:pt x="19" y="12"/>
                    <a:pt x="21" y="12"/>
                  </a:cubicBezTo>
                  <a:cubicBezTo>
                    <a:pt x="23" y="12"/>
                    <a:pt x="27" y="7"/>
                    <a:pt x="27" y="5"/>
                  </a:cubicBezTo>
                  <a:cubicBezTo>
                    <a:pt x="27" y="5"/>
                    <a:pt x="27" y="2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32" y="0"/>
                    <a:pt x="35" y="0"/>
                  </a:cubicBezTo>
                  <a:cubicBezTo>
                    <a:pt x="37" y="0"/>
                    <a:pt x="39" y="5"/>
                    <a:pt x="41" y="5"/>
                  </a:cubicBezTo>
                  <a:cubicBezTo>
                    <a:pt x="44" y="5"/>
                    <a:pt x="50" y="5"/>
                    <a:pt x="50" y="5"/>
                  </a:cubicBezTo>
                  <a:cubicBezTo>
                    <a:pt x="51" y="5"/>
                    <a:pt x="52" y="11"/>
                    <a:pt x="52" y="13"/>
                  </a:cubicBezTo>
                  <a:cubicBezTo>
                    <a:pt x="53" y="15"/>
                    <a:pt x="53" y="21"/>
                    <a:pt x="54" y="21"/>
                  </a:cubicBezTo>
                  <a:cubicBezTo>
                    <a:pt x="54" y="21"/>
                    <a:pt x="45" y="26"/>
                    <a:pt x="43" y="26"/>
                  </a:cubicBezTo>
                  <a:cubicBezTo>
                    <a:pt x="41" y="26"/>
                    <a:pt x="39" y="22"/>
                    <a:pt x="37" y="22"/>
                  </a:cubicBezTo>
                  <a:cubicBezTo>
                    <a:pt x="35" y="22"/>
                    <a:pt x="26" y="20"/>
                    <a:pt x="25" y="20"/>
                  </a:cubicBezTo>
                  <a:cubicBezTo>
                    <a:pt x="23" y="20"/>
                    <a:pt x="10" y="18"/>
                    <a:pt x="8" y="18"/>
                  </a:cubicBezTo>
                  <a:cubicBezTo>
                    <a:pt x="5" y="18"/>
                    <a:pt x="0" y="20"/>
                    <a:pt x="0" y="20"/>
                  </a:cubicBezTo>
                  <a:cubicBezTo>
                    <a:pt x="0" y="17"/>
                    <a:pt x="0" y="15"/>
                    <a:pt x="0" y="1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27" name="Freeform 120"/>
            <p:cNvSpPr>
              <a:spLocks/>
            </p:cNvSpPr>
            <p:nvPr/>
          </p:nvSpPr>
          <p:spPr bwMode="auto">
            <a:xfrm>
              <a:off x="6133604" y="2975608"/>
              <a:ext cx="232335" cy="325156"/>
            </a:xfrm>
            <a:custGeom>
              <a:avLst/>
              <a:gdLst>
                <a:gd name="T0" fmla="*/ 24333 w 83"/>
                <a:gd name="T1" fmla="*/ 5401 h 124"/>
                <a:gd name="T2" fmla="*/ 0 w 83"/>
                <a:gd name="T3" fmla="*/ 2681 h 124"/>
                <a:gd name="T4" fmla="*/ 14635 w 83"/>
                <a:gd name="T5" fmla="*/ 2228 h 124"/>
                <a:gd name="T6" fmla="*/ 51841 w 83"/>
                <a:gd name="T7" fmla="*/ 3805 h 124"/>
                <a:gd name="T8" fmla="*/ 86193 w 83"/>
                <a:gd name="T9" fmla="*/ 3805 h 124"/>
                <a:gd name="T10" fmla="*/ 117388 w 83"/>
                <a:gd name="T11" fmla="*/ 4488 h 124"/>
                <a:gd name="T12" fmla="*/ 133325 w 83"/>
                <a:gd name="T13" fmla="*/ 2681 h 124"/>
                <a:gd name="T14" fmla="*/ 149043 w 83"/>
                <a:gd name="T15" fmla="*/ 609 h 124"/>
                <a:gd name="T16" fmla="*/ 176615 w 83"/>
                <a:gd name="T17" fmla="*/ 0 h 124"/>
                <a:gd name="T18" fmla="*/ 197340 w 83"/>
                <a:gd name="T19" fmla="*/ 609 h 124"/>
                <a:gd name="T20" fmla="*/ 210706 w 83"/>
                <a:gd name="T21" fmla="*/ 1740 h 124"/>
                <a:gd name="T22" fmla="*/ 207030 w 83"/>
                <a:gd name="T23" fmla="*/ 3232 h 124"/>
                <a:gd name="T24" fmla="*/ 216013 w 83"/>
                <a:gd name="T25" fmla="*/ 3506 h 124"/>
                <a:gd name="T26" fmla="*/ 207030 w 83"/>
                <a:gd name="T27" fmla="*/ 4976 h 124"/>
                <a:gd name="T28" fmla="*/ 210706 w 83"/>
                <a:gd name="T29" fmla="*/ 6370 h 124"/>
                <a:gd name="T30" fmla="*/ 241906 w 83"/>
                <a:gd name="T31" fmla="*/ 7764 h 124"/>
                <a:gd name="T32" fmla="*/ 221673 w 83"/>
                <a:gd name="T33" fmla="*/ 10540 h 124"/>
                <a:gd name="T34" fmla="*/ 238273 w 83"/>
                <a:gd name="T35" fmla="*/ 13116 h 124"/>
                <a:gd name="T36" fmla="*/ 241906 w 83"/>
                <a:gd name="T37" fmla="*/ 15115 h 124"/>
                <a:gd name="T38" fmla="*/ 236175 w 83"/>
                <a:gd name="T39" fmla="*/ 17884 h 124"/>
                <a:gd name="T40" fmla="*/ 256549 w 83"/>
                <a:gd name="T41" fmla="*/ 19519 h 124"/>
                <a:gd name="T42" fmla="*/ 247210 w 83"/>
                <a:gd name="T43" fmla="*/ 21454 h 124"/>
                <a:gd name="T44" fmla="*/ 268693 w 83"/>
                <a:gd name="T45" fmla="*/ 22793 h 124"/>
                <a:gd name="T46" fmla="*/ 278757 w 83"/>
                <a:gd name="T47" fmla="*/ 24688 h 124"/>
                <a:gd name="T48" fmla="*/ 216013 w 83"/>
                <a:gd name="T49" fmla="*/ 29615 h 124"/>
                <a:gd name="T50" fmla="*/ 201295 w 83"/>
                <a:gd name="T51" fmla="*/ 30948 h 124"/>
                <a:gd name="T52" fmla="*/ 201295 w 83"/>
                <a:gd name="T53" fmla="*/ 30948 h 124"/>
                <a:gd name="T54" fmla="*/ 185951 w 83"/>
                <a:gd name="T55" fmla="*/ 31510 h 124"/>
                <a:gd name="T56" fmla="*/ 129921 w 83"/>
                <a:gd name="T57" fmla="*/ 32351 h 124"/>
                <a:gd name="T58" fmla="*/ 65229 w 83"/>
                <a:gd name="T59" fmla="*/ 33458 h 124"/>
                <a:gd name="T60" fmla="*/ 46998 w 83"/>
                <a:gd name="T61" fmla="*/ 32351 h 124"/>
                <a:gd name="T62" fmla="*/ 20976 w 83"/>
                <a:gd name="T63" fmla="*/ 31883 h 124"/>
                <a:gd name="T64" fmla="*/ 14635 w 83"/>
                <a:gd name="T65" fmla="*/ 31114 h 124"/>
                <a:gd name="T66" fmla="*/ 24333 w 83"/>
                <a:gd name="T67" fmla="*/ 28271 h 124"/>
                <a:gd name="T68" fmla="*/ 14635 w 83"/>
                <a:gd name="T69" fmla="*/ 25384 h 124"/>
                <a:gd name="T70" fmla="*/ 16583 w 83"/>
                <a:gd name="T71" fmla="*/ 23573 h 124"/>
                <a:gd name="T72" fmla="*/ 51841 w 83"/>
                <a:gd name="T73" fmla="*/ 21804 h 124"/>
                <a:gd name="T74" fmla="*/ 87507 w 83"/>
                <a:gd name="T75" fmla="*/ 19288 h 124"/>
                <a:gd name="T76" fmla="*/ 106225 w 83"/>
                <a:gd name="T77" fmla="*/ 17884 h 124"/>
                <a:gd name="T78" fmla="*/ 126729 w 83"/>
                <a:gd name="T79" fmla="*/ 17661 h 124"/>
                <a:gd name="T80" fmla="*/ 123221 w 83"/>
                <a:gd name="T81" fmla="*/ 15115 h 124"/>
                <a:gd name="T82" fmla="*/ 82639 w 83"/>
                <a:gd name="T83" fmla="*/ 14229 h 124"/>
                <a:gd name="T84" fmla="*/ 82639 w 83"/>
                <a:gd name="T85" fmla="*/ 14229 h 124"/>
                <a:gd name="T86" fmla="*/ 86193 w 83"/>
                <a:gd name="T87" fmla="*/ 12255 h 124"/>
                <a:gd name="T88" fmla="*/ 78141 w 83"/>
                <a:gd name="T89" fmla="*/ 9241 h 124"/>
                <a:gd name="T90" fmla="*/ 67266 w 83"/>
                <a:gd name="T91" fmla="*/ 6745 h 124"/>
                <a:gd name="T92" fmla="*/ 24333 w 83"/>
                <a:gd name="T93" fmla="*/ 5401 h 12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83" h="124">
                  <a:moveTo>
                    <a:pt x="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9"/>
                    <a:pt x="4" y="8"/>
                    <a:pt x="4" y="8"/>
                  </a:cubicBezTo>
                  <a:cubicBezTo>
                    <a:pt x="6" y="8"/>
                    <a:pt x="13" y="14"/>
                    <a:pt x="15" y="14"/>
                  </a:cubicBezTo>
                  <a:cubicBezTo>
                    <a:pt x="17" y="15"/>
                    <a:pt x="23" y="14"/>
                    <a:pt x="25" y="14"/>
                  </a:cubicBezTo>
                  <a:cubicBezTo>
                    <a:pt x="26" y="14"/>
                    <a:pt x="33" y="18"/>
                    <a:pt x="34" y="16"/>
                  </a:cubicBezTo>
                  <a:cubicBezTo>
                    <a:pt x="36" y="14"/>
                    <a:pt x="39" y="12"/>
                    <a:pt x="39" y="10"/>
                  </a:cubicBezTo>
                  <a:cubicBezTo>
                    <a:pt x="39" y="8"/>
                    <a:pt x="43" y="3"/>
                    <a:pt x="44" y="2"/>
                  </a:cubicBezTo>
                  <a:cubicBezTo>
                    <a:pt x="44" y="1"/>
                    <a:pt x="51" y="0"/>
                    <a:pt x="52" y="0"/>
                  </a:cubicBezTo>
                  <a:cubicBezTo>
                    <a:pt x="53" y="0"/>
                    <a:pt x="56" y="1"/>
                    <a:pt x="58" y="2"/>
                  </a:cubicBezTo>
                  <a:cubicBezTo>
                    <a:pt x="60" y="3"/>
                    <a:pt x="62" y="4"/>
                    <a:pt x="62" y="6"/>
                  </a:cubicBezTo>
                  <a:cubicBezTo>
                    <a:pt x="62" y="8"/>
                    <a:pt x="59" y="11"/>
                    <a:pt x="61" y="12"/>
                  </a:cubicBezTo>
                  <a:cubicBezTo>
                    <a:pt x="62" y="12"/>
                    <a:pt x="62" y="12"/>
                    <a:pt x="63" y="13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21"/>
                    <a:pt x="62" y="23"/>
                  </a:cubicBezTo>
                  <a:cubicBezTo>
                    <a:pt x="64" y="25"/>
                    <a:pt x="71" y="27"/>
                    <a:pt x="71" y="29"/>
                  </a:cubicBezTo>
                  <a:cubicBezTo>
                    <a:pt x="71" y="32"/>
                    <a:pt x="65" y="36"/>
                    <a:pt x="65" y="39"/>
                  </a:cubicBezTo>
                  <a:cubicBezTo>
                    <a:pt x="64" y="42"/>
                    <a:pt x="69" y="45"/>
                    <a:pt x="70" y="48"/>
                  </a:cubicBezTo>
                  <a:cubicBezTo>
                    <a:pt x="71" y="50"/>
                    <a:pt x="71" y="54"/>
                    <a:pt x="71" y="56"/>
                  </a:cubicBezTo>
                  <a:cubicBezTo>
                    <a:pt x="71" y="59"/>
                    <a:pt x="70" y="62"/>
                    <a:pt x="69" y="66"/>
                  </a:cubicBezTo>
                  <a:cubicBezTo>
                    <a:pt x="69" y="69"/>
                    <a:pt x="74" y="70"/>
                    <a:pt x="75" y="72"/>
                  </a:cubicBezTo>
                  <a:cubicBezTo>
                    <a:pt x="76" y="74"/>
                    <a:pt x="71" y="78"/>
                    <a:pt x="72" y="79"/>
                  </a:cubicBezTo>
                  <a:cubicBezTo>
                    <a:pt x="72" y="81"/>
                    <a:pt x="77" y="83"/>
                    <a:pt x="79" y="84"/>
                  </a:cubicBezTo>
                  <a:cubicBezTo>
                    <a:pt x="82" y="85"/>
                    <a:pt x="83" y="88"/>
                    <a:pt x="82" y="91"/>
                  </a:cubicBezTo>
                  <a:cubicBezTo>
                    <a:pt x="81" y="94"/>
                    <a:pt x="65" y="107"/>
                    <a:pt x="63" y="109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5"/>
                    <a:pt x="56" y="116"/>
                    <a:pt x="55" y="116"/>
                  </a:cubicBezTo>
                  <a:cubicBezTo>
                    <a:pt x="53" y="116"/>
                    <a:pt x="40" y="119"/>
                    <a:pt x="38" y="119"/>
                  </a:cubicBezTo>
                  <a:cubicBezTo>
                    <a:pt x="36" y="119"/>
                    <a:pt x="20" y="124"/>
                    <a:pt x="19" y="123"/>
                  </a:cubicBezTo>
                  <a:cubicBezTo>
                    <a:pt x="17" y="122"/>
                    <a:pt x="16" y="120"/>
                    <a:pt x="14" y="119"/>
                  </a:cubicBezTo>
                  <a:cubicBezTo>
                    <a:pt x="13" y="118"/>
                    <a:pt x="8" y="118"/>
                    <a:pt x="6" y="118"/>
                  </a:cubicBezTo>
                  <a:cubicBezTo>
                    <a:pt x="4" y="118"/>
                    <a:pt x="4" y="116"/>
                    <a:pt x="4" y="115"/>
                  </a:cubicBezTo>
                  <a:cubicBezTo>
                    <a:pt x="5" y="113"/>
                    <a:pt x="7" y="106"/>
                    <a:pt x="7" y="104"/>
                  </a:cubicBezTo>
                  <a:cubicBezTo>
                    <a:pt x="6" y="102"/>
                    <a:pt x="5" y="97"/>
                    <a:pt x="4" y="94"/>
                  </a:cubicBezTo>
                  <a:cubicBezTo>
                    <a:pt x="4" y="92"/>
                    <a:pt x="4" y="87"/>
                    <a:pt x="5" y="87"/>
                  </a:cubicBezTo>
                  <a:cubicBezTo>
                    <a:pt x="6" y="86"/>
                    <a:pt x="13" y="81"/>
                    <a:pt x="15" y="80"/>
                  </a:cubicBezTo>
                  <a:cubicBezTo>
                    <a:pt x="16" y="79"/>
                    <a:pt x="24" y="72"/>
                    <a:pt x="26" y="71"/>
                  </a:cubicBezTo>
                  <a:cubicBezTo>
                    <a:pt x="27" y="70"/>
                    <a:pt x="30" y="66"/>
                    <a:pt x="31" y="66"/>
                  </a:cubicBezTo>
                  <a:cubicBezTo>
                    <a:pt x="32" y="65"/>
                    <a:pt x="36" y="67"/>
                    <a:pt x="37" y="65"/>
                  </a:cubicBezTo>
                  <a:cubicBezTo>
                    <a:pt x="38" y="63"/>
                    <a:pt x="37" y="58"/>
                    <a:pt x="36" y="56"/>
                  </a:cubicBezTo>
                  <a:cubicBezTo>
                    <a:pt x="35" y="55"/>
                    <a:pt x="28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2"/>
                    <a:pt x="25" y="47"/>
                    <a:pt x="25" y="45"/>
                  </a:cubicBezTo>
                  <a:cubicBezTo>
                    <a:pt x="25" y="43"/>
                    <a:pt x="24" y="36"/>
                    <a:pt x="23" y="34"/>
                  </a:cubicBezTo>
                  <a:cubicBezTo>
                    <a:pt x="21" y="32"/>
                    <a:pt x="23" y="27"/>
                    <a:pt x="20" y="25"/>
                  </a:cubicBezTo>
                  <a:cubicBezTo>
                    <a:pt x="17" y="23"/>
                    <a:pt x="8" y="21"/>
                    <a:pt x="7" y="2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28" name="Freeform 121"/>
            <p:cNvSpPr>
              <a:spLocks/>
            </p:cNvSpPr>
            <p:nvPr/>
          </p:nvSpPr>
          <p:spPr bwMode="auto">
            <a:xfrm>
              <a:off x="6133604" y="3768175"/>
              <a:ext cx="50508" cy="36950"/>
            </a:xfrm>
            <a:custGeom>
              <a:avLst/>
              <a:gdLst>
                <a:gd name="T0" fmla="*/ 3688 w 18"/>
                <a:gd name="T1" fmla="*/ 3537 h 14"/>
                <a:gd name="T2" fmla="*/ 0 w 18"/>
                <a:gd name="T3" fmla="*/ 1981 h 14"/>
                <a:gd name="T4" fmla="*/ 0 w 18"/>
                <a:gd name="T5" fmla="*/ 971 h 14"/>
                <a:gd name="T6" fmla="*/ 47430 w 18"/>
                <a:gd name="T7" fmla="*/ 0 h 14"/>
                <a:gd name="T8" fmla="*/ 63297 w 18"/>
                <a:gd name="T9" fmla="*/ 1456 h 14"/>
                <a:gd name="T10" fmla="*/ 63297 w 18"/>
                <a:gd name="T11" fmla="*/ 2830 h 14"/>
                <a:gd name="T12" fmla="*/ 59838 w 18"/>
                <a:gd name="T13" fmla="*/ 2830 h 14"/>
                <a:gd name="T14" fmla="*/ 35903 w 18"/>
                <a:gd name="T15" fmla="*/ 3400 h 14"/>
                <a:gd name="T16" fmla="*/ 10245 w 18"/>
                <a:gd name="T17" fmla="*/ 4244 h 14"/>
                <a:gd name="T18" fmla="*/ 3688 w 18"/>
                <a:gd name="T19" fmla="*/ 353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8" h="14">
                  <a:moveTo>
                    <a:pt x="1" y="12"/>
                  </a:moveTo>
                  <a:cubicBezTo>
                    <a:pt x="0" y="12"/>
                    <a:pt x="0" y="9"/>
                    <a:pt x="0" y="6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2"/>
                    <a:pt x="17" y="3"/>
                    <a:pt x="18" y="5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9"/>
                    <a:pt x="11" y="10"/>
                    <a:pt x="10" y="11"/>
                  </a:cubicBezTo>
                  <a:cubicBezTo>
                    <a:pt x="9" y="11"/>
                    <a:pt x="3" y="14"/>
                    <a:pt x="3" y="14"/>
                  </a:cubicBezTo>
                  <a:cubicBezTo>
                    <a:pt x="2" y="13"/>
                    <a:pt x="2" y="12"/>
                    <a:pt x="1" y="12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29" name="Freeform 122"/>
            <p:cNvSpPr>
              <a:spLocks/>
            </p:cNvSpPr>
            <p:nvPr/>
          </p:nvSpPr>
          <p:spPr bwMode="auto">
            <a:xfrm>
              <a:off x="6128554" y="3620377"/>
              <a:ext cx="198663" cy="116391"/>
            </a:xfrm>
            <a:custGeom>
              <a:avLst/>
              <a:gdLst>
                <a:gd name="T0" fmla="*/ 0 w 71"/>
                <a:gd name="T1" fmla="*/ 4542 h 45"/>
                <a:gd name="T2" fmla="*/ 20909 w 71"/>
                <a:gd name="T3" fmla="*/ 4351 h 45"/>
                <a:gd name="T4" fmla="*/ 40361 w 71"/>
                <a:gd name="T5" fmla="*/ 2220 h 45"/>
                <a:gd name="T6" fmla="*/ 61220 w 71"/>
                <a:gd name="T7" fmla="*/ 1182 h 45"/>
                <a:gd name="T8" fmla="*/ 64910 w 71"/>
                <a:gd name="T9" fmla="*/ 603 h 45"/>
                <a:gd name="T10" fmla="*/ 87136 w 71"/>
                <a:gd name="T11" fmla="*/ 844 h 45"/>
                <a:gd name="T12" fmla="*/ 107879 w 71"/>
                <a:gd name="T13" fmla="*/ 1133 h 45"/>
                <a:gd name="T14" fmla="*/ 118203 w 71"/>
                <a:gd name="T15" fmla="*/ 1586 h 45"/>
                <a:gd name="T16" fmla="*/ 142524 w 71"/>
                <a:gd name="T17" fmla="*/ 844 h 45"/>
                <a:gd name="T18" fmla="*/ 165132 w 71"/>
                <a:gd name="T19" fmla="*/ 0 h 45"/>
                <a:gd name="T20" fmla="*/ 172870 w 71"/>
                <a:gd name="T21" fmla="*/ 1182 h 45"/>
                <a:gd name="T22" fmla="*/ 196450 w 71"/>
                <a:gd name="T23" fmla="*/ 3244 h 45"/>
                <a:gd name="T24" fmla="*/ 199885 w 71"/>
                <a:gd name="T25" fmla="*/ 5905 h 45"/>
                <a:gd name="T26" fmla="*/ 214798 w 71"/>
                <a:gd name="T27" fmla="*/ 6091 h 45"/>
                <a:gd name="T28" fmla="*/ 224153 w 71"/>
                <a:gd name="T29" fmla="*/ 6359 h 45"/>
                <a:gd name="T30" fmla="*/ 236871 w 71"/>
                <a:gd name="T31" fmla="*/ 6359 h 45"/>
                <a:gd name="T32" fmla="*/ 240683 w 71"/>
                <a:gd name="T33" fmla="*/ 6668 h 45"/>
                <a:gd name="T34" fmla="*/ 234112 w 71"/>
                <a:gd name="T35" fmla="*/ 7491 h 45"/>
                <a:gd name="T36" fmla="*/ 216237 w 71"/>
                <a:gd name="T37" fmla="*/ 8267 h 45"/>
                <a:gd name="T38" fmla="*/ 214798 w 71"/>
                <a:gd name="T39" fmla="*/ 9335 h 45"/>
                <a:gd name="T40" fmla="*/ 194063 w 71"/>
                <a:gd name="T41" fmla="*/ 9192 h 45"/>
                <a:gd name="T42" fmla="*/ 163003 w 71"/>
                <a:gd name="T43" fmla="*/ 8903 h 45"/>
                <a:gd name="T44" fmla="*/ 134872 w 71"/>
                <a:gd name="T45" fmla="*/ 9750 h 45"/>
                <a:gd name="T46" fmla="*/ 95986 w 71"/>
                <a:gd name="T47" fmla="*/ 9698 h 45"/>
                <a:gd name="T48" fmla="*/ 74556 w 71"/>
                <a:gd name="T49" fmla="*/ 9192 h 45"/>
                <a:gd name="T50" fmla="*/ 57754 w 71"/>
                <a:gd name="T51" fmla="*/ 8527 h 45"/>
                <a:gd name="T52" fmla="*/ 57754 w 71"/>
                <a:gd name="T53" fmla="*/ 8267 h 45"/>
                <a:gd name="T54" fmla="*/ 34750 w 71"/>
                <a:gd name="T55" fmla="*/ 7685 h 45"/>
                <a:gd name="T56" fmla="*/ 20909 w 71"/>
                <a:gd name="T57" fmla="*/ 6668 h 45"/>
                <a:gd name="T58" fmla="*/ 5880 w 71"/>
                <a:gd name="T59" fmla="*/ 5568 h 45"/>
                <a:gd name="T60" fmla="*/ 0 w 71"/>
                <a:gd name="T61" fmla="*/ 4542 h 4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1" h="45">
                  <a:moveTo>
                    <a:pt x="0" y="21"/>
                  </a:moveTo>
                  <a:cubicBezTo>
                    <a:pt x="2" y="21"/>
                    <a:pt x="6" y="21"/>
                    <a:pt x="6" y="20"/>
                  </a:cubicBezTo>
                  <a:cubicBezTo>
                    <a:pt x="8" y="19"/>
                    <a:pt x="10" y="10"/>
                    <a:pt x="12" y="10"/>
                  </a:cubicBezTo>
                  <a:cubicBezTo>
                    <a:pt x="13" y="9"/>
                    <a:pt x="17" y="7"/>
                    <a:pt x="18" y="6"/>
                  </a:cubicBezTo>
                  <a:cubicBezTo>
                    <a:pt x="18" y="5"/>
                    <a:pt x="20" y="4"/>
                    <a:pt x="19" y="3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30" y="4"/>
                    <a:pt x="32" y="5"/>
                  </a:cubicBezTo>
                  <a:cubicBezTo>
                    <a:pt x="33" y="6"/>
                    <a:pt x="34" y="7"/>
                    <a:pt x="35" y="7"/>
                  </a:cubicBezTo>
                  <a:cubicBezTo>
                    <a:pt x="37" y="6"/>
                    <a:pt x="41" y="4"/>
                    <a:pt x="42" y="4"/>
                  </a:cubicBezTo>
                  <a:cubicBezTo>
                    <a:pt x="43" y="4"/>
                    <a:pt x="46" y="2"/>
                    <a:pt x="49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7"/>
                    <a:pt x="57" y="12"/>
                    <a:pt x="58" y="15"/>
                  </a:cubicBezTo>
                  <a:cubicBezTo>
                    <a:pt x="60" y="17"/>
                    <a:pt x="59" y="25"/>
                    <a:pt x="59" y="27"/>
                  </a:cubicBezTo>
                  <a:cubicBezTo>
                    <a:pt x="59" y="28"/>
                    <a:pt x="61" y="28"/>
                    <a:pt x="63" y="28"/>
                  </a:cubicBezTo>
                  <a:cubicBezTo>
                    <a:pt x="64" y="28"/>
                    <a:pt x="66" y="29"/>
                    <a:pt x="66" y="29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30"/>
                    <a:pt x="70" y="30"/>
                    <a:pt x="71" y="31"/>
                  </a:cubicBezTo>
                  <a:cubicBezTo>
                    <a:pt x="71" y="33"/>
                    <a:pt x="71" y="34"/>
                    <a:pt x="69" y="34"/>
                  </a:cubicBezTo>
                  <a:cubicBezTo>
                    <a:pt x="67" y="34"/>
                    <a:pt x="65" y="35"/>
                    <a:pt x="64" y="38"/>
                  </a:cubicBezTo>
                  <a:cubicBezTo>
                    <a:pt x="63" y="39"/>
                    <a:pt x="63" y="41"/>
                    <a:pt x="63" y="43"/>
                  </a:cubicBezTo>
                  <a:cubicBezTo>
                    <a:pt x="63" y="43"/>
                    <a:pt x="58" y="42"/>
                    <a:pt x="57" y="42"/>
                  </a:cubicBezTo>
                  <a:cubicBezTo>
                    <a:pt x="55" y="42"/>
                    <a:pt x="50" y="41"/>
                    <a:pt x="48" y="41"/>
                  </a:cubicBezTo>
                  <a:cubicBezTo>
                    <a:pt x="45" y="41"/>
                    <a:pt x="42" y="45"/>
                    <a:pt x="40" y="45"/>
                  </a:cubicBezTo>
                  <a:cubicBezTo>
                    <a:pt x="38" y="45"/>
                    <a:pt x="30" y="44"/>
                    <a:pt x="28" y="44"/>
                  </a:cubicBezTo>
                  <a:cubicBezTo>
                    <a:pt x="27" y="44"/>
                    <a:pt x="22" y="42"/>
                    <a:pt x="22" y="42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3" y="36"/>
                    <a:pt x="10" y="35"/>
                  </a:cubicBezTo>
                  <a:cubicBezTo>
                    <a:pt x="7" y="34"/>
                    <a:pt x="8" y="33"/>
                    <a:pt x="6" y="31"/>
                  </a:cubicBezTo>
                  <a:cubicBezTo>
                    <a:pt x="5" y="29"/>
                    <a:pt x="3" y="26"/>
                    <a:pt x="2" y="26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0" name="Freeform 123"/>
            <p:cNvSpPr>
              <a:spLocks/>
            </p:cNvSpPr>
            <p:nvPr/>
          </p:nvSpPr>
          <p:spPr bwMode="auto">
            <a:xfrm>
              <a:off x="6094882" y="3673954"/>
              <a:ext cx="89230" cy="103459"/>
            </a:xfrm>
            <a:custGeom>
              <a:avLst/>
              <a:gdLst>
                <a:gd name="T0" fmla="*/ 9310 w 32"/>
                <a:gd name="T1" fmla="*/ 3198 h 39"/>
                <a:gd name="T2" fmla="*/ 3394 w 32"/>
                <a:gd name="T3" fmla="*/ 2076 h 39"/>
                <a:gd name="T4" fmla="*/ 0 w 32"/>
                <a:gd name="T5" fmla="*/ 701 h 39"/>
                <a:gd name="T6" fmla="*/ 9310 w 32"/>
                <a:gd name="T7" fmla="*/ 1 h 39"/>
                <a:gd name="T8" fmla="*/ 35283 w 32"/>
                <a:gd name="T9" fmla="*/ 0 h 39"/>
                <a:gd name="T10" fmla="*/ 38851 w 32"/>
                <a:gd name="T11" fmla="*/ 0 h 39"/>
                <a:gd name="T12" fmla="*/ 44283 w 32"/>
                <a:gd name="T13" fmla="*/ 1551 h 39"/>
                <a:gd name="T14" fmla="*/ 58437 w 32"/>
                <a:gd name="T15" fmla="*/ 3198 h 39"/>
                <a:gd name="T16" fmla="*/ 70058 w 32"/>
                <a:gd name="T17" fmla="*/ 4592 h 39"/>
                <a:gd name="T18" fmla="*/ 93707 w 32"/>
                <a:gd name="T19" fmla="*/ 5403 h 39"/>
                <a:gd name="T20" fmla="*/ 93707 w 32"/>
                <a:gd name="T21" fmla="*/ 5835 h 39"/>
                <a:gd name="T22" fmla="*/ 89027 w 32"/>
                <a:gd name="T23" fmla="*/ 7266 h 39"/>
                <a:gd name="T24" fmla="*/ 103198 w 32"/>
                <a:gd name="T25" fmla="*/ 9048 h 39"/>
                <a:gd name="T26" fmla="*/ 89027 w 32"/>
                <a:gd name="T27" fmla="*/ 10433 h 39"/>
                <a:gd name="T28" fmla="*/ 87419 w 32"/>
                <a:gd name="T29" fmla="*/ 11905 h 39"/>
                <a:gd name="T30" fmla="*/ 44283 w 32"/>
                <a:gd name="T31" fmla="*/ 12672 h 39"/>
                <a:gd name="T32" fmla="*/ 42299 w 32"/>
                <a:gd name="T33" fmla="*/ 12030 h 39"/>
                <a:gd name="T34" fmla="*/ 35283 w 32"/>
                <a:gd name="T35" fmla="*/ 10590 h 39"/>
                <a:gd name="T36" fmla="*/ 35283 w 32"/>
                <a:gd name="T37" fmla="*/ 9829 h 39"/>
                <a:gd name="T38" fmla="*/ 9310 w 32"/>
                <a:gd name="T39" fmla="*/ 8291 h 39"/>
                <a:gd name="T40" fmla="*/ 15420 w 32"/>
                <a:gd name="T41" fmla="*/ 7375 h 39"/>
                <a:gd name="T42" fmla="*/ 5621 w 32"/>
                <a:gd name="T43" fmla="*/ 5835 h 39"/>
                <a:gd name="T44" fmla="*/ 9310 w 32"/>
                <a:gd name="T45" fmla="*/ 4592 h 39"/>
                <a:gd name="T46" fmla="*/ 9310 w 32"/>
                <a:gd name="T47" fmla="*/ 3198 h 3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2" h="39">
                  <a:moveTo>
                    <a:pt x="3" y="10"/>
                  </a:moveTo>
                  <a:cubicBezTo>
                    <a:pt x="3" y="9"/>
                    <a:pt x="2" y="8"/>
                    <a:pt x="1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10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7" y="8"/>
                    <a:pt x="18" y="10"/>
                  </a:cubicBezTo>
                  <a:cubicBezTo>
                    <a:pt x="20" y="12"/>
                    <a:pt x="19" y="13"/>
                    <a:pt x="22" y="14"/>
                  </a:cubicBezTo>
                  <a:cubicBezTo>
                    <a:pt x="25" y="15"/>
                    <a:pt x="29" y="17"/>
                    <a:pt x="29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20"/>
                    <a:pt x="28" y="21"/>
                    <a:pt x="28" y="22"/>
                  </a:cubicBezTo>
                  <a:cubicBezTo>
                    <a:pt x="28" y="24"/>
                    <a:pt x="31" y="27"/>
                    <a:pt x="32" y="28"/>
                  </a:cubicBezTo>
                  <a:cubicBezTo>
                    <a:pt x="32" y="30"/>
                    <a:pt x="29" y="30"/>
                    <a:pt x="28" y="32"/>
                  </a:cubicBezTo>
                  <a:cubicBezTo>
                    <a:pt x="27" y="33"/>
                    <a:pt x="27" y="35"/>
                    <a:pt x="27" y="36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3" y="38"/>
                    <a:pt x="13" y="37"/>
                    <a:pt x="13" y="37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2"/>
                    <a:pt x="12" y="31"/>
                    <a:pt x="11" y="30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4"/>
                    <a:pt x="5" y="24"/>
                    <a:pt x="5" y="23"/>
                  </a:cubicBezTo>
                  <a:cubicBezTo>
                    <a:pt x="6" y="21"/>
                    <a:pt x="2" y="19"/>
                    <a:pt x="2" y="18"/>
                  </a:cubicBezTo>
                  <a:cubicBezTo>
                    <a:pt x="2" y="18"/>
                    <a:pt x="2" y="16"/>
                    <a:pt x="3" y="14"/>
                  </a:cubicBezTo>
                  <a:cubicBezTo>
                    <a:pt x="3" y="13"/>
                    <a:pt x="3" y="11"/>
                    <a:pt x="3" y="1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1" name="Freeform 124"/>
            <p:cNvSpPr>
              <a:spLocks/>
            </p:cNvSpPr>
            <p:nvPr/>
          </p:nvSpPr>
          <p:spPr bwMode="auto">
            <a:xfrm>
              <a:off x="6103300" y="3760785"/>
              <a:ext cx="38722" cy="72052"/>
            </a:xfrm>
            <a:custGeom>
              <a:avLst/>
              <a:gdLst>
                <a:gd name="T0" fmla="*/ 8283 w 14"/>
                <a:gd name="T1" fmla="*/ 2948 h 27"/>
                <a:gd name="T2" fmla="*/ 0 w 14"/>
                <a:gd name="T3" fmla="*/ 1657 h 27"/>
                <a:gd name="T4" fmla="*/ 8283 w 14"/>
                <a:gd name="T5" fmla="*/ 734 h 27"/>
                <a:gd name="T6" fmla="*/ 20892 w 14"/>
                <a:gd name="T7" fmla="*/ 1 h 27"/>
                <a:gd name="T8" fmla="*/ 22356 w 14"/>
                <a:gd name="T9" fmla="*/ 0 h 27"/>
                <a:gd name="T10" fmla="*/ 27492 w 14"/>
                <a:gd name="T11" fmla="*/ 1531 h 27"/>
                <a:gd name="T12" fmla="*/ 31354 w 14"/>
                <a:gd name="T13" fmla="*/ 2211 h 27"/>
                <a:gd name="T14" fmla="*/ 31354 w 14"/>
                <a:gd name="T15" fmla="*/ 3194 h 27"/>
                <a:gd name="T16" fmla="*/ 34323 w 14"/>
                <a:gd name="T17" fmla="*/ 5418 h 27"/>
                <a:gd name="T18" fmla="*/ 39481 w 14"/>
                <a:gd name="T19" fmla="*/ 6150 h 27"/>
                <a:gd name="T20" fmla="*/ 39481 w 14"/>
                <a:gd name="T21" fmla="*/ 6665 h 27"/>
                <a:gd name="T22" fmla="*/ 20892 w 14"/>
                <a:gd name="T23" fmla="*/ 9627 h 27"/>
                <a:gd name="T24" fmla="*/ 16734 w 14"/>
                <a:gd name="T25" fmla="*/ 9421 h 27"/>
                <a:gd name="T26" fmla="*/ 5042 w 14"/>
                <a:gd name="T27" fmla="*/ 7212 h 27"/>
                <a:gd name="T28" fmla="*/ 8283 w 14"/>
                <a:gd name="T29" fmla="*/ 2948 h 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" h="27">
                  <a:moveTo>
                    <a:pt x="3" y="8"/>
                  </a:moveTo>
                  <a:cubicBezTo>
                    <a:pt x="2" y="7"/>
                    <a:pt x="1" y="6"/>
                    <a:pt x="0" y="5"/>
                  </a:cubicBezTo>
                  <a:cubicBezTo>
                    <a:pt x="1" y="4"/>
                    <a:pt x="3" y="2"/>
                    <a:pt x="3" y="2"/>
                  </a:cubicBezTo>
                  <a:cubicBezTo>
                    <a:pt x="4" y="2"/>
                    <a:pt x="6" y="1"/>
                    <a:pt x="7" y="1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5"/>
                    <a:pt x="11" y="6"/>
                  </a:cubicBezTo>
                  <a:cubicBezTo>
                    <a:pt x="11" y="7"/>
                    <a:pt x="11" y="8"/>
                    <a:pt x="11" y="9"/>
                  </a:cubicBezTo>
                  <a:cubicBezTo>
                    <a:pt x="11" y="12"/>
                    <a:pt x="11" y="15"/>
                    <a:pt x="12" y="15"/>
                  </a:cubicBezTo>
                  <a:cubicBezTo>
                    <a:pt x="13" y="15"/>
                    <a:pt x="13" y="16"/>
                    <a:pt x="14" y="17"/>
                  </a:cubicBezTo>
                  <a:cubicBezTo>
                    <a:pt x="14" y="18"/>
                    <a:pt x="14" y="19"/>
                    <a:pt x="14" y="19"/>
                  </a:cubicBezTo>
                  <a:cubicBezTo>
                    <a:pt x="14" y="20"/>
                    <a:pt x="10" y="24"/>
                    <a:pt x="7" y="27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3" y="23"/>
                    <a:pt x="2" y="23"/>
                    <a:pt x="2" y="20"/>
                  </a:cubicBezTo>
                  <a:cubicBezTo>
                    <a:pt x="2" y="17"/>
                    <a:pt x="6" y="10"/>
                    <a:pt x="3" y="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2" name="Freeform 125"/>
            <p:cNvSpPr>
              <a:spLocks/>
            </p:cNvSpPr>
            <p:nvPr/>
          </p:nvSpPr>
          <p:spPr bwMode="auto">
            <a:xfrm>
              <a:off x="6115085" y="3426392"/>
              <a:ext cx="69027" cy="35102"/>
            </a:xfrm>
            <a:custGeom>
              <a:avLst/>
              <a:gdLst>
                <a:gd name="T0" fmla="*/ 2942 w 25"/>
                <a:gd name="T1" fmla="*/ 5742 h 13"/>
                <a:gd name="T2" fmla="*/ 0 w 25"/>
                <a:gd name="T3" fmla="*/ 4504 h 13"/>
                <a:gd name="T4" fmla="*/ 16348 w 25"/>
                <a:gd name="T5" fmla="*/ 2688 h 13"/>
                <a:gd name="T6" fmla="*/ 30312 w 25"/>
                <a:gd name="T7" fmla="*/ 0 h 13"/>
                <a:gd name="T8" fmla="*/ 65062 w 25"/>
                <a:gd name="T9" fmla="*/ 2688 h 13"/>
                <a:gd name="T10" fmla="*/ 65062 w 25"/>
                <a:gd name="T11" fmla="*/ 5330 h 13"/>
                <a:gd name="T12" fmla="*/ 2942 w 25"/>
                <a:gd name="T13" fmla="*/ 5742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5" h="13">
                  <a:moveTo>
                    <a:pt x="1" y="13"/>
                  </a:moveTo>
                  <a:cubicBezTo>
                    <a:pt x="1" y="12"/>
                    <a:pt x="0" y="10"/>
                    <a:pt x="0" y="10"/>
                  </a:cubicBezTo>
                  <a:cubicBezTo>
                    <a:pt x="3" y="9"/>
                    <a:pt x="6" y="7"/>
                    <a:pt x="6" y="6"/>
                  </a:cubicBezTo>
                  <a:cubicBezTo>
                    <a:pt x="7" y="5"/>
                    <a:pt x="11" y="2"/>
                    <a:pt x="11" y="0"/>
                  </a:cubicBezTo>
                  <a:cubicBezTo>
                    <a:pt x="11" y="0"/>
                    <a:pt x="23" y="5"/>
                    <a:pt x="24" y="6"/>
                  </a:cubicBezTo>
                  <a:cubicBezTo>
                    <a:pt x="25" y="7"/>
                    <a:pt x="24" y="12"/>
                    <a:pt x="24" y="12"/>
                  </a:cubicBezTo>
                  <a:cubicBezTo>
                    <a:pt x="23" y="12"/>
                    <a:pt x="3" y="13"/>
                    <a:pt x="1" y="1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3" name="Freeform 126"/>
            <p:cNvSpPr>
              <a:spLocks/>
            </p:cNvSpPr>
            <p:nvPr/>
          </p:nvSpPr>
          <p:spPr bwMode="auto">
            <a:xfrm>
              <a:off x="6116768" y="5042934"/>
              <a:ext cx="203714" cy="184748"/>
            </a:xfrm>
            <a:custGeom>
              <a:avLst/>
              <a:gdLst>
                <a:gd name="T0" fmla="*/ 0 w 73"/>
                <a:gd name="T1" fmla="*/ 16143 h 70"/>
                <a:gd name="T2" fmla="*/ 0 w 73"/>
                <a:gd name="T3" fmla="*/ 8951 h 70"/>
                <a:gd name="T4" fmla="*/ 29282 w 73"/>
                <a:gd name="T5" fmla="*/ 8951 h 70"/>
                <a:gd name="T6" fmla="*/ 29282 w 73"/>
                <a:gd name="T7" fmla="*/ 1387 h 70"/>
                <a:gd name="T8" fmla="*/ 73828 w 73"/>
                <a:gd name="T9" fmla="*/ 1 h 70"/>
                <a:gd name="T10" fmla="*/ 94740 w 73"/>
                <a:gd name="T11" fmla="*/ 971 h 70"/>
                <a:gd name="T12" fmla="*/ 113602 w 73"/>
                <a:gd name="T13" fmla="*/ 680 h 70"/>
                <a:gd name="T14" fmla="*/ 139778 w 73"/>
                <a:gd name="T15" fmla="*/ 0 h 70"/>
                <a:gd name="T16" fmla="*/ 139778 w 73"/>
                <a:gd name="T17" fmla="*/ 680 h 70"/>
                <a:gd name="T18" fmla="*/ 168870 w 73"/>
                <a:gd name="T19" fmla="*/ 4244 h 70"/>
                <a:gd name="T20" fmla="*/ 184550 w 73"/>
                <a:gd name="T21" fmla="*/ 5776 h 70"/>
                <a:gd name="T22" fmla="*/ 194067 w 73"/>
                <a:gd name="T23" fmla="*/ 5537 h 70"/>
                <a:gd name="T24" fmla="*/ 197382 w 73"/>
                <a:gd name="T25" fmla="*/ 7533 h 70"/>
                <a:gd name="T26" fmla="*/ 231687 w 73"/>
                <a:gd name="T27" fmla="*/ 8661 h 70"/>
                <a:gd name="T28" fmla="*/ 237435 w 73"/>
                <a:gd name="T29" fmla="*/ 8951 h 70"/>
                <a:gd name="T30" fmla="*/ 217755 w 73"/>
                <a:gd name="T31" fmla="*/ 11300 h 70"/>
                <a:gd name="T32" fmla="*/ 194067 w 73"/>
                <a:gd name="T33" fmla="*/ 12373 h 70"/>
                <a:gd name="T34" fmla="*/ 175929 w 73"/>
                <a:gd name="T35" fmla="*/ 14733 h 70"/>
                <a:gd name="T36" fmla="*/ 148800 w 73"/>
                <a:gd name="T37" fmla="*/ 16143 h 70"/>
                <a:gd name="T38" fmla="*/ 136851 w 73"/>
                <a:gd name="T39" fmla="*/ 18267 h 70"/>
                <a:gd name="T40" fmla="*/ 80450 w 73"/>
                <a:gd name="T41" fmla="*/ 17571 h 70"/>
                <a:gd name="T42" fmla="*/ 60740 w 73"/>
                <a:gd name="T43" fmla="*/ 19716 h 70"/>
                <a:gd name="T44" fmla="*/ 25710 w 73"/>
                <a:gd name="T45" fmla="*/ 20747 h 70"/>
                <a:gd name="T46" fmla="*/ 15511 w 73"/>
                <a:gd name="T47" fmla="*/ 16143 h 70"/>
                <a:gd name="T48" fmla="*/ 0 w 73"/>
                <a:gd name="T49" fmla="*/ 16143 h 7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3" h="70">
                  <a:moveTo>
                    <a:pt x="0" y="53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2" y="4"/>
                    <a:pt x="23" y="1"/>
                    <a:pt x="23" y="1"/>
                  </a:cubicBezTo>
                  <a:cubicBezTo>
                    <a:pt x="26" y="1"/>
                    <a:pt x="28" y="4"/>
                    <a:pt x="29" y="3"/>
                  </a:cubicBezTo>
                  <a:cubicBezTo>
                    <a:pt x="31" y="2"/>
                    <a:pt x="34" y="2"/>
                    <a:pt x="35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5" y="4"/>
                    <a:pt x="49" y="12"/>
                    <a:pt x="52" y="14"/>
                  </a:cubicBezTo>
                  <a:cubicBezTo>
                    <a:pt x="54" y="15"/>
                    <a:pt x="57" y="19"/>
                    <a:pt x="57" y="19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1" y="24"/>
                    <a:pt x="61" y="25"/>
                  </a:cubicBezTo>
                  <a:cubicBezTo>
                    <a:pt x="62" y="26"/>
                    <a:pt x="68" y="28"/>
                    <a:pt x="71" y="29"/>
                  </a:cubicBezTo>
                  <a:cubicBezTo>
                    <a:pt x="71" y="29"/>
                    <a:pt x="72" y="30"/>
                    <a:pt x="73" y="30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4" y="38"/>
                    <a:pt x="62" y="39"/>
                    <a:pt x="60" y="41"/>
                  </a:cubicBezTo>
                  <a:cubicBezTo>
                    <a:pt x="58" y="42"/>
                    <a:pt x="54" y="47"/>
                    <a:pt x="54" y="49"/>
                  </a:cubicBezTo>
                  <a:cubicBezTo>
                    <a:pt x="54" y="51"/>
                    <a:pt x="48" y="52"/>
                    <a:pt x="46" y="53"/>
                  </a:cubicBezTo>
                  <a:cubicBezTo>
                    <a:pt x="45" y="54"/>
                    <a:pt x="43" y="59"/>
                    <a:pt x="42" y="61"/>
                  </a:cubicBezTo>
                  <a:cubicBezTo>
                    <a:pt x="41" y="63"/>
                    <a:pt x="28" y="59"/>
                    <a:pt x="25" y="58"/>
                  </a:cubicBezTo>
                  <a:cubicBezTo>
                    <a:pt x="22" y="58"/>
                    <a:pt x="20" y="63"/>
                    <a:pt x="19" y="66"/>
                  </a:cubicBezTo>
                  <a:cubicBezTo>
                    <a:pt x="17" y="69"/>
                    <a:pt x="9" y="70"/>
                    <a:pt x="8" y="69"/>
                  </a:cubicBezTo>
                  <a:cubicBezTo>
                    <a:pt x="6" y="69"/>
                    <a:pt x="8" y="53"/>
                    <a:pt x="5" y="53"/>
                  </a:cubicBezTo>
                  <a:lnTo>
                    <a:pt x="0" y="53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4" name="Freeform 127"/>
            <p:cNvSpPr>
              <a:spLocks/>
            </p:cNvSpPr>
            <p:nvPr/>
          </p:nvSpPr>
          <p:spPr bwMode="auto">
            <a:xfrm>
              <a:off x="6086464" y="3740463"/>
              <a:ext cx="42090" cy="33255"/>
            </a:xfrm>
            <a:custGeom>
              <a:avLst/>
              <a:gdLst>
                <a:gd name="T0" fmla="*/ 6147 w 15"/>
                <a:gd name="T1" fmla="*/ 738 h 13"/>
                <a:gd name="T2" fmla="*/ 21542 w 15"/>
                <a:gd name="T3" fmla="*/ 0 h 13"/>
                <a:gd name="T4" fmla="*/ 48325 w 15"/>
                <a:gd name="T5" fmla="*/ 937 h 13"/>
                <a:gd name="T6" fmla="*/ 48325 w 15"/>
                <a:gd name="T7" fmla="*/ 1415 h 13"/>
                <a:gd name="T8" fmla="*/ 47430 w 15"/>
                <a:gd name="T9" fmla="*/ 1655 h 13"/>
                <a:gd name="T10" fmla="*/ 32255 w 15"/>
                <a:gd name="T11" fmla="*/ 1796 h 13"/>
                <a:gd name="T12" fmla="*/ 21542 w 15"/>
                <a:gd name="T13" fmla="*/ 2352 h 13"/>
                <a:gd name="T14" fmla="*/ 3688 w 15"/>
                <a:gd name="T15" fmla="*/ 1796 h 13"/>
                <a:gd name="T16" fmla="*/ 0 w 15"/>
                <a:gd name="T17" fmla="*/ 1796 h 13"/>
                <a:gd name="T18" fmla="*/ 6147 w 15"/>
                <a:gd name="T19" fmla="*/ 738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" h="13">
                  <a:moveTo>
                    <a:pt x="2" y="4"/>
                  </a:moveTo>
                  <a:cubicBezTo>
                    <a:pt x="2" y="4"/>
                    <a:pt x="5" y="2"/>
                    <a:pt x="6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4" y="7"/>
                    <a:pt x="14" y="8"/>
                  </a:cubicBezTo>
                  <a:cubicBezTo>
                    <a:pt x="14" y="9"/>
                    <a:pt x="13" y="9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9" y="10"/>
                    <a:pt x="7" y="12"/>
                    <a:pt x="6" y="13"/>
                  </a:cubicBezTo>
                  <a:cubicBezTo>
                    <a:pt x="5" y="12"/>
                    <a:pt x="3" y="11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1" y="8"/>
                    <a:pt x="2" y="5"/>
                    <a:pt x="2" y="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5" name="Freeform 128"/>
            <p:cNvSpPr>
              <a:spLocks noEditPoints="1"/>
            </p:cNvSpPr>
            <p:nvPr/>
          </p:nvSpPr>
          <p:spPr bwMode="auto">
            <a:xfrm>
              <a:off x="6047741" y="5122376"/>
              <a:ext cx="348502" cy="284511"/>
            </a:xfrm>
            <a:custGeom>
              <a:avLst/>
              <a:gdLst>
                <a:gd name="T0" fmla="*/ 255567 w 125"/>
                <a:gd name="T1" fmla="*/ 15643 h 109"/>
                <a:gd name="T2" fmla="*/ 262703 w 125"/>
                <a:gd name="T3" fmla="*/ 16503 h 109"/>
                <a:gd name="T4" fmla="*/ 282543 w 125"/>
                <a:gd name="T5" fmla="*/ 18125 h 109"/>
                <a:gd name="T6" fmla="*/ 297434 w 125"/>
                <a:gd name="T7" fmla="*/ 16893 h 109"/>
                <a:gd name="T8" fmla="*/ 312525 w 125"/>
                <a:gd name="T9" fmla="*/ 15181 h 109"/>
                <a:gd name="T10" fmla="*/ 293723 w 125"/>
                <a:gd name="T11" fmla="*/ 13466 h 109"/>
                <a:gd name="T12" fmla="*/ 255567 w 125"/>
                <a:gd name="T13" fmla="*/ 15643 h 109"/>
                <a:gd name="T14" fmla="*/ 0 w 125"/>
                <a:gd name="T15" fmla="*/ 13849 h 109"/>
                <a:gd name="T16" fmla="*/ 15374 w 125"/>
                <a:gd name="T17" fmla="*/ 12584 h 109"/>
                <a:gd name="T18" fmla="*/ 32420 w 125"/>
                <a:gd name="T19" fmla="*/ 14119 h 109"/>
                <a:gd name="T20" fmla="*/ 79640 w 125"/>
                <a:gd name="T21" fmla="*/ 13466 h 109"/>
                <a:gd name="T22" fmla="*/ 79640 w 125"/>
                <a:gd name="T23" fmla="*/ 5663 h 109"/>
                <a:gd name="T24" fmla="*/ 96643 w 125"/>
                <a:gd name="T25" fmla="*/ 5663 h 109"/>
                <a:gd name="T26" fmla="*/ 106383 w 125"/>
                <a:gd name="T27" fmla="*/ 9802 h 109"/>
                <a:gd name="T28" fmla="*/ 140629 w 125"/>
                <a:gd name="T29" fmla="*/ 9080 h 109"/>
                <a:gd name="T30" fmla="*/ 160041 w 125"/>
                <a:gd name="T31" fmla="*/ 7203 h 109"/>
                <a:gd name="T32" fmla="*/ 214689 w 125"/>
                <a:gd name="T33" fmla="*/ 7837 h 109"/>
                <a:gd name="T34" fmla="*/ 227455 w 125"/>
                <a:gd name="T35" fmla="*/ 5663 h 109"/>
                <a:gd name="T36" fmla="*/ 252964 w 125"/>
                <a:gd name="T37" fmla="*/ 4775 h 109"/>
                <a:gd name="T38" fmla="*/ 271667 w 125"/>
                <a:gd name="T39" fmla="*/ 2837 h 109"/>
                <a:gd name="T40" fmla="*/ 293723 w 125"/>
                <a:gd name="T41" fmla="*/ 1808 h 109"/>
                <a:gd name="T42" fmla="*/ 312525 w 125"/>
                <a:gd name="T43" fmla="*/ 0 h 109"/>
                <a:gd name="T44" fmla="*/ 335953 w 125"/>
                <a:gd name="T45" fmla="*/ 504 h 109"/>
                <a:gd name="T46" fmla="*/ 357198 w 125"/>
                <a:gd name="T47" fmla="*/ 712 h 109"/>
                <a:gd name="T48" fmla="*/ 357198 w 125"/>
                <a:gd name="T49" fmla="*/ 712 h 109"/>
                <a:gd name="T50" fmla="*/ 361670 w 125"/>
                <a:gd name="T51" fmla="*/ 1280 h 109"/>
                <a:gd name="T52" fmla="*/ 371469 w 125"/>
                <a:gd name="T53" fmla="*/ 4008 h 109"/>
                <a:gd name="T54" fmla="*/ 374748 w 125"/>
                <a:gd name="T55" fmla="*/ 7379 h 109"/>
                <a:gd name="T56" fmla="*/ 374748 w 125"/>
                <a:gd name="T57" fmla="*/ 8001 h 109"/>
                <a:gd name="T58" fmla="*/ 361670 w 125"/>
                <a:gd name="T59" fmla="*/ 7379 h 109"/>
                <a:gd name="T60" fmla="*/ 344945 w 125"/>
                <a:gd name="T61" fmla="*/ 9802 h 109"/>
                <a:gd name="T62" fmla="*/ 350098 w 125"/>
                <a:gd name="T63" fmla="*/ 11072 h 109"/>
                <a:gd name="T64" fmla="*/ 374748 w 125"/>
                <a:gd name="T65" fmla="*/ 9802 h 109"/>
                <a:gd name="T66" fmla="*/ 395047 w 125"/>
                <a:gd name="T67" fmla="*/ 10177 h 109"/>
                <a:gd name="T68" fmla="*/ 395047 w 125"/>
                <a:gd name="T69" fmla="*/ 10880 h 109"/>
                <a:gd name="T70" fmla="*/ 376665 w 125"/>
                <a:gd name="T71" fmla="*/ 14379 h 109"/>
                <a:gd name="T72" fmla="*/ 341568 w 125"/>
                <a:gd name="T73" fmla="*/ 17779 h 109"/>
                <a:gd name="T74" fmla="*/ 265028 w 125"/>
                <a:gd name="T75" fmla="*/ 23780 h 109"/>
                <a:gd name="T76" fmla="*/ 218400 w 125"/>
                <a:gd name="T77" fmla="*/ 25119 h 109"/>
                <a:gd name="T78" fmla="*/ 160041 w 125"/>
                <a:gd name="T79" fmla="*/ 25119 h 109"/>
                <a:gd name="T80" fmla="*/ 125785 w 125"/>
                <a:gd name="T81" fmla="*/ 26027 h 109"/>
                <a:gd name="T82" fmla="*/ 77092 w 125"/>
                <a:gd name="T83" fmla="*/ 27264 h 109"/>
                <a:gd name="T84" fmla="*/ 53688 w 125"/>
                <a:gd name="T85" fmla="*/ 25608 h 109"/>
                <a:gd name="T86" fmla="*/ 42160 w 125"/>
                <a:gd name="T87" fmla="*/ 24656 h 109"/>
                <a:gd name="T88" fmla="*/ 32420 w 125"/>
                <a:gd name="T89" fmla="*/ 22967 h 109"/>
                <a:gd name="T90" fmla="*/ 44237 w 125"/>
                <a:gd name="T91" fmla="*/ 20810 h 109"/>
                <a:gd name="T92" fmla="*/ 35241 w 125"/>
                <a:gd name="T93" fmla="*/ 19496 h 109"/>
                <a:gd name="T94" fmla="*/ 14146 w 125"/>
                <a:gd name="T95" fmla="*/ 16448 h 109"/>
                <a:gd name="T96" fmla="*/ 0 w 125"/>
                <a:gd name="T97" fmla="*/ 13849 h 10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25" h="109">
                  <a:moveTo>
                    <a:pt x="80" y="62"/>
                  </a:moveTo>
                  <a:cubicBezTo>
                    <a:pt x="79" y="64"/>
                    <a:pt x="81" y="65"/>
                    <a:pt x="82" y="66"/>
                  </a:cubicBezTo>
                  <a:cubicBezTo>
                    <a:pt x="82" y="66"/>
                    <a:pt x="87" y="73"/>
                    <a:pt x="88" y="72"/>
                  </a:cubicBezTo>
                  <a:cubicBezTo>
                    <a:pt x="90" y="70"/>
                    <a:pt x="92" y="67"/>
                    <a:pt x="93" y="67"/>
                  </a:cubicBezTo>
                  <a:cubicBezTo>
                    <a:pt x="94" y="67"/>
                    <a:pt x="98" y="62"/>
                    <a:pt x="98" y="60"/>
                  </a:cubicBezTo>
                  <a:cubicBezTo>
                    <a:pt x="98" y="58"/>
                    <a:pt x="95" y="54"/>
                    <a:pt x="92" y="54"/>
                  </a:cubicBezTo>
                  <a:cubicBezTo>
                    <a:pt x="88" y="53"/>
                    <a:pt x="81" y="61"/>
                    <a:pt x="80" y="62"/>
                  </a:cubicBezTo>
                  <a:close/>
                  <a:moveTo>
                    <a:pt x="0" y="55"/>
                  </a:moveTo>
                  <a:cubicBezTo>
                    <a:pt x="1" y="53"/>
                    <a:pt x="3" y="50"/>
                    <a:pt x="5" y="50"/>
                  </a:cubicBezTo>
                  <a:cubicBezTo>
                    <a:pt x="7" y="50"/>
                    <a:pt x="8" y="56"/>
                    <a:pt x="10" y="56"/>
                  </a:cubicBezTo>
                  <a:cubicBezTo>
                    <a:pt x="13" y="56"/>
                    <a:pt x="25" y="54"/>
                    <a:pt x="25" y="54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3" y="23"/>
                    <a:pt x="31" y="39"/>
                    <a:pt x="33" y="39"/>
                  </a:cubicBezTo>
                  <a:cubicBezTo>
                    <a:pt x="34" y="40"/>
                    <a:pt x="42" y="39"/>
                    <a:pt x="44" y="36"/>
                  </a:cubicBezTo>
                  <a:cubicBezTo>
                    <a:pt x="45" y="33"/>
                    <a:pt x="47" y="28"/>
                    <a:pt x="50" y="28"/>
                  </a:cubicBezTo>
                  <a:cubicBezTo>
                    <a:pt x="53" y="29"/>
                    <a:pt x="66" y="33"/>
                    <a:pt x="67" y="31"/>
                  </a:cubicBezTo>
                  <a:cubicBezTo>
                    <a:pt x="68" y="29"/>
                    <a:pt x="70" y="24"/>
                    <a:pt x="71" y="23"/>
                  </a:cubicBezTo>
                  <a:cubicBezTo>
                    <a:pt x="73" y="22"/>
                    <a:pt x="79" y="21"/>
                    <a:pt x="79" y="19"/>
                  </a:cubicBezTo>
                  <a:cubicBezTo>
                    <a:pt x="79" y="17"/>
                    <a:pt x="83" y="12"/>
                    <a:pt x="85" y="11"/>
                  </a:cubicBezTo>
                  <a:cubicBezTo>
                    <a:pt x="87" y="9"/>
                    <a:pt x="89" y="8"/>
                    <a:pt x="92" y="7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1"/>
                    <a:pt x="103" y="2"/>
                    <a:pt x="105" y="2"/>
                  </a:cubicBezTo>
                  <a:cubicBezTo>
                    <a:pt x="107" y="2"/>
                    <a:pt x="111" y="2"/>
                    <a:pt x="112" y="3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4"/>
                    <a:pt x="113" y="4"/>
                    <a:pt x="113" y="5"/>
                  </a:cubicBezTo>
                  <a:cubicBezTo>
                    <a:pt x="113" y="7"/>
                    <a:pt x="114" y="14"/>
                    <a:pt x="116" y="16"/>
                  </a:cubicBezTo>
                  <a:cubicBezTo>
                    <a:pt x="118" y="19"/>
                    <a:pt x="117" y="28"/>
                    <a:pt x="117" y="30"/>
                  </a:cubicBezTo>
                  <a:cubicBezTo>
                    <a:pt x="117" y="30"/>
                    <a:pt x="117" y="31"/>
                    <a:pt x="117" y="32"/>
                  </a:cubicBezTo>
                  <a:cubicBezTo>
                    <a:pt x="117" y="32"/>
                    <a:pt x="116" y="29"/>
                    <a:pt x="113" y="30"/>
                  </a:cubicBezTo>
                  <a:cubicBezTo>
                    <a:pt x="110" y="31"/>
                    <a:pt x="108" y="36"/>
                    <a:pt x="108" y="39"/>
                  </a:cubicBezTo>
                  <a:cubicBezTo>
                    <a:pt x="108" y="41"/>
                    <a:pt x="106" y="43"/>
                    <a:pt x="109" y="44"/>
                  </a:cubicBezTo>
                  <a:cubicBezTo>
                    <a:pt x="119" y="46"/>
                    <a:pt x="117" y="39"/>
                    <a:pt x="117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1"/>
                    <a:pt x="124" y="42"/>
                    <a:pt x="124" y="43"/>
                  </a:cubicBezTo>
                  <a:cubicBezTo>
                    <a:pt x="123" y="46"/>
                    <a:pt x="120" y="54"/>
                    <a:pt x="118" y="57"/>
                  </a:cubicBezTo>
                  <a:cubicBezTo>
                    <a:pt x="115" y="59"/>
                    <a:pt x="109" y="69"/>
                    <a:pt x="107" y="71"/>
                  </a:cubicBezTo>
                  <a:cubicBezTo>
                    <a:pt x="105" y="73"/>
                    <a:pt x="87" y="92"/>
                    <a:pt x="83" y="94"/>
                  </a:cubicBezTo>
                  <a:cubicBezTo>
                    <a:pt x="79" y="96"/>
                    <a:pt x="75" y="100"/>
                    <a:pt x="68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5" y="100"/>
                    <a:pt x="42" y="102"/>
                    <a:pt x="39" y="103"/>
                  </a:cubicBezTo>
                  <a:cubicBezTo>
                    <a:pt x="36" y="103"/>
                    <a:pt x="27" y="109"/>
                    <a:pt x="24" y="108"/>
                  </a:cubicBezTo>
                  <a:cubicBezTo>
                    <a:pt x="21" y="106"/>
                    <a:pt x="20" y="102"/>
                    <a:pt x="17" y="102"/>
                  </a:cubicBezTo>
                  <a:cubicBezTo>
                    <a:pt x="14" y="102"/>
                    <a:pt x="13" y="101"/>
                    <a:pt x="13" y="98"/>
                  </a:cubicBezTo>
                  <a:cubicBezTo>
                    <a:pt x="12" y="95"/>
                    <a:pt x="10" y="92"/>
                    <a:pt x="10" y="91"/>
                  </a:cubicBezTo>
                  <a:cubicBezTo>
                    <a:pt x="10" y="89"/>
                    <a:pt x="14" y="85"/>
                    <a:pt x="14" y="83"/>
                  </a:cubicBezTo>
                  <a:cubicBezTo>
                    <a:pt x="14" y="82"/>
                    <a:pt x="13" y="79"/>
                    <a:pt x="11" y="77"/>
                  </a:cubicBezTo>
                  <a:cubicBezTo>
                    <a:pt x="8" y="74"/>
                    <a:pt x="6" y="70"/>
                    <a:pt x="4" y="65"/>
                  </a:cubicBezTo>
                  <a:cubicBezTo>
                    <a:pt x="3" y="61"/>
                    <a:pt x="2" y="58"/>
                    <a:pt x="0" y="55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6" name="Freeform 129"/>
            <p:cNvSpPr>
              <a:spLocks/>
            </p:cNvSpPr>
            <p:nvPr/>
          </p:nvSpPr>
          <p:spPr bwMode="auto">
            <a:xfrm>
              <a:off x="6056159" y="3587122"/>
              <a:ext cx="121218" cy="48034"/>
            </a:xfrm>
            <a:custGeom>
              <a:avLst/>
              <a:gdLst>
                <a:gd name="T0" fmla="*/ 3828 w 43"/>
                <a:gd name="T1" fmla="*/ 4993 h 18"/>
                <a:gd name="T2" fmla="*/ 0 w 43"/>
                <a:gd name="T3" fmla="*/ 3194 h 18"/>
                <a:gd name="T4" fmla="*/ 0 w 43"/>
                <a:gd name="T5" fmla="*/ 2948 h 18"/>
                <a:gd name="T6" fmla="*/ 22876 w 43"/>
                <a:gd name="T7" fmla="*/ 2393 h 18"/>
                <a:gd name="T8" fmla="*/ 40852 w 43"/>
                <a:gd name="T9" fmla="*/ 734 h 18"/>
                <a:gd name="T10" fmla="*/ 52964 w 43"/>
                <a:gd name="T11" fmla="*/ 0 h 18"/>
                <a:gd name="T12" fmla="*/ 73479 w 43"/>
                <a:gd name="T13" fmla="*/ 1 h 18"/>
                <a:gd name="T14" fmla="*/ 88684 w 43"/>
                <a:gd name="T15" fmla="*/ 1060 h 18"/>
                <a:gd name="T16" fmla="*/ 123035 w 43"/>
                <a:gd name="T17" fmla="*/ 1 h 18"/>
                <a:gd name="T18" fmla="*/ 145705 w 43"/>
                <a:gd name="T19" fmla="*/ 734 h 18"/>
                <a:gd name="T20" fmla="*/ 165089 w 43"/>
                <a:gd name="T21" fmla="*/ 2211 h 18"/>
                <a:gd name="T22" fmla="*/ 152812 w 43"/>
                <a:gd name="T23" fmla="*/ 3930 h 18"/>
                <a:gd name="T24" fmla="*/ 123035 w 43"/>
                <a:gd name="T25" fmla="*/ 3457 h 18"/>
                <a:gd name="T26" fmla="*/ 95099 w 43"/>
                <a:gd name="T27" fmla="*/ 4614 h 18"/>
                <a:gd name="T28" fmla="*/ 64137 w 43"/>
                <a:gd name="T29" fmla="*/ 5418 h 18"/>
                <a:gd name="T30" fmla="*/ 52964 w 43"/>
                <a:gd name="T31" fmla="*/ 6522 h 18"/>
                <a:gd name="T32" fmla="*/ 22876 w 43"/>
                <a:gd name="T33" fmla="*/ 6522 h 18"/>
                <a:gd name="T34" fmla="*/ 3828 w 43"/>
                <a:gd name="T35" fmla="*/ 5418 h 18"/>
                <a:gd name="T36" fmla="*/ 3828 w 43"/>
                <a:gd name="T37" fmla="*/ 5418 h 18"/>
                <a:gd name="T38" fmla="*/ 3828 w 43"/>
                <a:gd name="T39" fmla="*/ 4993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43" h="18">
                  <a:moveTo>
                    <a:pt x="1" y="14"/>
                  </a:moveTo>
                  <a:cubicBezTo>
                    <a:pt x="0" y="13"/>
                    <a:pt x="0" y="10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7"/>
                    <a:pt x="6" y="8"/>
                    <a:pt x="6" y="7"/>
                  </a:cubicBezTo>
                  <a:cubicBezTo>
                    <a:pt x="8" y="5"/>
                    <a:pt x="11" y="3"/>
                    <a:pt x="11" y="2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4" y="0"/>
                    <a:pt x="18" y="0"/>
                    <a:pt x="19" y="1"/>
                  </a:cubicBezTo>
                  <a:cubicBezTo>
                    <a:pt x="20" y="2"/>
                    <a:pt x="21" y="3"/>
                    <a:pt x="23" y="3"/>
                  </a:cubicBezTo>
                  <a:cubicBezTo>
                    <a:pt x="25" y="3"/>
                    <a:pt x="30" y="1"/>
                    <a:pt x="32" y="1"/>
                  </a:cubicBezTo>
                  <a:cubicBezTo>
                    <a:pt x="34" y="1"/>
                    <a:pt x="38" y="2"/>
                    <a:pt x="38" y="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0" y="10"/>
                    <a:pt x="40" y="11"/>
                  </a:cubicBezTo>
                  <a:cubicBezTo>
                    <a:pt x="40" y="11"/>
                    <a:pt x="34" y="10"/>
                    <a:pt x="32" y="10"/>
                  </a:cubicBezTo>
                  <a:cubicBezTo>
                    <a:pt x="30" y="10"/>
                    <a:pt x="27" y="13"/>
                    <a:pt x="25" y="13"/>
                  </a:cubicBezTo>
                  <a:cubicBezTo>
                    <a:pt x="24" y="13"/>
                    <a:pt x="18" y="14"/>
                    <a:pt x="17" y="15"/>
                  </a:cubicBezTo>
                  <a:cubicBezTo>
                    <a:pt x="16" y="15"/>
                    <a:pt x="14" y="18"/>
                    <a:pt x="14" y="18"/>
                  </a:cubicBezTo>
                  <a:cubicBezTo>
                    <a:pt x="14" y="18"/>
                    <a:pt x="7" y="18"/>
                    <a:pt x="6" y="18"/>
                  </a:cubicBezTo>
                  <a:cubicBezTo>
                    <a:pt x="4" y="18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4"/>
                    <a:pt x="1" y="1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7" name="Freeform 130"/>
            <p:cNvSpPr>
              <a:spLocks/>
            </p:cNvSpPr>
            <p:nvPr/>
          </p:nvSpPr>
          <p:spPr bwMode="auto">
            <a:xfrm>
              <a:off x="6039324" y="3612987"/>
              <a:ext cx="144788" cy="72052"/>
            </a:xfrm>
            <a:custGeom>
              <a:avLst/>
              <a:gdLst>
                <a:gd name="T0" fmla="*/ 5547 w 52"/>
                <a:gd name="T1" fmla="*/ 6665 h 27"/>
                <a:gd name="T2" fmla="*/ 0 w 52"/>
                <a:gd name="T3" fmla="*/ 5677 h 27"/>
                <a:gd name="T4" fmla="*/ 5547 w 52"/>
                <a:gd name="T5" fmla="*/ 4614 h 27"/>
                <a:gd name="T6" fmla="*/ 9174 w 52"/>
                <a:gd name="T7" fmla="*/ 2948 h 27"/>
                <a:gd name="T8" fmla="*/ 19247 w 52"/>
                <a:gd name="T9" fmla="*/ 3194 h 27"/>
                <a:gd name="T10" fmla="*/ 23124 w 52"/>
                <a:gd name="T11" fmla="*/ 1657 h 27"/>
                <a:gd name="T12" fmla="*/ 23124 w 52"/>
                <a:gd name="T13" fmla="*/ 1657 h 27"/>
                <a:gd name="T14" fmla="*/ 38244 w 52"/>
                <a:gd name="T15" fmla="*/ 2948 h 27"/>
                <a:gd name="T16" fmla="*/ 63250 w 52"/>
                <a:gd name="T17" fmla="*/ 2948 h 27"/>
                <a:gd name="T18" fmla="*/ 71911 w 52"/>
                <a:gd name="T19" fmla="*/ 1657 h 27"/>
                <a:gd name="T20" fmla="*/ 96151 w 52"/>
                <a:gd name="T21" fmla="*/ 1060 h 27"/>
                <a:gd name="T22" fmla="*/ 118930 w 52"/>
                <a:gd name="T23" fmla="*/ 0 h 27"/>
                <a:gd name="T24" fmla="*/ 143995 w 52"/>
                <a:gd name="T25" fmla="*/ 1 h 27"/>
                <a:gd name="T26" fmla="*/ 159019 w 52"/>
                <a:gd name="T27" fmla="*/ 1657 h 27"/>
                <a:gd name="T28" fmla="*/ 156892 w 52"/>
                <a:gd name="T29" fmla="*/ 2948 h 27"/>
                <a:gd name="T30" fmla="*/ 138599 w 52"/>
                <a:gd name="T31" fmla="*/ 4258 h 27"/>
                <a:gd name="T32" fmla="*/ 118930 w 52"/>
                <a:gd name="T33" fmla="*/ 7826 h 27"/>
                <a:gd name="T34" fmla="*/ 101090 w 52"/>
                <a:gd name="T35" fmla="*/ 8200 h 27"/>
                <a:gd name="T36" fmla="*/ 96151 w 52"/>
                <a:gd name="T37" fmla="*/ 8200 h 27"/>
                <a:gd name="T38" fmla="*/ 71911 w 52"/>
                <a:gd name="T39" fmla="*/ 8867 h 27"/>
                <a:gd name="T40" fmla="*/ 63250 w 52"/>
                <a:gd name="T41" fmla="*/ 8883 h 27"/>
                <a:gd name="T42" fmla="*/ 52645 w 52"/>
                <a:gd name="T43" fmla="*/ 9627 h 27"/>
                <a:gd name="T44" fmla="*/ 31832 w 52"/>
                <a:gd name="T45" fmla="*/ 8883 h 27"/>
                <a:gd name="T46" fmla="*/ 9174 w 52"/>
                <a:gd name="T47" fmla="*/ 7212 h 27"/>
                <a:gd name="T48" fmla="*/ 5547 w 52"/>
                <a:gd name="T49" fmla="*/ 6665 h 2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2" h="27">
                  <a:moveTo>
                    <a:pt x="2" y="19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2" y="14"/>
                    <a:pt x="2" y="13"/>
                  </a:cubicBezTo>
                  <a:cubicBezTo>
                    <a:pt x="2" y="11"/>
                    <a:pt x="2" y="9"/>
                    <a:pt x="3" y="8"/>
                  </a:cubicBezTo>
                  <a:cubicBezTo>
                    <a:pt x="4" y="8"/>
                    <a:pt x="6" y="9"/>
                    <a:pt x="6" y="9"/>
                  </a:cubicBezTo>
                  <a:cubicBezTo>
                    <a:pt x="7" y="8"/>
                    <a:pt x="7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10" y="8"/>
                    <a:pt x="12" y="8"/>
                  </a:cubicBezTo>
                  <a:cubicBezTo>
                    <a:pt x="13" y="8"/>
                    <a:pt x="20" y="8"/>
                    <a:pt x="20" y="8"/>
                  </a:cubicBezTo>
                  <a:cubicBezTo>
                    <a:pt x="20" y="8"/>
                    <a:pt x="22" y="5"/>
                    <a:pt x="23" y="5"/>
                  </a:cubicBezTo>
                  <a:cubicBezTo>
                    <a:pt x="24" y="4"/>
                    <a:pt x="30" y="3"/>
                    <a:pt x="31" y="3"/>
                  </a:cubicBezTo>
                  <a:cubicBezTo>
                    <a:pt x="33" y="3"/>
                    <a:pt x="36" y="0"/>
                    <a:pt x="38" y="0"/>
                  </a:cubicBezTo>
                  <a:cubicBezTo>
                    <a:pt x="40" y="0"/>
                    <a:pt x="46" y="1"/>
                    <a:pt x="46" y="1"/>
                  </a:cubicBezTo>
                  <a:cubicBezTo>
                    <a:pt x="45" y="2"/>
                    <a:pt x="50" y="4"/>
                    <a:pt x="51" y="5"/>
                  </a:cubicBezTo>
                  <a:cubicBezTo>
                    <a:pt x="52" y="6"/>
                    <a:pt x="50" y="7"/>
                    <a:pt x="50" y="8"/>
                  </a:cubicBezTo>
                  <a:cubicBezTo>
                    <a:pt x="49" y="9"/>
                    <a:pt x="45" y="11"/>
                    <a:pt x="44" y="12"/>
                  </a:cubicBezTo>
                  <a:cubicBezTo>
                    <a:pt x="42" y="12"/>
                    <a:pt x="40" y="21"/>
                    <a:pt x="38" y="22"/>
                  </a:cubicBezTo>
                  <a:cubicBezTo>
                    <a:pt x="38" y="23"/>
                    <a:pt x="34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ubicBezTo>
                    <a:pt x="30" y="23"/>
                    <a:pt x="24" y="24"/>
                    <a:pt x="23" y="24"/>
                  </a:cubicBezTo>
                  <a:cubicBezTo>
                    <a:pt x="22" y="24"/>
                    <a:pt x="21" y="25"/>
                    <a:pt x="20" y="25"/>
                  </a:cubicBezTo>
                  <a:cubicBezTo>
                    <a:pt x="19" y="26"/>
                    <a:pt x="18" y="26"/>
                    <a:pt x="17" y="27"/>
                  </a:cubicBezTo>
                  <a:cubicBezTo>
                    <a:pt x="15" y="27"/>
                    <a:pt x="11" y="26"/>
                    <a:pt x="10" y="25"/>
                  </a:cubicBezTo>
                  <a:cubicBezTo>
                    <a:pt x="8" y="25"/>
                    <a:pt x="4" y="21"/>
                    <a:pt x="3" y="20"/>
                  </a:cubicBezTo>
                  <a:lnTo>
                    <a:pt x="2" y="19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8" name="Freeform 131"/>
            <p:cNvSpPr>
              <a:spLocks/>
            </p:cNvSpPr>
            <p:nvPr/>
          </p:nvSpPr>
          <p:spPr bwMode="auto">
            <a:xfrm>
              <a:off x="6005652" y="4448047"/>
              <a:ext cx="271057" cy="173663"/>
            </a:xfrm>
            <a:custGeom>
              <a:avLst/>
              <a:gdLst>
                <a:gd name="T0" fmla="*/ 36348 w 97"/>
                <a:gd name="T1" fmla="*/ 18068 h 66"/>
                <a:gd name="T2" fmla="*/ 0 w 97"/>
                <a:gd name="T3" fmla="*/ 13361 h 66"/>
                <a:gd name="T4" fmla="*/ 9675 w 97"/>
                <a:gd name="T5" fmla="*/ 9381 h 66"/>
                <a:gd name="T6" fmla="*/ 19992 w 97"/>
                <a:gd name="T7" fmla="*/ 8023 h 66"/>
                <a:gd name="T8" fmla="*/ 44242 w 97"/>
                <a:gd name="T9" fmla="*/ 8023 h 66"/>
                <a:gd name="T10" fmla="*/ 102160 w 97"/>
                <a:gd name="T11" fmla="*/ 6587 h 66"/>
                <a:gd name="T12" fmla="*/ 120552 w 97"/>
                <a:gd name="T13" fmla="*/ 4625 h 66"/>
                <a:gd name="T14" fmla="*/ 151732 w 97"/>
                <a:gd name="T15" fmla="*/ 3955 h 66"/>
                <a:gd name="T16" fmla="*/ 179372 w 97"/>
                <a:gd name="T17" fmla="*/ 921 h 66"/>
                <a:gd name="T18" fmla="*/ 209964 w 97"/>
                <a:gd name="T19" fmla="*/ 647 h 66"/>
                <a:gd name="T20" fmla="*/ 229948 w 97"/>
                <a:gd name="T21" fmla="*/ 3247 h 66"/>
                <a:gd name="T22" fmla="*/ 226482 w 97"/>
                <a:gd name="T23" fmla="*/ 5399 h 66"/>
                <a:gd name="T24" fmla="*/ 255168 w 97"/>
                <a:gd name="T25" fmla="*/ 6587 h 66"/>
                <a:gd name="T26" fmla="*/ 271836 w 97"/>
                <a:gd name="T27" fmla="*/ 8187 h 66"/>
                <a:gd name="T28" fmla="*/ 297721 w 97"/>
                <a:gd name="T29" fmla="*/ 10028 h 66"/>
                <a:gd name="T30" fmla="*/ 321366 w 97"/>
                <a:gd name="T31" fmla="*/ 11660 h 66"/>
                <a:gd name="T32" fmla="*/ 317907 w 97"/>
                <a:gd name="T33" fmla="*/ 13287 h 66"/>
                <a:gd name="T34" fmla="*/ 306162 w 97"/>
                <a:gd name="T35" fmla="*/ 12889 h 66"/>
                <a:gd name="T36" fmla="*/ 261507 w 97"/>
                <a:gd name="T37" fmla="*/ 13361 h 66"/>
                <a:gd name="T38" fmla="*/ 211966 w 97"/>
                <a:gd name="T39" fmla="*/ 14090 h 66"/>
                <a:gd name="T40" fmla="*/ 200091 w 97"/>
                <a:gd name="T41" fmla="*/ 15597 h 66"/>
                <a:gd name="T42" fmla="*/ 151732 w 97"/>
                <a:gd name="T43" fmla="*/ 14895 h 66"/>
                <a:gd name="T44" fmla="*/ 120552 w 97"/>
                <a:gd name="T45" fmla="*/ 13361 h 66"/>
                <a:gd name="T46" fmla="*/ 102160 w 97"/>
                <a:gd name="T47" fmla="*/ 15597 h 66"/>
                <a:gd name="T48" fmla="*/ 102160 w 97"/>
                <a:gd name="T49" fmla="*/ 16607 h 66"/>
                <a:gd name="T50" fmla="*/ 55077 w 97"/>
                <a:gd name="T51" fmla="*/ 16607 h 66"/>
                <a:gd name="T52" fmla="*/ 54318 w 97"/>
                <a:gd name="T53" fmla="*/ 18357 h 66"/>
                <a:gd name="T54" fmla="*/ 39870 w 97"/>
                <a:gd name="T55" fmla="*/ 18924 h 66"/>
                <a:gd name="T56" fmla="*/ 36348 w 97"/>
                <a:gd name="T57" fmla="*/ 18068 h 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7" h="66">
                  <a:moveTo>
                    <a:pt x="11" y="63"/>
                  </a:moveTo>
                  <a:cubicBezTo>
                    <a:pt x="9" y="61"/>
                    <a:pt x="1" y="51"/>
                    <a:pt x="0" y="47"/>
                  </a:cubicBezTo>
                  <a:cubicBezTo>
                    <a:pt x="0" y="44"/>
                    <a:pt x="1" y="36"/>
                    <a:pt x="3" y="33"/>
                  </a:cubicBezTo>
                  <a:cubicBezTo>
                    <a:pt x="4" y="31"/>
                    <a:pt x="6" y="30"/>
                    <a:pt x="6" y="28"/>
                  </a:cubicBezTo>
                  <a:cubicBezTo>
                    <a:pt x="6" y="28"/>
                    <a:pt x="10" y="29"/>
                    <a:pt x="13" y="28"/>
                  </a:cubicBezTo>
                  <a:cubicBezTo>
                    <a:pt x="15" y="27"/>
                    <a:pt x="28" y="24"/>
                    <a:pt x="31" y="23"/>
                  </a:cubicBezTo>
                  <a:cubicBezTo>
                    <a:pt x="33" y="23"/>
                    <a:pt x="35" y="17"/>
                    <a:pt x="36" y="16"/>
                  </a:cubicBezTo>
                  <a:cubicBezTo>
                    <a:pt x="38" y="16"/>
                    <a:pt x="44" y="16"/>
                    <a:pt x="46" y="14"/>
                  </a:cubicBezTo>
                  <a:cubicBezTo>
                    <a:pt x="48" y="12"/>
                    <a:pt x="53" y="3"/>
                    <a:pt x="54" y="3"/>
                  </a:cubicBezTo>
                  <a:cubicBezTo>
                    <a:pt x="56" y="2"/>
                    <a:pt x="61" y="0"/>
                    <a:pt x="63" y="2"/>
                  </a:cubicBezTo>
                  <a:cubicBezTo>
                    <a:pt x="64" y="4"/>
                    <a:pt x="69" y="8"/>
                    <a:pt x="69" y="11"/>
                  </a:cubicBezTo>
                  <a:cubicBezTo>
                    <a:pt x="69" y="14"/>
                    <a:pt x="68" y="19"/>
                    <a:pt x="68" y="19"/>
                  </a:cubicBezTo>
                  <a:cubicBezTo>
                    <a:pt x="68" y="19"/>
                    <a:pt x="77" y="21"/>
                    <a:pt x="77" y="23"/>
                  </a:cubicBezTo>
                  <a:cubicBezTo>
                    <a:pt x="78" y="25"/>
                    <a:pt x="80" y="28"/>
                    <a:pt x="82" y="29"/>
                  </a:cubicBezTo>
                  <a:cubicBezTo>
                    <a:pt x="84" y="30"/>
                    <a:pt x="89" y="34"/>
                    <a:pt x="90" y="35"/>
                  </a:cubicBezTo>
                  <a:cubicBezTo>
                    <a:pt x="91" y="36"/>
                    <a:pt x="97" y="41"/>
                    <a:pt x="97" y="4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5" y="46"/>
                    <a:pt x="93" y="45"/>
                    <a:pt x="92" y="45"/>
                  </a:cubicBezTo>
                  <a:cubicBezTo>
                    <a:pt x="89" y="45"/>
                    <a:pt x="81" y="46"/>
                    <a:pt x="79" y="47"/>
                  </a:cubicBezTo>
                  <a:cubicBezTo>
                    <a:pt x="77" y="48"/>
                    <a:pt x="67" y="49"/>
                    <a:pt x="64" y="49"/>
                  </a:cubicBezTo>
                  <a:cubicBezTo>
                    <a:pt x="62" y="49"/>
                    <a:pt x="62" y="53"/>
                    <a:pt x="60" y="54"/>
                  </a:cubicBezTo>
                  <a:cubicBezTo>
                    <a:pt x="57" y="55"/>
                    <a:pt x="49" y="52"/>
                    <a:pt x="46" y="52"/>
                  </a:cubicBezTo>
                  <a:cubicBezTo>
                    <a:pt x="43" y="52"/>
                    <a:pt x="39" y="47"/>
                    <a:pt x="36" y="47"/>
                  </a:cubicBezTo>
                  <a:cubicBezTo>
                    <a:pt x="33" y="47"/>
                    <a:pt x="32" y="53"/>
                    <a:pt x="31" y="54"/>
                  </a:cubicBezTo>
                  <a:cubicBezTo>
                    <a:pt x="31" y="54"/>
                    <a:pt x="31" y="56"/>
                    <a:pt x="31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5"/>
                    <a:pt x="11" y="63"/>
                    <a:pt x="11" y="6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39" name="Freeform 132"/>
            <p:cNvSpPr>
              <a:spLocks/>
            </p:cNvSpPr>
            <p:nvPr/>
          </p:nvSpPr>
          <p:spPr bwMode="auto">
            <a:xfrm>
              <a:off x="5993867" y="3444867"/>
              <a:ext cx="215499" cy="157036"/>
            </a:xfrm>
            <a:custGeom>
              <a:avLst/>
              <a:gdLst>
                <a:gd name="T0" fmla="*/ 55728 w 77"/>
                <a:gd name="T1" fmla="*/ 1709 h 60"/>
                <a:gd name="T2" fmla="*/ 106080 w 77"/>
                <a:gd name="T3" fmla="*/ 0 h 60"/>
                <a:gd name="T4" fmla="*/ 118423 w 77"/>
                <a:gd name="T5" fmla="*/ 1709 h 60"/>
                <a:gd name="T6" fmla="*/ 145179 w 77"/>
                <a:gd name="T7" fmla="*/ 851 h 60"/>
                <a:gd name="T8" fmla="*/ 148703 w 77"/>
                <a:gd name="T9" fmla="*/ 1709 h 60"/>
                <a:gd name="T10" fmla="*/ 228011 w 77"/>
                <a:gd name="T11" fmla="*/ 1316 h 60"/>
                <a:gd name="T12" fmla="*/ 244741 w 77"/>
                <a:gd name="T13" fmla="*/ 2192 h 60"/>
                <a:gd name="T14" fmla="*/ 244741 w 77"/>
                <a:gd name="T15" fmla="*/ 2641 h 60"/>
                <a:gd name="T16" fmla="*/ 255995 w 77"/>
                <a:gd name="T17" fmla="*/ 5024 h 60"/>
                <a:gd name="T18" fmla="*/ 235468 w 77"/>
                <a:gd name="T19" fmla="*/ 7117 h 60"/>
                <a:gd name="T20" fmla="*/ 251254 w 77"/>
                <a:gd name="T21" fmla="*/ 7977 h 60"/>
                <a:gd name="T22" fmla="*/ 247195 w 77"/>
                <a:gd name="T23" fmla="*/ 9377 h 60"/>
                <a:gd name="T24" fmla="*/ 247195 w 77"/>
                <a:gd name="T25" fmla="*/ 9451 h 60"/>
                <a:gd name="T26" fmla="*/ 261723 w 77"/>
                <a:gd name="T27" fmla="*/ 11598 h 60"/>
                <a:gd name="T28" fmla="*/ 247195 w 77"/>
                <a:gd name="T29" fmla="*/ 12508 h 60"/>
                <a:gd name="T30" fmla="*/ 228011 w 77"/>
                <a:gd name="T31" fmla="*/ 13939 h 60"/>
                <a:gd name="T32" fmla="*/ 231382 w 77"/>
                <a:gd name="T33" fmla="*/ 15615 h 60"/>
                <a:gd name="T34" fmla="*/ 221166 w 77"/>
                <a:gd name="T35" fmla="*/ 15721 h 60"/>
                <a:gd name="T36" fmla="*/ 204321 w 77"/>
                <a:gd name="T37" fmla="*/ 14711 h 60"/>
                <a:gd name="T38" fmla="*/ 184367 w 77"/>
                <a:gd name="T39" fmla="*/ 14518 h 60"/>
                <a:gd name="T40" fmla="*/ 153997 w 77"/>
                <a:gd name="T41" fmla="*/ 15068 h 60"/>
                <a:gd name="T42" fmla="*/ 139191 w 77"/>
                <a:gd name="T43" fmla="*/ 14518 h 60"/>
                <a:gd name="T44" fmla="*/ 122912 w 77"/>
                <a:gd name="T45" fmla="*/ 14283 h 60"/>
                <a:gd name="T46" fmla="*/ 116987 w 77"/>
                <a:gd name="T47" fmla="*/ 13284 h 60"/>
                <a:gd name="T48" fmla="*/ 96146 w 77"/>
                <a:gd name="T49" fmla="*/ 12861 h 60"/>
                <a:gd name="T50" fmla="*/ 76089 w 77"/>
                <a:gd name="T51" fmla="*/ 12508 h 60"/>
                <a:gd name="T52" fmla="*/ 65144 w 77"/>
                <a:gd name="T53" fmla="*/ 12861 h 60"/>
                <a:gd name="T54" fmla="*/ 55728 w 77"/>
                <a:gd name="T55" fmla="*/ 11598 h 60"/>
                <a:gd name="T56" fmla="*/ 34793 w 77"/>
                <a:gd name="T57" fmla="*/ 10711 h 60"/>
                <a:gd name="T58" fmla="*/ 24303 w 77"/>
                <a:gd name="T59" fmla="*/ 10248 h 60"/>
                <a:gd name="T60" fmla="*/ 24303 w 77"/>
                <a:gd name="T61" fmla="*/ 9752 h 60"/>
                <a:gd name="T62" fmla="*/ 14620 w 77"/>
                <a:gd name="T63" fmla="*/ 7977 h 60"/>
                <a:gd name="T64" fmla="*/ 14620 w 77"/>
                <a:gd name="T65" fmla="*/ 6272 h 60"/>
                <a:gd name="T66" fmla="*/ 0 w 77"/>
                <a:gd name="T67" fmla="*/ 5300 h 60"/>
                <a:gd name="T68" fmla="*/ 5994 w 77"/>
                <a:gd name="T69" fmla="*/ 3975 h 60"/>
                <a:gd name="T70" fmla="*/ 3606 w 77"/>
                <a:gd name="T71" fmla="*/ 2641 h 60"/>
                <a:gd name="T72" fmla="*/ 55728 w 77"/>
                <a:gd name="T73" fmla="*/ 1709 h 6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77" h="60">
                  <a:moveTo>
                    <a:pt x="16" y="6"/>
                  </a:moveTo>
                  <a:cubicBezTo>
                    <a:pt x="17" y="5"/>
                    <a:pt x="29" y="0"/>
                    <a:pt x="31" y="0"/>
                  </a:cubicBezTo>
                  <a:cubicBezTo>
                    <a:pt x="33" y="0"/>
                    <a:pt x="34" y="6"/>
                    <a:pt x="35" y="6"/>
                  </a:cubicBezTo>
                  <a:cubicBezTo>
                    <a:pt x="36" y="6"/>
                    <a:pt x="39" y="4"/>
                    <a:pt x="43" y="3"/>
                  </a:cubicBezTo>
                  <a:cubicBezTo>
                    <a:pt x="43" y="3"/>
                    <a:pt x="44" y="5"/>
                    <a:pt x="44" y="6"/>
                  </a:cubicBezTo>
                  <a:cubicBezTo>
                    <a:pt x="46" y="6"/>
                    <a:pt x="66" y="5"/>
                    <a:pt x="67" y="5"/>
                  </a:cubicBezTo>
                  <a:cubicBezTo>
                    <a:pt x="68" y="5"/>
                    <a:pt x="72" y="7"/>
                    <a:pt x="72" y="8"/>
                  </a:cubicBezTo>
                  <a:cubicBezTo>
                    <a:pt x="72" y="9"/>
                    <a:pt x="72" y="9"/>
                    <a:pt x="72" y="10"/>
                  </a:cubicBezTo>
                  <a:cubicBezTo>
                    <a:pt x="73" y="13"/>
                    <a:pt x="75" y="18"/>
                    <a:pt x="75" y="19"/>
                  </a:cubicBezTo>
                  <a:cubicBezTo>
                    <a:pt x="75" y="21"/>
                    <a:pt x="69" y="26"/>
                    <a:pt x="69" y="27"/>
                  </a:cubicBezTo>
                  <a:cubicBezTo>
                    <a:pt x="69" y="28"/>
                    <a:pt x="72" y="29"/>
                    <a:pt x="74" y="30"/>
                  </a:cubicBezTo>
                  <a:cubicBezTo>
                    <a:pt x="75" y="32"/>
                    <a:pt x="74" y="33"/>
                    <a:pt x="73" y="35"/>
                  </a:cubicBezTo>
                  <a:cubicBezTo>
                    <a:pt x="73" y="35"/>
                    <a:pt x="73" y="35"/>
                    <a:pt x="73" y="36"/>
                  </a:cubicBezTo>
                  <a:cubicBezTo>
                    <a:pt x="73" y="39"/>
                    <a:pt x="77" y="42"/>
                    <a:pt x="77" y="44"/>
                  </a:cubicBezTo>
                  <a:cubicBezTo>
                    <a:pt x="77" y="47"/>
                    <a:pt x="74" y="46"/>
                    <a:pt x="73" y="47"/>
                  </a:cubicBezTo>
                  <a:cubicBezTo>
                    <a:pt x="73" y="47"/>
                    <a:pt x="67" y="53"/>
                    <a:pt x="67" y="53"/>
                  </a:cubicBezTo>
                  <a:cubicBezTo>
                    <a:pt x="66" y="54"/>
                    <a:pt x="68" y="58"/>
                    <a:pt x="68" y="59"/>
                  </a:cubicBezTo>
                  <a:cubicBezTo>
                    <a:pt x="67" y="60"/>
                    <a:pt x="66" y="59"/>
                    <a:pt x="65" y="60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56" y="55"/>
                    <a:pt x="54" y="55"/>
                  </a:cubicBezTo>
                  <a:cubicBezTo>
                    <a:pt x="52" y="55"/>
                    <a:pt x="47" y="57"/>
                    <a:pt x="45" y="57"/>
                  </a:cubicBezTo>
                  <a:cubicBezTo>
                    <a:pt x="43" y="57"/>
                    <a:pt x="42" y="56"/>
                    <a:pt x="41" y="55"/>
                  </a:cubicBezTo>
                  <a:cubicBezTo>
                    <a:pt x="40" y="54"/>
                    <a:pt x="36" y="54"/>
                    <a:pt x="36" y="54"/>
                  </a:cubicBezTo>
                  <a:cubicBezTo>
                    <a:pt x="36" y="53"/>
                    <a:pt x="35" y="50"/>
                    <a:pt x="34" y="50"/>
                  </a:cubicBezTo>
                  <a:cubicBezTo>
                    <a:pt x="33" y="50"/>
                    <a:pt x="29" y="50"/>
                    <a:pt x="28" y="49"/>
                  </a:cubicBezTo>
                  <a:cubicBezTo>
                    <a:pt x="26" y="48"/>
                    <a:pt x="23" y="47"/>
                    <a:pt x="22" y="47"/>
                  </a:cubicBezTo>
                  <a:cubicBezTo>
                    <a:pt x="21" y="47"/>
                    <a:pt x="20" y="49"/>
                    <a:pt x="19" y="49"/>
                  </a:cubicBezTo>
                  <a:cubicBezTo>
                    <a:pt x="18" y="48"/>
                    <a:pt x="18" y="45"/>
                    <a:pt x="16" y="44"/>
                  </a:cubicBezTo>
                  <a:cubicBezTo>
                    <a:pt x="15" y="43"/>
                    <a:pt x="10" y="41"/>
                    <a:pt x="10" y="4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8"/>
                    <a:pt x="7" y="37"/>
                    <a:pt x="7" y="37"/>
                  </a:cubicBezTo>
                  <a:cubicBezTo>
                    <a:pt x="7" y="35"/>
                    <a:pt x="4" y="32"/>
                    <a:pt x="4" y="30"/>
                  </a:cubicBezTo>
                  <a:cubicBezTo>
                    <a:pt x="4" y="28"/>
                    <a:pt x="4" y="26"/>
                    <a:pt x="4" y="24"/>
                  </a:cubicBezTo>
                  <a:cubicBezTo>
                    <a:pt x="2" y="23"/>
                    <a:pt x="0" y="21"/>
                    <a:pt x="0" y="20"/>
                  </a:cubicBezTo>
                  <a:cubicBezTo>
                    <a:pt x="0" y="19"/>
                    <a:pt x="2" y="16"/>
                    <a:pt x="2" y="15"/>
                  </a:cubicBezTo>
                  <a:cubicBezTo>
                    <a:pt x="2" y="13"/>
                    <a:pt x="1" y="10"/>
                    <a:pt x="1" y="10"/>
                  </a:cubicBezTo>
                  <a:cubicBezTo>
                    <a:pt x="4" y="9"/>
                    <a:pt x="16" y="7"/>
                    <a:pt x="16" y="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40" name="Freeform 133"/>
            <p:cNvSpPr>
              <a:spLocks/>
            </p:cNvSpPr>
            <p:nvPr/>
          </p:nvSpPr>
          <p:spPr bwMode="auto">
            <a:xfrm>
              <a:off x="6027538" y="3699818"/>
              <a:ext cx="84179" cy="66509"/>
            </a:xfrm>
            <a:custGeom>
              <a:avLst/>
              <a:gdLst>
                <a:gd name="T0" fmla="*/ 6147 w 30"/>
                <a:gd name="T1" fmla="*/ 1038 h 25"/>
                <a:gd name="T2" fmla="*/ 6147 w 30"/>
                <a:gd name="T3" fmla="*/ 0 h 25"/>
                <a:gd name="T4" fmla="*/ 28458 w 30"/>
                <a:gd name="T5" fmla="*/ 0 h 25"/>
                <a:gd name="T6" fmla="*/ 70255 w 30"/>
                <a:gd name="T7" fmla="*/ 721 h 25"/>
                <a:gd name="T8" fmla="*/ 95547 w 30"/>
                <a:gd name="T9" fmla="*/ 1495 h 25"/>
                <a:gd name="T10" fmla="*/ 91797 w 30"/>
                <a:gd name="T11" fmla="*/ 2775 h 25"/>
                <a:gd name="T12" fmla="*/ 101980 w 30"/>
                <a:gd name="T13" fmla="*/ 4464 h 25"/>
                <a:gd name="T14" fmla="*/ 95547 w 30"/>
                <a:gd name="T15" fmla="*/ 5250 h 25"/>
                <a:gd name="T16" fmla="*/ 80542 w 30"/>
                <a:gd name="T17" fmla="*/ 6428 h 25"/>
                <a:gd name="T18" fmla="*/ 74422 w 30"/>
                <a:gd name="T19" fmla="*/ 8630 h 25"/>
                <a:gd name="T20" fmla="*/ 48325 w 30"/>
                <a:gd name="T21" fmla="*/ 7059 h 25"/>
                <a:gd name="T22" fmla="*/ 53758 w 30"/>
                <a:gd name="T23" fmla="*/ 6012 h 25"/>
                <a:gd name="T24" fmla="*/ 35903 w 30"/>
                <a:gd name="T25" fmla="*/ 4464 h 25"/>
                <a:gd name="T26" fmla="*/ 6147 w 30"/>
                <a:gd name="T27" fmla="*/ 1038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0" h="25">
                  <a:moveTo>
                    <a:pt x="2" y="3"/>
                  </a:moveTo>
                  <a:cubicBezTo>
                    <a:pt x="2" y="2"/>
                    <a:pt x="0" y="0"/>
                    <a:pt x="2" y="0"/>
                  </a:cubicBezTo>
                  <a:cubicBezTo>
                    <a:pt x="4" y="0"/>
                    <a:pt x="8" y="0"/>
                    <a:pt x="8" y="0"/>
                  </a:cubicBezTo>
                  <a:cubicBezTo>
                    <a:pt x="10" y="0"/>
                    <a:pt x="19" y="2"/>
                    <a:pt x="20" y="2"/>
                  </a:cubicBezTo>
                  <a:cubicBezTo>
                    <a:pt x="22" y="2"/>
                    <a:pt x="26" y="4"/>
                    <a:pt x="27" y="4"/>
                  </a:cubicBezTo>
                  <a:cubicBezTo>
                    <a:pt x="26" y="6"/>
                    <a:pt x="26" y="8"/>
                    <a:pt x="26" y="8"/>
                  </a:cubicBezTo>
                  <a:cubicBezTo>
                    <a:pt x="26" y="9"/>
                    <a:pt x="30" y="11"/>
                    <a:pt x="29" y="13"/>
                  </a:cubicBezTo>
                  <a:cubicBezTo>
                    <a:pt x="29" y="14"/>
                    <a:pt x="28" y="14"/>
                    <a:pt x="27" y="15"/>
                  </a:cubicBezTo>
                  <a:cubicBezTo>
                    <a:pt x="26" y="17"/>
                    <a:pt x="23" y="19"/>
                    <a:pt x="23" y="19"/>
                  </a:cubicBezTo>
                  <a:cubicBezTo>
                    <a:pt x="23" y="20"/>
                    <a:pt x="22" y="23"/>
                    <a:pt x="21" y="25"/>
                  </a:cubicBezTo>
                  <a:cubicBezTo>
                    <a:pt x="19" y="23"/>
                    <a:pt x="17" y="22"/>
                    <a:pt x="14" y="2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1" y="14"/>
                    <a:pt x="10" y="13"/>
                  </a:cubicBezTo>
                  <a:cubicBezTo>
                    <a:pt x="8" y="11"/>
                    <a:pt x="2" y="4"/>
                    <a:pt x="2" y="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41" name="Freeform 134"/>
            <p:cNvSpPr>
              <a:spLocks/>
            </p:cNvSpPr>
            <p:nvPr/>
          </p:nvSpPr>
          <p:spPr bwMode="auto">
            <a:xfrm>
              <a:off x="5953461" y="3548325"/>
              <a:ext cx="141421" cy="64662"/>
            </a:xfrm>
            <a:custGeom>
              <a:avLst/>
              <a:gdLst>
                <a:gd name="T0" fmla="*/ 0 w 51"/>
                <a:gd name="T1" fmla="*/ 2001 h 25"/>
                <a:gd name="T2" fmla="*/ 54980 w 51"/>
                <a:gd name="T3" fmla="*/ 431 h 25"/>
                <a:gd name="T4" fmla="*/ 63861 w 51"/>
                <a:gd name="T5" fmla="*/ 0 h 25"/>
                <a:gd name="T6" fmla="*/ 73335 w 51"/>
                <a:gd name="T7" fmla="*/ 431 h 25"/>
                <a:gd name="T8" fmla="*/ 90555 w 51"/>
                <a:gd name="T9" fmla="*/ 1133 h 25"/>
                <a:gd name="T10" fmla="*/ 99698 w 51"/>
                <a:gd name="T11" fmla="*/ 2220 h 25"/>
                <a:gd name="T12" fmla="*/ 108482 w 51"/>
                <a:gd name="T13" fmla="*/ 1655 h 25"/>
                <a:gd name="T14" fmla="*/ 126743 w 51"/>
                <a:gd name="T15" fmla="*/ 2220 h 25"/>
                <a:gd name="T16" fmla="*/ 143963 w 51"/>
                <a:gd name="T17" fmla="*/ 2317 h 25"/>
                <a:gd name="T18" fmla="*/ 149149 w 51"/>
                <a:gd name="T19" fmla="*/ 3244 h 25"/>
                <a:gd name="T20" fmla="*/ 140349 w 51"/>
                <a:gd name="T21" fmla="*/ 3822 h 25"/>
                <a:gd name="T22" fmla="*/ 126743 w 51"/>
                <a:gd name="T23" fmla="*/ 4763 h 25"/>
                <a:gd name="T24" fmla="*/ 108482 w 51"/>
                <a:gd name="T25" fmla="*/ 4974 h 25"/>
                <a:gd name="T26" fmla="*/ 108482 w 51"/>
                <a:gd name="T27" fmla="*/ 5351 h 25"/>
                <a:gd name="T28" fmla="*/ 85212 w 51"/>
                <a:gd name="T29" fmla="*/ 4974 h 25"/>
                <a:gd name="T30" fmla="*/ 68129 w 51"/>
                <a:gd name="T31" fmla="*/ 4542 h 25"/>
                <a:gd name="T32" fmla="*/ 54980 w 51"/>
                <a:gd name="T33" fmla="*/ 5489 h 25"/>
                <a:gd name="T34" fmla="*/ 38172 w 51"/>
                <a:gd name="T35" fmla="*/ 5489 h 25"/>
                <a:gd name="T36" fmla="*/ 0 w 51"/>
                <a:gd name="T37" fmla="*/ 2001 h 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1" h="25">
                  <a:moveTo>
                    <a:pt x="0" y="9"/>
                  </a:moveTo>
                  <a:cubicBezTo>
                    <a:pt x="0" y="8"/>
                    <a:pt x="17" y="2"/>
                    <a:pt x="19" y="2"/>
                  </a:cubicBezTo>
                  <a:cubicBezTo>
                    <a:pt x="20" y="2"/>
                    <a:pt x="21" y="1"/>
                    <a:pt x="22" y="0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30" y="4"/>
                    <a:pt x="31" y="5"/>
                  </a:cubicBezTo>
                  <a:cubicBezTo>
                    <a:pt x="33" y="6"/>
                    <a:pt x="33" y="9"/>
                    <a:pt x="34" y="10"/>
                  </a:cubicBezTo>
                  <a:cubicBezTo>
                    <a:pt x="35" y="10"/>
                    <a:pt x="36" y="8"/>
                    <a:pt x="37" y="8"/>
                  </a:cubicBezTo>
                  <a:cubicBezTo>
                    <a:pt x="38" y="8"/>
                    <a:pt x="41" y="9"/>
                    <a:pt x="43" y="10"/>
                  </a:cubicBezTo>
                  <a:cubicBezTo>
                    <a:pt x="44" y="11"/>
                    <a:pt x="48" y="11"/>
                    <a:pt x="49" y="11"/>
                  </a:cubicBezTo>
                  <a:cubicBezTo>
                    <a:pt x="50" y="11"/>
                    <a:pt x="51" y="14"/>
                    <a:pt x="51" y="15"/>
                  </a:cubicBezTo>
                  <a:cubicBezTo>
                    <a:pt x="51" y="16"/>
                    <a:pt x="49" y="17"/>
                    <a:pt x="48" y="17"/>
                  </a:cubicBezTo>
                  <a:cubicBezTo>
                    <a:pt x="48" y="18"/>
                    <a:pt x="45" y="20"/>
                    <a:pt x="43" y="22"/>
                  </a:cubicBezTo>
                  <a:cubicBezTo>
                    <a:pt x="43" y="23"/>
                    <a:pt x="39" y="22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6" y="24"/>
                    <a:pt x="31" y="23"/>
                    <a:pt x="29" y="23"/>
                  </a:cubicBezTo>
                  <a:cubicBezTo>
                    <a:pt x="28" y="23"/>
                    <a:pt x="25" y="21"/>
                    <a:pt x="23" y="21"/>
                  </a:cubicBezTo>
                  <a:cubicBezTo>
                    <a:pt x="22" y="21"/>
                    <a:pt x="20" y="25"/>
                    <a:pt x="19" y="25"/>
                  </a:cubicBezTo>
                  <a:cubicBezTo>
                    <a:pt x="17" y="25"/>
                    <a:pt x="13" y="25"/>
                    <a:pt x="13" y="25"/>
                  </a:cubicBezTo>
                  <a:cubicBezTo>
                    <a:pt x="14" y="23"/>
                    <a:pt x="0" y="10"/>
                    <a:pt x="0" y="9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42" name="Group 135"/>
            <p:cNvGrpSpPr>
              <a:grpSpLocks/>
            </p:cNvGrpSpPr>
            <p:nvPr/>
          </p:nvGrpSpPr>
          <p:grpSpPr bwMode="auto">
            <a:xfrm>
              <a:off x="5936625" y="3001472"/>
              <a:ext cx="267690" cy="428615"/>
              <a:chOff x="2894" y="1273"/>
              <a:chExt cx="194" cy="330"/>
            </a:xfrm>
            <a:solidFill>
              <a:srgbClr val="EBEBE3"/>
            </a:solidFill>
          </p:grpSpPr>
          <p:sp>
            <p:nvSpPr>
              <p:cNvPr id="587" name="Freeform 136"/>
              <p:cNvSpPr>
                <a:spLocks/>
              </p:cNvSpPr>
              <p:nvPr/>
            </p:nvSpPr>
            <p:spPr bwMode="auto">
              <a:xfrm>
                <a:off x="2995" y="1544"/>
                <a:ext cx="24" cy="28"/>
              </a:xfrm>
              <a:custGeom>
                <a:avLst/>
                <a:gdLst>
                  <a:gd name="T0" fmla="*/ 65536 w 12"/>
                  <a:gd name="T1" fmla="*/ 393216 h 14"/>
                  <a:gd name="T2" fmla="*/ 720896 w 12"/>
                  <a:gd name="T3" fmla="*/ 65536 h 14"/>
                  <a:gd name="T4" fmla="*/ 655360 w 12"/>
                  <a:gd name="T5" fmla="*/ 327680 h 14"/>
                  <a:gd name="T6" fmla="*/ 458752 w 12"/>
                  <a:gd name="T7" fmla="*/ 786432 h 14"/>
                  <a:gd name="T8" fmla="*/ 65536 w 12"/>
                  <a:gd name="T9" fmla="*/ 851968 h 14"/>
                  <a:gd name="T10" fmla="*/ 65536 w 12"/>
                  <a:gd name="T11" fmla="*/ 39321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14">
                    <a:moveTo>
                      <a:pt x="1" y="6"/>
                    </a:moveTo>
                    <a:cubicBezTo>
                      <a:pt x="2" y="4"/>
                      <a:pt x="10" y="0"/>
                      <a:pt x="11" y="1"/>
                    </a:cubicBezTo>
                    <a:cubicBezTo>
                      <a:pt x="12" y="1"/>
                      <a:pt x="10" y="4"/>
                      <a:pt x="10" y="5"/>
                    </a:cubicBezTo>
                    <a:cubicBezTo>
                      <a:pt x="9" y="7"/>
                      <a:pt x="8" y="11"/>
                      <a:pt x="7" y="12"/>
                    </a:cubicBezTo>
                    <a:cubicBezTo>
                      <a:pt x="5" y="12"/>
                      <a:pt x="2" y="14"/>
                      <a:pt x="1" y="13"/>
                    </a:cubicBezTo>
                    <a:cubicBezTo>
                      <a:pt x="0" y="12"/>
                      <a:pt x="1" y="8"/>
                      <a:pt x="1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8" name="Freeform 137"/>
              <p:cNvSpPr>
                <a:spLocks/>
              </p:cNvSpPr>
              <p:nvPr/>
            </p:nvSpPr>
            <p:spPr bwMode="auto">
              <a:xfrm>
                <a:off x="2894" y="1273"/>
                <a:ext cx="194" cy="330"/>
              </a:xfrm>
              <a:custGeom>
                <a:avLst/>
                <a:gdLst>
                  <a:gd name="T0" fmla="*/ 0 w 96"/>
                  <a:gd name="T1" fmla="*/ 10033126 h 163"/>
                  <a:gd name="T2" fmla="*/ 226907 w 96"/>
                  <a:gd name="T3" fmla="*/ 9792647 h 163"/>
                  <a:gd name="T4" fmla="*/ 301288 w 96"/>
                  <a:gd name="T5" fmla="*/ 9089056 h 163"/>
                  <a:gd name="T6" fmla="*/ 686097 w 96"/>
                  <a:gd name="T7" fmla="*/ 8761723 h 163"/>
                  <a:gd name="T8" fmla="*/ 532920 w 96"/>
                  <a:gd name="T9" fmla="*/ 8140800 h 163"/>
                  <a:gd name="T10" fmla="*/ 835873 w 96"/>
                  <a:gd name="T11" fmla="*/ 7719662 h 163"/>
                  <a:gd name="T12" fmla="*/ 458541 w 96"/>
                  <a:gd name="T13" fmla="*/ 7075008 h 163"/>
                  <a:gd name="T14" fmla="*/ 458541 w 96"/>
                  <a:gd name="T15" fmla="*/ 5751633 h 163"/>
                  <a:gd name="T16" fmla="*/ 926635 w 96"/>
                  <a:gd name="T17" fmla="*/ 5267057 h 163"/>
                  <a:gd name="T18" fmla="*/ 1461883 w 96"/>
                  <a:gd name="T19" fmla="*/ 5348917 h 163"/>
                  <a:gd name="T20" fmla="*/ 1614252 w 96"/>
                  <a:gd name="T21" fmla="*/ 4761299 h 163"/>
                  <a:gd name="T22" fmla="*/ 1303890 w 96"/>
                  <a:gd name="T23" fmla="*/ 4452267 h 163"/>
                  <a:gd name="T24" fmla="*/ 1872575 w 96"/>
                  <a:gd name="T25" fmla="*/ 3887770 h 163"/>
                  <a:gd name="T26" fmla="*/ 1949108 w 96"/>
                  <a:gd name="T27" fmla="*/ 3185045 h 163"/>
                  <a:gd name="T28" fmla="*/ 2486413 w 96"/>
                  <a:gd name="T29" fmla="*/ 2958084 h 163"/>
                  <a:gd name="T30" fmla="*/ 3030490 w 96"/>
                  <a:gd name="T31" fmla="*/ 2162237 h 163"/>
                  <a:gd name="T32" fmla="*/ 2954222 w 96"/>
                  <a:gd name="T33" fmla="*/ 1769025 h 163"/>
                  <a:gd name="T34" fmla="*/ 3489048 w 96"/>
                  <a:gd name="T35" fmla="*/ 1105530 h 163"/>
                  <a:gd name="T36" fmla="*/ 3938822 w 96"/>
                  <a:gd name="T37" fmla="*/ 1266641 h 163"/>
                  <a:gd name="T38" fmla="*/ 4094659 w 96"/>
                  <a:gd name="T39" fmla="*/ 625644 h 163"/>
                  <a:gd name="T40" fmla="*/ 5097821 w 96"/>
                  <a:gd name="T41" fmla="*/ 702220 h 163"/>
                  <a:gd name="T42" fmla="*/ 5324783 w 96"/>
                  <a:gd name="T43" fmla="*/ 75396 h 163"/>
                  <a:gd name="T44" fmla="*/ 5474413 w 96"/>
                  <a:gd name="T45" fmla="*/ 0 h 163"/>
                  <a:gd name="T46" fmla="*/ 6043767 w 96"/>
                  <a:gd name="T47" fmla="*/ 777075 h 163"/>
                  <a:gd name="T48" fmla="*/ 7050785 w 96"/>
                  <a:gd name="T49" fmla="*/ 1180106 h 163"/>
                  <a:gd name="T50" fmla="*/ 7273606 w 96"/>
                  <a:gd name="T51" fmla="*/ 1920323 h 163"/>
                  <a:gd name="T52" fmla="*/ 7424604 w 96"/>
                  <a:gd name="T53" fmla="*/ 2802619 h 163"/>
                  <a:gd name="T54" fmla="*/ 7347522 w 96"/>
                  <a:gd name="T55" fmla="*/ 3419790 h 163"/>
                  <a:gd name="T56" fmla="*/ 6437815 w 96"/>
                  <a:gd name="T57" fmla="*/ 3655845 h 163"/>
                  <a:gd name="T58" fmla="*/ 6043767 w 96"/>
                  <a:gd name="T59" fmla="*/ 3965418 h 163"/>
                  <a:gd name="T60" fmla="*/ 5738094 w 96"/>
                  <a:gd name="T61" fmla="*/ 4377535 h 163"/>
                  <a:gd name="T62" fmla="*/ 5969990 w 96"/>
                  <a:gd name="T63" fmla="*/ 4761299 h 163"/>
                  <a:gd name="T64" fmla="*/ 5398381 w 96"/>
                  <a:gd name="T65" fmla="*/ 5348917 h 163"/>
                  <a:gd name="T66" fmla="*/ 4244532 w 96"/>
                  <a:gd name="T67" fmla="*/ 6144815 h 163"/>
                  <a:gd name="T68" fmla="*/ 3561735 w 96"/>
                  <a:gd name="T69" fmla="*/ 7150470 h 163"/>
                  <a:gd name="T70" fmla="*/ 3489048 w 96"/>
                  <a:gd name="T71" fmla="*/ 8217931 h 163"/>
                  <a:gd name="T72" fmla="*/ 4012023 w 96"/>
                  <a:gd name="T73" fmla="*/ 8611585 h 163"/>
                  <a:gd name="T74" fmla="*/ 4638540 w 96"/>
                  <a:gd name="T75" fmla="*/ 9089056 h 163"/>
                  <a:gd name="T76" fmla="*/ 4397984 w 96"/>
                  <a:gd name="T77" fmla="*/ 9482153 h 163"/>
                  <a:gd name="T78" fmla="*/ 3938822 w 96"/>
                  <a:gd name="T79" fmla="*/ 9952950 h 163"/>
                  <a:gd name="T80" fmla="*/ 3262134 w 96"/>
                  <a:gd name="T81" fmla="*/ 10185628 h 163"/>
                  <a:gd name="T82" fmla="*/ 3185723 w 96"/>
                  <a:gd name="T83" fmla="*/ 10981770 h 163"/>
                  <a:gd name="T84" fmla="*/ 2708988 w 96"/>
                  <a:gd name="T85" fmla="*/ 12199952 h 163"/>
                  <a:gd name="T86" fmla="*/ 2561331 w 96"/>
                  <a:gd name="T87" fmla="*/ 12440423 h 163"/>
                  <a:gd name="T88" fmla="*/ 1872575 w 96"/>
                  <a:gd name="T89" fmla="*/ 12440423 h 163"/>
                  <a:gd name="T90" fmla="*/ 1762508 w 96"/>
                  <a:gd name="T91" fmla="*/ 12902095 h 163"/>
                  <a:gd name="T92" fmla="*/ 1076943 w 96"/>
                  <a:gd name="T93" fmla="*/ 12902095 h 163"/>
                  <a:gd name="T94" fmla="*/ 835873 w 96"/>
                  <a:gd name="T95" fmla="*/ 12286793 h 163"/>
                  <a:gd name="T96" fmla="*/ 926635 w 96"/>
                  <a:gd name="T97" fmla="*/ 11871363 h 163"/>
                  <a:gd name="T98" fmla="*/ 458541 w 96"/>
                  <a:gd name="T99" fmla="*/ 11287915 h 163"/>
                  <a:gd name="T100" fmla="*/ 0 w 96"/>
                  <a:gd name="T101" fmla="*/ 10107949 h 163"/>
                  <a:gd name="T102" fmla="*/ 0 w 96"/>
                  <a:gd name="T103" fmla="*/ 10033126 h 16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6" h="163">
                    <a:moveTo>
                      <a:pt x="0" y="126"/>
                    </a:moveTo>
                    <a:cubicBezTo>
                      <a:pt x="0" y="126"/>
                      <a:pt x="1" y="126"/>
                      <a:pt x="3" y="123"/>
                    </a:cubicBezTo>
                    <a:cubicBezTo>
                      <a:pt x="6" y="120"/>
                      <a:pt x="3" y="115"/>
                      <a:pt x="4" y="114"/>
                    </a:cubicBezTo>
                    <a:cubicBezTo>
                      <a:pt x="6" y="113"/>
                      <a:pt x="9" y="112"/>
                      <a:pt x="9" y="110"/>
                    </a:cubicBezTo>
                    <a:cubicBezTo>
                      <a:pt x="9" y="108"/>
                      <a:pt x="7" y="103"/>
                      <a:pt x="7" y="102"/>
                    </a:cubicBezTo>
                    <a:cubicBezTo>
                      <a:pt x="7" y="101"/>
                      <a:pt x="12" y="100"/>
                      <a:pt x="11" y="97"/>
                    </a:cubicBezTo>
                    <a:cubicBezTo>
                      <a:pt x="11" y="95"/>
                      <a:pt x="5" y="92"/>
                      <a:pt x="6" y="89"/>
                    </a:cubicBezTo>
                    <a:cubicBezTo>
                      <a:pt x="7" y="85"/>
                      <a:pt x="4" y="74"/>
                      <a:pt x="6" y="72"/>
                    </a:cubicBezTo>
                    <a:cubicBezTo>
                      <a:pt x="8" y="70"/>
                      <a:pt x="10" y="66"/>
                      <a:pt x="12" y="66"/>
                    </a:cubicBezTo>
                    <a:cubicBezTo>
                      <a:pt x="13" y="66"/>
                      <a:pt x="18" y="67"/>
                      <a:pt x="19" y="67"/>
                    </a:cubicBezTo>
                    <a:cubicBezTo>
                      <a:pt x="20" y="67"/>
                      <a:pt x="21" y="62"/>
                      <a:pt x="21" y="60"/>
                    </a:cubicBezTo>
                    <a:cubicBezTo>
                      <a:pt x="21" y="58"/>
                      <a:pt x="16" y="57"/>
                      <a:pt x="17" y="56"/>
                    </a:cubicBezTo>
                    <a:cubicBezTo>
                      <a:pt x="18" y="56"/>
                      <a:pt x="23" y="51"/>
                      <a:pt x="24" y="49"/>
                    </a:cubicBezTo>
                    <a:cubicBezTo>
                      <a:pt x="24" y="47"/>
                      <a:pt x="25" y="40"/>
                      <a:pt x="25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2" y="37"/>
                      <a:pt x="39" y="27"/>
                      <a:pt x="39" y="27"/>
                    </a:cubicBezTo>
                    <a:cubicBezTo>
                      <a:pt x="39" y="26"/>
                      <a:pt x="38" y="22"/>
                      <a:pt x="38" y="22"/>
                    </a:cubicBezTo>
                    <a:cubicBezTo>
                      <a:pt x="38" y="22"/>
                      <a:pt x="44" y="14"/>
                      <a:pt x="45" y="14"/>
                    </a:cubicBezTo>
                    <a:cubicBezTo>
                      <a:pt x="45" y="14"/>
                      <a:pt x="50" y="17"/>
                      <a:pt x="51" y="16"/>
                    </a:cubicBezTo>
                    <a:cubicBezTo>
                      <a:pt x="51" y="15"/>
                      <a:pt x="52" y="8"/>
                      <a:pt x="53" y="8"/>
                    </a:cubicBezTo>
                    <a:cubicBezTo>
                      <a:pt x="54" y="8"/>
                      <a:pt x="65" y="10"/>
                      <a:pt x="66" y="9"/>
                    </a:cubicBezTo>
                    <a:cubicBezTo>
                      <a:pt x="67" y="9"/>
                      <a:pt x="69" y="1"/>
                      <a:pt x="69" y="1"/>
                    </a:cubicBezTo>
                    <a:cubicBezTo>
                      <a:pt x="69" y="1"/>
                      <a:pt x="70" y="1"/>
                      <a:pt x="71" y="0"/>
                    </a:cubicBezTo>
                    <a:cubicBezTo>
                      <a:pt x="78" y="10"/>
                      <a:pt x="78" y="10"/>
                      <a:pt x="78" y="10"/>
                    </a:cubicBezTo>
                    <a:cubicBezTo>
                      <a:pt x="79" y="11"/>
                      <a:pt x="88" y="13"/>
                      <a:pt x="91" y="15"/>
                    </a:cubicBezTo>
                    <a:cubicBezTo>
                      <a:pt x="94" y="17"/>
                      <a:pt x="92" y="22"/>
                      <a:pt x="94" y="24"/>
                    </a:cubicBezTo>
                    <a:cubicBezTo>
                      <a:pt x="95" y="26"/>
                      <a:pt x="96" y="33"/>
                      <a:pt x="96" y="35"/>
                    </a:cubicBezTo>
                    <a:cubicBezTo>
                      <a:pt x="96" y="37"/>
                      <a:pt x="95" y="42"/>
                      <a:pt x="95" y="43"/>
                    </a:cubicBezTo>
                    <a:cubicBezTo>
                      <a:pt x="92" y="43"/>
                      <a:pt x="84" y="45"/>
                      <a:pt x="83" y="46"/>
                    </a:cubicBezTo>
                    <a:cubicBezTo>
                      <a:pt x="83" y="46"/>
                      <a:pt x="79" y="49"/>
                      <a:pt x="78" y="50"/>
                    </a:cubicBezTo>
                    <a:cubicBezTo>
                      <a:pt x="77" y="51"/>
                      <a:pt x="75" y="55"/>
                      <a:pt x="74" y="55"/>
                    </a:cubicBezTo>
                    <a:cubicBezTo>
                      <a:pt x="74" y="56"/>
                      <a:pt x="79" y="60"/>
                      <a:pt x="77" y="60"/>
                    </a:cubicBezTo>
                    <a:cubicBezTo>
                      <a:pt x="76" y="61"/>
                      <a:pt x="72" y="66"/>
                      <a:pt x="70" y="67"/>
                    </a:cubicBezTo>
                    <a:cubicBezTo>
                      <a:pt x="68" y="68"/>
                      <a:pt x="56" y="75"/>
                      <a:pt x="55" y="77"/>
                    </a:cubicBezTo>
                    <a:cubicBezTo>
                      <a:pt x="53" y="79"/>
                      <a:pt x="47" y="86"/>
                      <a:pt x="46" y="90"/>
                    </a:cubicBezTo>
                    <a:cubicBezTo>
                      <a:pt x="44" y="93"/>
                      <a:pt x="44" y="101"/>
                      <a:pt x="45" y="103"/>
                    </a:cubicBezTo>
                    <a:cubicBezTo>
                      <a:pt x="46" y="105"/>
                      <a:pt x="49" y="107"/>
                      <a:pt x="52" y="108"/>
                    </a:cubicBezTo>
                    <a:cubicBezTo>
                      <a:pt x="54" y="108"/>
                      <a:pt x="59" y="113"/>
                      <a:pt x="60" y="114"/>
                    </a:cubicBezTo>
                    <a:cubicBezTo>
                      <a:pt x="60" y="115"/>
                      <a:pt x="59" y="119"/>
                      <a:pt x="57" y="119"/>
                    </a:cubicBezTo>
                    <a:cubicBezTo>
                      <a:pt x="55" y="120"/>
                      <a:pt x="53" y="125"/>
                      <a:pt x="51" y="125"/>
                    </a:cubicBezTo>
                    <a:cubicBezTo>
                      <a:pt x="49" y="125"/>
                      <a:pt x="43" y="127"/>
                      <a:pt x="42" y="128"/>
                    </a:cubicBezTo>
                    <a:cubicBezTo>
                      <a:pt x="41" y="129"/>
                      <a:pt x="42" y="136"/>
                      <a:pt x="41" y="138"/>
                    </a:cubicBezTo>
                    <a:cubicBezTo>
                      <a:pt x="40" y="141"/>
                      <a:pt x="36" y="151"/>
                      <a:pt x="35" y="153"/>
                    </a:cubicBezTo>
                    <a:cubicBezTo>
                      <a:pt x="34" y="155"/>
                      <a:pt x="34" y="155"/>
                      <a:pt x="33" y="156"/>
                    </a:cubicBezTo>
                    <a:cubicBezTo>
                      <a:pt x="33" y="157"/>
                      <a:pt x="26" y="155"/>
                      <a:pt x="24" y="156"/>
                    </a:cubicBezTo>
                    <a:cubicBezTo>
                      <a:pt x="21" y="158"/>
                      <a:pt x="23" y="162"/>
                      <a:pt x="23" y="162"/>
                    </a:cubicBezTo>
                    <a:cubicBezTo>
                      <a:pt x="22" y="162"/>
                      <a:pt x="15" y="163"/>
                      <a:pt x="14" y="162"/>
                    </a:cubicBezTo>
                    <a:cubicBezTo>
                      <a:pt x="12" y="160"/>
                      <a:pt x="10" y="155"/>
                      <a:pt x="11" y="154"/>
                    </a:cubicBezTo>
                    <a:cubicBezTo>
                      <a:pt x="12" y="152"/>
                      <a:pt x="14" y="150"/>
                      <a:pt x="12" y="149"/>
                    </a:cubicBezTo>
                    <a:cubicBezTo>
                      <a:pt x="10" y="147"/>
                      <a:pt x="7" y="144"/>
                      <a:pt x="6" y="142"/>
                    </a:cubicBezTo>
                    <a:cubicBezTo>
                      <a:pt x="5" y="140"/>
                      <a:pt x="0" y="130"/>
                      <a:pt x="0" y="127"/>
                    </a:cubicBezTo>
                    <a:cubicBezTo>
                      <a:pt x="0" y="127"/>
                      <a:pt x="0" y="127"/>
                      <a:pt x="0" y="12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43" name="Freeform 138"/>
            <p:cNvSpPr>
              <a:spLocks/>
            </p:cNvSpPr>
            <p:nvPr/>
          </p:nvSpPr>
          <p:spPr bwMode="auto">
            <a:xfrm>
              <a:off x="5987132" y="3662869"/>
              <a:ext cx="116167" cy="94221"/>
            </a:xfrm>
            <a:custGeom>
              <a:avLst/>
              <a:gdLst>
                <a:gd name="T0" fmla="*/ 0 w 42"/>
                <a:gd name="T1" fmla="*/ 5486 h 35"/>
                <a:gd name="T2" fmla="*/ 3069 w 42"/>
                <a:gd name="T3" fmla="*/ 4546 h 35"/>
                <a:gd name="T4" fmla="*/ 20892 w 42"/>
                <a:gd name="T5" fmla="*/ 4546 h 35"/>
                <a:gd name="T6" fmla="*/ 34323 w 42"/>
                <a:gd name="T7" fmla="*/ 4546 h 35"/>
                <a:gd name="T8" fmla="*/ 42571 w 42"/>
                <a:gd name="T9" fmla="*/ 2584 h 35"/>
                <a:gd name="T10" fmla="*/ 51510 w 42"/>
                <a:gd name="T11" fmla="*/ 1773 h 35"/>
                <a:gd name="T12" fmla="*/ 60339 w 42"/>
                <a:gd name="T13" fmla="*/ 0 h 35"/>
                <a:gd name="T14" fmla="*/ 61436 w 42"/>
                <a:gd name="T15" fmla="*/ 1 h 35"/>
                <a:gd name="T16" fmla="*/ 82853 w 42"/>
                <a:gd name="T17" fmla="*/ 2584 h 35"/>
                <a:gd name="T18" fmla="*/ 100931 w 42"/>
                <a:gd name="T19" fmla="*/ 3292 h 35"/>
                <a:gd name="T20" fmla="*/ 109848 w 42"/>
                <a:gd name="T21" fmla="*/ 2584 h 35"/>
                <a:gd name="T22" fmla="*/ 112442 w 42"/>
                <a:gd name="T23" fmla="*/ 4269 h 35"/>
                <a:gd name="T24" fmla="*/ 118269 w 42"/>
                <a:gd name="T25" fmla="*/ 5591 h 35"/>
                <a:gd name="T26" fmla="*/ 118269 w 42"/>
                <a:gd name="T27" fmla="*/ 7329 h 35"/>
                <a:gd name="T28" fmla="*/ 99128 w 42"/>
                <a:gd name="T29" fmla="*/ 6624 h 35"/>
                <a:gd name="T30" fmla="*/ 64862 w 42"/>
                <a:gd name="T31" fmla="*/ 5591 h 35"/>
                <a:gd name="T32" fmla="*/ 48290 w 42"/>
                <a:gd name="T33" fmla="*/ 5591 h 35"/>
                <a:gd name="T34" fmla="*/ 48290 w 42"/>
                <a:gd name="T35" fmla="*/ 6990 h 35"/>
                <a:gd name="T36" fmla="*/ 69938 w 42"/>
                <a:gd name="T37" fmla="*/ 11064 h 35"/>
                <a:gd name="T38" fmla="*/ 84624 w 42"/>
                <a:gd name="T39" fmla="*/ 13209 h 35"/>
                <a:gd name="T40" fmla="*/ 82853 w 42"/>
                <a:gd name="T41" fmla="*/ 14430 h 35"/>
                <a:gd name="T42" fmla="*/ 64862 w 42"/>
                <a:gd name="T43" fmla="*/ 13209 h 35"/>
                <a:gd name="T44" fmla="*/ 36728 w 42"/>
                <a:gd name="T45" fmla="*/ 10679 h 35"/>
                <a:gd name="T46" fmla="*/ 13608 w 42"/>
                <a:gd name="T47" fmla="*/ 7994 h 35"/>
                <a:gd name="T48" fmla="*/ 0 w 42"/>
                <a:gd name="T49" fmla="*/ 5486 h 3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2" h="35">
                  <a:moveTo>
                    <a:pt x="0" y="13"/>
                  </a:moveTo>
                  <a:cubicBezTo>
                    <a:pt x="0" y="13"/>
                    <a:pt x="1" y="12"/>
                    <a:pt x="1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12" y="12"/>
                    <a:pt x="12" y="11"/>
                  </a:cubicBezTo>
                  <a:cubicBezTo>
                    <a:pt x="13" y="9"/>
                    <a:pt x="15" y="7"/>
                    <a:pt x="15" y="6"/>
                  </a:cubicBezTo>
                  <a:cubicBezTo>
                    <a:pt x="15" y="5"/>
                    <a:pt x="17" y="4"/>
                    <a:pt x="18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2"/>
                    <a:pt x="27" y="6"/>
                    <a:pt x="29" y="6"/>
                  </a:cubicBezTo>
                  <a:cubicBezTo>
                    <a:pt x="30" y="7"/>
                    <a:pt x="34" y="8"/>
                    <a:pt x="36" y="8"/>
                  </a:cubicBezTo>
                  <a:cubicBezTo>
                    <a:pt x="37" y="7"/>
                    <a:pt x="38" y="7"/>
                    <a:pt x="39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1" y="12"/>
                    <a:pt x="42" y="13"/>
                    <a:pt x="42" y="14"/>
                  </a:cubicBezTo>
                  <a:cubicBezTo>
                    <a:pt x="42" y="15"/>
                    <a:pt x="42" y="17"/>
                    <a:pt x="42" y="18"/>
                  </a:cubicBezTo>
                  <a:cubicBezTo>
                    <a:pt x="41" y="18"/>
                    <a:pt x="37" y="16"/>
                    <a:pt x="35" y="16"/>
                  </a:cubicBezTo>
                  <a:cubicBezTo>
                    <a:pt x="34" y="16"/>
                    <a:pt x="25" y="14"/>
                    <a:pt x="23" y="14"/>
                  </a:cubicBezTo>
                  <a:cubicBezTo>
                    <a:pt x="23" y="14"/>
                    <a:pt x="19" y="14"/>
                    <a:pt x="17" y="14"/>
                  </a:cubicBezTo>
                  <a:cubicBezTo>
                    <a:pt x="15" y="14"/>
                    <a:pt x="17" y="16"/>
                    <a:pt x="17" y="17"/>
                  </a:cubicBezTo>
                  <a:cubicBezTo>
                    <a:pt x="17" y="18"/>
                    <a:pt x="23" y="25"/>
                    <a:pt x="25" y="27"/>
                  </a:cubicBezTo>
                  <a:cubicBezTo>
                    <a:pt x="26" y="28"/>
                    <a:pt x="30" y="32"/>
                    <a:pt x="30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7" y="34"/>
                    <a:pt x="25" y="33"/>
                    <a:pt x="23" y="32"/>
                  </a:cubicBezTo>
                  <a:cubicBezTo>
                    <a:pt x="19" y="31"/>
                    <a:pt x="15" y="28"/>
                    <a:pt x="13" y="26"/>
                  </a:cubicBezTo>
                  <a:cubicBezTo>
                    <a:pt x="11" y="24"/>
                    <a:pt x="6" y="20"/>
                    <a:pt x="5" y="19"/>
                  </a:cubicBezTo>
                  <a:cubicBezTo>
                    <a:pt x="4" y="18"/>
                    <a:pt x="0" y="15"/>
                    <a:pt x="0" y="1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44" name="Freeform 139"/>
            <p:cNvSpPr>
              <a:spLocks/>
            </p:cNvSpPr>
            <p:nvPr/>
          </p:nvSpPr>
          <p:spPr bwMode="auto">
            <a:xfrm>
              <a:off x="5980398" y="4193095"/>
              <a:ext cx="223917" cy="332546"/>
            </a:xfrm>
            <a:custGeom>
              <a:avLst/>
              <a:gdLst>
                <a:gd name="T0" fmla="*/ 46951 w 80"/>
                <a:gd name="T1" fmla="*/ 36073 h 126"/>
                <a:gd name="T2" fmla="*/ 14630 w 80"/>
                <a:gd name="T3" fmla="*/ 32430 h 126"/>
                <a:gd name="T4" fmla="*/ 24322 w 80"/>
                <a:gd name="T5" fmla="*/ 31866 h 126"/>
                <a:gd name="T6" fmla="*/ 57965 w 80"/>
                <a:gd name="T7" fmla="*/ 31866 h 126"/>
                <a:gd name="T8" fmla="*/ 46951 w 80"/>
                <a:gd name="T9" fmla="*/ 27170 h 126"/>
                <a:gd name="T10" fmla="*/ 34866 w 80"/>
                <a:gd name="T11" fmla="*/ 25251 h 126"/>
                <a:gd name="T12" fmla="*/ 24322 w 80"/>
                <a:gd name="T13" fmla="*/ 24451 h 126"/>
                <a:gd name="T14" fmla="*/ 9972 w 80"/>
                <a:gd name="T15" fmla="*/ 24639 h 126"/>
                <a:gd name="T16" fmla="*/ 0 w 80"/>
                <a:gd name="T17" fmla="*/ 23120 h 126"/>
                <a:gd name="T18" fmla="*/ 3608 w 80"/>
                <a:gd name="T19" fmla="*/ 21243 h 126"/>
                <a:gd name="T20" fmla="*/ 51818 w 80"/>
                <a:gd name="T21" fmla="*/ 15614 h 126"/>
                <a:gd name="T22" fmla="*/ 57965 w 80"/>
                <a:gd name="T23" fmla="*/ 8951 h 126"/>
                <a:gd name="T24" fmla="*/ 67223 w 80"/>
                <a:gd name="T25" fmla="*/ 7533 h 126"/>
                <a:gd name="T26" fmla="*/ 45820 w 80"/>
                <a:gd name="T27" fmla="*/ 4857 h 126"/>
                <a:gd name="T28" fmla="*/ 40435 w 80"/>
                <a:gd name="T29" fmla="*/ 2080 h 126"/>
                <a:gd name="T30" fmla="*/ 40435 w 80"/>
                <a:gd name="T31" fmla="*/ 971 h 126"/>
                <a:gd name="T32" fmla="*/ 65175 w 80"/>
                <a:gd name="T33" fmla="*/ 0 h 126"/>
                <a:gd name="T34" fmla="*/ 271922 w 80"/>
                <a:gd name="T35" fmla="*/ 9319 h 126"/>
                <a:gd name="T36" fmla="*/ 271922 w 80"/>
                <a:gd name="T37" fmla="*/ 18267 h 126"/>
                <a:gd name="T38" fmla="*/ 246908 w 80"/>
                <a:gd name="T39" fmla="*/ 19019 h 126"/>
                <a:gd name="T40" fmla="*/ 231955 w 80"/>
                <a:gd name="T41" fmla="*/ 22614 h 126"/>
                <a:gd name="T42" fmla="*/ 217219 w 80"/>
                <a:gd name="T43" fmla="*/ 25101 h 126"/>
                <a:gd name="T44" fmla="*/ 231955 w 80"/>
                <a:gd name="T45" fmla="*/ 25947 h 126"/>
                <a:gd name="T46" fmla="*/ 247372 w 80"/>
                <a:gd name="T47" fmla="*/ 27513 h 126"/>
                <a:gd name="T48" fmla="*/ 246908 w 80"/>
                <a:gd name="T49" fmla="*/ 29639 h 126"/>
                <a:gd name="T50" fmla="*/ 215739 w 80"/>
                <a:gd name="T51" fmla="*/ 30067 h 126"/>
                <a:gd name="T52" fmla="*/ 185798 w 80"/>
                <a:gd name="T53" fmla="*/ 33430 h 126"/>
                <a:gd name="T54" fmla="*/ 154182 w 80"/>
                <a:gd name="T55" fmla="*/ 33947 h 126"/>
                <a:gd name="T56" fmla="*/ 137239 w 80"/>
                <a:gd name="T57" fmla="*/ 36073 h 126"/>
                <a:gd name="T58" fmla="*/ 76176 w 80"/>
                <a:gd name="T59" fmla="*/ 37763 h 126"/>
                <a:gd name="T60" fmla="*/ 51818 w 80"/>
                <a:gd name="T61" fmla="*/ 37763 h 126"/>
                <a:gd name="T62" fmla="*/ 46951 w 80"/>
                <a:gd name="T63" fmla="*/ 36073 h 12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80" h="126">
                  <a:moveTo>
                    <a:pt x="14" y="120"/>
                  </a:moveTo>
                  <a:cubicBezTo>
                    <a:pt x="12" y="116"/>
                    <a:pt x="4" y="108"/>
                    <a:pt x="4" y="108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6"/>
                    <a:pt x="16" y="108"/>
                    <a:pt x="17" y="106"/>
                  </a:cubicBezTo>
                  <a:cubicBezTo>
                    <a:pt x="17" y="104"/>
                    <a:pt x="13" y="95"/>
                    <a:pt x="14" y="90"/>
                  </a:cubicBezTo>
                  <a:cubicBezTo>
                    <a:pt x="15" y="86"/>
                    <a:pt x="12" y="87"/>
                    <a:pt x="10" y="84"/>
                  </a:cubicBezTo>
                  <a:cubicBezTo>
                    <a:pt x="9" y="82"/>
                    <a:pt x="8" y="81"/>
                    <a:pt x="7" y="81"/>
                  </a:cubicBezTo>
                  <a:cubicBezTo>
                    <a:pt x="6" y="81"/>
                    <a:pt x="3" y="82"/>
                    <a:pt x="3" y="8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" y="76"/>
                    <a:pt x="0" y="72"/>
                    <a:pt x="1" y="71"/>
                  </a:cubicBezTo>
                  <a:cubicBezTo>
                    <a:pt x="1" y="70"/>
                    <a:pt x="15" y="53"/>
                    <a:pt x="15" y="52"/>
                  </a:cubicBezTo>
                  <a:cubicBezTo>
                    <a:pt x="16" y="51"/>
                    <a:pt x="16" y="32"/>
                    <a:pt x="17" y="30"/>
                  </a:cubicBezTo>
                  <a:cubicBezTo>
                    <a:pt x="18" y="28"/>
                    <a:pt x="20" y="25"/>
                    <a:pt x="20" y="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61"/>
                    <a:pt x="80" y="61"/>
                    <a:pt x="80" y="61"/>
                  </a:cubicBezTo>
                  <a:cubicBezTo>
                    <a:pt x="80" y="61"/>
                    <a:pt x="73" y="62"/>
                    <a:pt x="72" y="63"/>
                  </a:cubicBezTo>
                  <a:cubicBezTo>
                    <a:pt x="70" y="65"/>
                    <a:pt x="69" y="72"/>
                    <a:pt x="68" y="75"/>
                  </a:cubicBezTo>
                  <a:cubicBezTo>
                    <a:pt x="68" y="78"/>
                    <a:pt x="65" y="80"/>
                    <a:pt x="64" y="83"/>
                  </a:cubicBezTo>
                  <a:cubicBezTo>
                    <a:pt x="64" y="87"/>
                    <a:pt x="68" y="85"/>
                    <a:pt x="68" y="86"/>
                  </a:cubicBezTo>
                  <a:cubicBezTo>
                    <a:pt x="68" y="88"/>
                    <a:pt x="71" y="90"/>
                    <a:pt x="73" y="92"/>
                  </a:cubicBezTo>
                  <a:cubicBezTo>
                    <a:pt x="72" y="99"/>
                    <a:pt x="72" y="99"/>
                    <a:pt x="72" y="99"/>
                  </a:cubicBezTo>
                  <a:cubicBezTo>
                    <a:pt x="70" y="97"/>
                    <a:pt x="65" y="99"/>
                    <a:pt x="63" y="100"/>
                  </a:cubicBezTo>
                  <a:cubicBezTo>
                    <a:pt x="62" y="100"/>
                    <a:pt x="57" y="109"/>
                    <a:pt x="55" y="111"/>
                  </a:cubicBezTo>
                  <a:cubicBezTo>
                    <a:pt x="53" y="113"/>
                    <a:pt x="47" y="113"/>
                    <a:pt x="45" y="113"/>
                  </a:cubicBezTo>
                  <a:cubicBezTo>
                    <a:pt x="44" y="114"/>
                    <a:pt x="42" y="120"/>
                    <a:pt x="40" y="120"/>
                  </a:cubicBezTo>
                  <a:cubicBezTo>
                    <a:pt x="37" y="121"/>
                    <a:pt x="24" y="124"/>
                    <a:pt x="22" y="125"/>
                  </a:cubicBezTo>
                  <a:cubicBezTo>
                    <a:pt x="19" y="126"/>
                    <a:pt x="15" y="125"/>
                    <a:pt x="15" y="125"/>
                  </a:cubicBezTo>
                  <a:cubicBezTo>
                    <a:pt x="16" y="124"/>
                    <a:pt x="16" y="122"/>
                    <a:pt x="14" y="12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45" name="Freeform 140"/>
            <p:cNvSpPr>
              <a:spLocks/>
            </p:cNvSpPr>
            <p:nvPr/>
          </p:nvSpPr>
          <p:spPr bwMode="auto">
            <a:xfrm>
              <a:off x="5980398" y="3655479"/>
              <a:ext cx="65660" cy="38797"/>
            </a:xfrm>
            <a:custGeom>
              <a:avLst/>
              <a:gdLst>
                <a:gd name="T0" fmla="*/ 0 w 23"/>
                <a:gd name="T1" fmla="*/ 2317 h 15"/>
                <a:gd name="T2" fmla="*/ 4814 w 23"/>
                <a:gd name="T3" fmla="*/ 844 h 15"/>
                <a:gd name="T4" fmla="*/ 39799 w 23"/>
                <a:gd name="T5" fmla="*/ 1133 h 15"/>
                <a:gd name="T6" fmla="*/ 67485 w 23"/>
                <a:gd name="T7" fmla="*/ 431 h 15"/>
                <a:gd name="T8" fmla="*/ 99121 w 23"/>
                <a:gd name="T9" fmla="*/ 0 h 15"/>
                <a:gd name="T10" fmla="*/ 107297 w 23"/>
                <a:gd name="T11" fmla="*/ 603 h 15"/>
                <a:gd name="T12" fmla="*/ 93514 w 23"/>
                <a:gd name="T13" fmla="*/ 1586 h 15"/>
                <a:gd name="T14" fmla="*/ 79609 w 23"/>
                <a:gd name="T15" fmla="*/ 2001 h 15"/>
                <a:gd name="T16" fmla="*/ 67485 w 23"/>
                <a:gd name="T17" fmla="*/ 3108 h 15"/>
                <a:gd name="T18" fmla="*/ 39863 w 23"/>
                <a:gd name="T19" fmla="*/ 3108 h 15"/>
                <a:gd name="T20" fmla="*/ 13842 w 23"/>
                <a:gd name="T21" fmla="*/ 3108 h 15"/>
                <a:gd name="T22" fmla="*/ 13842 w 23"/>
                <a:gd name="T23" fmla="*/ 2730 h 15"/>
                <a:gd name="T24" fmla="*/ 0 w 23"/>
                <a:gd name="T25" fmla="*/ 2317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3" h="15">
                  <a:moveTo>
                    <a:pt x="0" y="11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5" y="4"/>
                    <a:pt x="8" y="5"/>
                    <a:pt x="8" y="5"/>
                  </a:cubicBezTo>
                  <a:cubicBezTo>
                    <a:pt x="9" y="5"/>
                    <a:pt x="12" y="2"/>
                    <a:pt x="14" y="2"/>
                  </a:cubicBezTo>
                  <a:cubicBezTo>
                    <a:pt x="16" y="2"/>
                    <a:pt x="20" y="1"/>
                    <a:pt x="21" y="0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7" y="8"/>
                    <a:pt x="17" y="9"/>
                  </a:cubicBezTo>
                  <a:cubicBezTo>
                    <a:pt x="17" y="10"/>
                    <a:pt x="15" y="12"/>
                    <a:pt x="14" y="14"/>
                  </a:cubicBezTo>
                  <a:cubicBezTo>
                    <a:pt x="14" y="15"/>
                    <a:pt x="10" y="14"/>
                    <a:pt x="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3" y="11"/>
                    <a:pt x="1" y="11"/>
                    <a:pt x="0" y="1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46" name="Freeform 141"/>
            <p:cNvSpPr>
              <a:spLocks/>
            </p:cNvSpPr>
            <p:nvPr/>
          </p:nvSpPr>
          <p:spPr bwMode="auto">
            <a:xfrm>
              <a:off x="5948410" y="4566285"/>
              <a:ext cx="414162" cy="378733"/>
            </a:xfrm>
            <a:custGeom>
              <a:avLst/>
              <a:gdLst>
                <a:gd name="T0" fmla="*/ 0 w 149"/>
                <a:gd name="T1" fmla="*/ 22184 h 144"/>
                <a:gd name="T2" fmla="*/ 22142 w 149"/>
                <a:gd name="T3" fmla="*/ 21319 h 144"/>
                <a:gd name="T4" fmla="*/ 42741 w 149"/>
                <a:gd name="T5" fmla="*/ 21616 h 144"/>
                <a:gd name="T6" fmla="*/ 56872 w 149"/>
                <a:gd name="T7" fmla="*/ 20923 h 144"/>
                <a:gd name="T8" fmla="*/ 75827 w 149"/>
                <a:gd name="T9" fmla="*/ 22100 h 144"/>
                <a:gd name="T10" fmla="*/ 99648 w 149"/>
                <a:gd name="T11" fmla="*/ 18191 h 144"/>
                <a:gd name="T12" fmla="*/ 118562 w 149"/>
                <a:gd name="T13" fmla="*/ 14013 h 144"/>
                <a:gd name="T14" fmla="*/ 139343 w 149"/>
                <a:gd name="T15" fmla="*/ 11355 h 144"/>
                <a:gd name="T16" fmla="*/ 149831 w 149"/>
                <a:gd name="T17" fmla="*/ 6567 h 144"/>
                <a:gd name="T18" fmla="*/ 158346 w 149"/>
                <a:gd name="T19" fmla="*/ 3780 h 144"/>
                <a:gd name="T20" fmla="*/ 158346 w 149"/>
                <a:gd name="T21" fmla="*/ 2655 h 144"/>
                <a:gd name="T22" fmla="*/ 173342 w 149"/>
                <a:gd name="T23" fmla="*/ 646 h 144"/>
                <a:gd name="T24" fmla="*/ 204641 w 149"/>
                <a:gd name="T25" fmla="*/ 1942 h 144"/>
                <a:gd name="T26" fmla="*/ 247372 w 149"/>
                <a:gd name="T27" fmla="*/ 2655 h 144"/>
                <a:gd name="T28" fmla="*/ 257942 w 149"/>
                <a:gd name="T29" fmla="*/ 1310 h 144"/>
                <a:gd name="T30" fmla="*/ 303774 w 149"/>
                <a:gd name="T31" fmla="*/ 646 h 144"/>
                <a:gd name="T32" fmla="*/ 345381 w 149"/>
                <a:gd name="T33" fmla="*/ 0 h 144"/>
                <a:gd name="T34" fmla="*/ 356858 w 149"/>
                <a:gd name="T35" fmla="*/ 1 h 144"/>
                <a:gd name="T36" fmla="*/ 369158 w 149"/>
                <a:gd name="T37" fmla="*/ 1310 h 144"/>
                <a:gd name="T38" fmla="*/ 393394 w 149"/>
                <a:gd name="T39" fmla="*/ 2276 h 144"/>
                <a:gd name="T40" fmla="*/ 411893 w 149"/>
                <a:gd name="T41" fmla="*/ 1364 h 144"/>
                <a:gd name="T42" fmla="*/ 422565 w 149"/>
                <a:gd name="T43" fmla="*/ 2655 h 144"/>
                <a:gd name="T44" fmla="*/ 444969 w 149"/>
                <a:gd name="T45" fmla="*/ 3780 h 144"/>
                <a:gd name="T46" fmla="*/ 439675 w 149"/>
                <a:gd name="T47" fmla="*/ 6049 h 144"/>
                <a:gd name="T48" fmla="*/ 453749 w 149"/>
                <a:gd name="T49" fmla="*/ 7206 h 144"/>
                <a:gd name="T50" fmla="*/ 431623 w 149"/>
                <a:gd name="T51" fmla="*/ 9349 h 144"/>
                <a:gd name="T52" fmla="*/ 415170 w 149"/>
                <a:gd name="T53" fmla="*/ 11634 h 144"/>
                <a:gd name="T54" fmla="*/ 405717 w 149"/>
                <a:gd name="T55" fmla="*/ 14605 h 144"/>
                <a:gd name="T56" fmla="*/ 393394 w 149"/>
                <a:gd name="T57" fmla="*/ 17006 h 144"/>
                <a:gd name="T58" fmla="*/ 396806 w 149"/>
                <a:gd name="T59" fmla="*/ 17928 h 144"/>
                <a:gd name="T60" fmla="*/ 398745 w 149"/>
                <a:gd name="T61" fmla="*/ 19629 h 144"/>
                <a:gd name="T62" fmla="*/ 405717 w 149"/>
                <a:gd name="T63" fmla="*/ 21319 h 144"/>
                <a:gd name="T64" fmla="*/ 408413 w 149"/>
                <a:gd name="T65" fmla="*/ 24485 h 144"/>
                <a:gd name="T66" fmla="*/ 425864 w 149"/>
                <a:gd name="T67" fmla="*/ 26802 h 144"/>
                <a:gd name="T68" fmla="*/ 439675 w 149"/>
                <a:gd name="T69" fmla="*/ 28921 h 144"/>
                <a:gd name="T70" fmla="*/ 398745 w 149"/>
                <a:gd name="T71" fmla="*/ 29786 h 144"/>
                <a:gd name="T72" fmla="*/ 388110 w 149"/>
                <a:gd name="T73" fmla="*/ 31734 h 144"/>
                <a:gd name="T74" fmla="*/ 389250 w 149"/>
                <a:gd name="T75" fmla="*/ 36335 h 144"/>
                <a:gd name="T76" fmla="*/ 417214 w 149"/>
                <a:gd name="T77" fmla="*/ 38156 h 144"/>
                <a:gd name="T78" fmla="*/ 411893 w 149"/>
                <a:gd name="T79" fmla="*/ 41028 h 144"/>
                <a:gd name="T80" fmla="*/ 411893 w 149"/>
                <a:gd name="T81" fmla="*/ 41028 h 144"/>
                <a:gd name="T82" fmla="*/ 388110 w 149"/>
                <a:gd name="T83" fmla="*/ 39144 h 144"/>
                <a:gd name="T84" fmla="*/ 356858 w 149"/>
                <a:gd name="T85" fmla="*/ 36788 h 144"/>
                <a:gd name="T86" fmla="*/ 337864 w 149"/>
                <a:gd name="T87" fmla="*/ 37686 h 144"/>
                <a:gd name="T88" fmla="*/ 314345 w 149"/>
                <a:gd name="T89" fmla="*/ 36168 h 144"/>
                <a:gd name="T90" fmla="*/ 280443 w 149"/>
                <a:gd name="T91" fmla="*/ 35528 h 144"/>
                <a:gd name="T92" fmla="*/ 247372 w 149"/>
                <a:gd name="T93" fmla="*/ 35370 h 144"/>
                <a:gd name="T94" fmla="*/ 235075 w 149"/>
                <a:gd name="T95" fmla="*/ 32189 h 144"/>
                <a:gd name="T96" fmla="*/ 228879 w 149"/>
                <a:gd name="T97" fmla="*/ 27447 h 144"/>
                <a:gd name="T98" fmla="*/ 178939 w 149"/>
                <a:gd name="T99" fmla="*/ 26472 h 144"/>
                <a:gd name="T100" fmla="*/ 169862 w 149"/>
                <a:gd name="T101" fmla="*/ 28820 h 144"/>
                <a:gd name="T102" fmla="*/ 130918 w 149"/>
                <a:gd name="T103" fmla="*/ 29400 h 144"/>
                <a:gd name="T104" fmla="*/ 107203 w 149"/>
                <a:gd name="T105" fmla="*/ 24485 h 144"/>
                <a:gd name="T106" fmla="*/ 39329 w 149"/>
                <a:gd name="T107" fmla="*/ 24210 h 144"/>
                <a:gd name="T108" fmla="*/ 13411 w 149"/>
                <a:gd name="T109" fmla="*/ 25406 h 144"/>
                <a:gd name="T110" fmla="*/ 13411 w 149"/>
                <a:gd name="T111" fmla="*/ 24956 h 144"/>
                <a:gd name="T112" fmla="*/ 0 w 149"/>
                <a:gd name="T113" fmla="*/ 22184 h 14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49" h="144">
                  <a:moveTo>
                    <a:pt x="0" y="78"/>
                  </a:moveTo>
                  <a:cubicBezTo>
                    <a:pt x="1" y="77"/>
                    <a:pt x="5" y="75"/>
                    <a:pt x="7" y="75"/>
                  </a:cubicBezTo>
                  <a:cubicBezTo>
                    <a:pt x="9" y="75"/>
                    <a:pt x="11" y="77"/>
                    <a:pt x="14" y="76"/>
                  </a:cubicBezTo>
                  <a:cubicBezTo>
                    <a:pt x="16" y="75"/>
                    <a:pt x="18" y="75"/>
                    <a:pt x="19" y="74"/>
                  </a:cubicBezTo>
                  <a:cubicBezTo>
                    <a:pt x="21" y="74"/>
                    <a:pt x="22" y="79"/>
                    <a:pt x="25" y="77"/>
                  </a:cubicBezTo>
                  <a:cubicBezTo>
                    <a:pt x="27" y="75"/>
                    <a:pt x="33" y="69"/>
                    <a:pt x="33" y="64"/>
                  </a:cubicBezTo>
                  <a:cubicBezTo>
                    <a:pt x="33" y="59"/>
                    <a:pt x="35" y="52"/>
                    <a:pt x="39" y="49"/>
                  </a:cubicBezTo>
                  <a:cubicBezTo>
                    <a:pt x="42" y="47"/>
                    <a:pt x="46" y="43"/>
                    <a:pt x="46" y="40"/>
                  </a:cubicBezTo>
                  <a:cubicBezTo>
                    <a:pt x="46" y="36"/>
                    <a:pt x="48" y="25"/>
                    <a:pt x="49" y="23"/>
                  </a:cubicBezTo>
                  <a:cubicBezTo>
                    <a:pt x="50" y="21"/>
                    <a:pt x="51" y="16"/>
                    <a:pt x="52" y="13"/>
                  </a:cubicBezTo>
                  <a:cubicBezTo>
                    <a:pt x="52" y="11"/>
                    <a:pt x="52" y="9"/>
                    <a:pt x="52" y="9"/>
                  </a:cubicBezTo>
                  <a:cubicBezTo>
                    <a:pt x="53" y="8"/>
                    <a:pt x="54" y="2"/>
                    <a:pt x="57" y="2"/>
                  </a:cubicBezTo>
                  <a:cubicBezTo>
                    <a:pt x="60" y="2"/>
                    <a:pt x="64" y="7"/>
                    <a:pt x="67" y="7"/>
                  </a:cubicBezTo>
                  <a:cubicBezTo>
                    <a:pt x="70" y="7"/>
                    <a:pt x="78" y="10"/>
                    <a:pt x="81" y="9"/>
                  </a:cubicBezTo>
                  <a:cubicBezTo>
                    <a:pt x="83" y="8"/>
                    <a:pt x="83" y="4"/>
                    <a:pt x="85" y="4"/>
                  </a:cubicBezTo>
                  <a:cubicBezTo>
                    <a:pt x="88" y="4"/>
                    <a:pt x="98" y="3"/>
                    <a:pt x="100" y="2"/>
                  </a:cubicBezTo>
                  <a:cubicBezTo>
                    <a:pt x="102" y="1"/>
                    <a:pt x="110" y="0"/>
                    <a:pt x="113" y="0"/>
                  </a:cubicBezTo>
                  <a:cubicBezTo>
                    <a:pt x="114" y="0"/>
                    <a:pt x="116" y="1"/>
                    <a:pt x="117" y="1"/>
                  </a:cubicBezTo>
                  <a:cubicBezTo>
                    <a:pt x="119" y="2"/>
                    <a:pt x="120" y="3"/>
                    <a:pt x="121" y="4"/>
                  </a:cubicBezTo>
                  <a:cubicBezTo>
                    <a:pt x="123" y="6"/>
                    <a:pt x="124" y="8"/>
                    <a:pt x="129" y="8"/>
                  </a:cubicBezTo>
                  <a:cubicBezTo>
                    <a:pt x="134" y="8"/>
                    <a:pt x="133" y="4"/>
                    <a:pt x="135" y="5"/>
                  </a:cubicBezTo>
                  <a:cubicBezTo>
                    <a:pt x="137" y="6"/>
                    <a:pt x="139" y="9"/>
                    <a:pt x="139" y="9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5" y="13"/>
                    <a:pt x="144" y="19"/>
                    <a:pt x="144" y="21"/>
                  </a:cubicBezTo>
                  <a:cubicBezTo>
                    <a:pt x="144" y="22"/>
                    <a:pt x="149" y="25"/>
                    <a:pt x="149" y="25"/>
                  </a:cubicBezTo>
                  <a:cubicBezTo>
                    <a:pt x="149" y="25"/>
                    <a:pt x="144" y="31"/>
                    <a:pt x="142" y="33"/>
                  </a:cubicBezTo>
                  <a:cubicBezTo>
                    <a:pt x="139" y="35"/>
                    <a:pt x="137" y="39"/>
                    <a:pt x="136" y="41"/>
                  </a:cubicBezTo>
                  <a:cubicBezTo>
                    <a:pt x="136" y="43"/>
                    <a:pt x="135" y="49"/>
                    <a:pt x="133" y="51"/>
                  </a:cubicBezTo>
                  <a:cubicBezTo>
                    <a:pt x="132" y="52"/>
                    <a:pt x="129" y="57"/>
                    <a:pt x="129" y="60"/>
                  </a:cubicBezTo>
                  <a:cubicBezTo>
                    <a:pt x="129" y="61"/>
                    <a:pt x="130" y="62"/>
                    <a:pt x="130" y="63"/>
                  </a:cubicBezTo>
                  <a:cubicBezTo>
                    <a:pt x="130" y="65"/>
                    <a:pt x="131" y="67"/>
                    <a:pt x="131" y="69"/>
                  </a:cubicBezTo>
                  <a:cubicBezTo>
                    <a:pt x="132" y="70"/>
                    <a:pt x="132" y="72"/>
                    <a:pt x="133" y="75"/>
                  </a:cubicBezTo>
                  <a:cubicBezTo>
                    <a:pt x="134" y="79"/>
                    <a:pt x="134" y="84"/>
                    <a:pt x="134" y="86"/>
                  </a:cubicBezTo>
                  <a:cubicBezTo>
                    <a:pt x="134" y="88"/>
                    <a:pt x="138" y="92"/>
                    <a:pt x="140" y="94"/>
                  </a:cubicBezTo>
                  <a:cubicBezTo>
                    <a:pt x="142" y="95"/>
                    <a:pt x="143" y="99"/>
                    <a:pt x="144" y="102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25" y="110"/>
                    <a:pt x="127" y="112"/>
                  </a:cubicBezTo>
                  <a:cubicBezTo>
                    <a:pt x="128" y="115"/>
                    <a:pt x="127" y="125"/>
                    <a:pt x="128" y="128"/>
                  </a:cubicBezTo>
                  <a:cubicBezTo>
                    <a:pt x="129" y="131"/>
                    <a:pt x="137" y="132"/>
                    <a:pt x="137" y="134"/>
                  </a:cubicBezTo>
                  <a:cubicBezTo>
                    <a:pt x="137" y="136"/>
                    <a:pt x="137" y="143"/>
                    <a:pt x="135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2" y="144"/>
                    <a:pt x="129" y="141"/>
                    <a:pt x="127" y="138"/>
                  </a:cubicBezTo>
                  <a:cubicBezTo>
                    <a:pt x="124" y="136"/>
                    <a:pt x="119" y="131"/>
                    <a:pt x="117" y="129"/>
                  </a:cubicBezTo>
                  <a:cubicBezTo>
                    <a:pt x="117" y="127"/>
                    <a:pt x="114" y="132"/>
                    <a:pt x="111" y="132"/>
                  </a:cubicBezTo>
                  <a:cubicBezTo>
                    <a:pt x="109" y="132"/>
                    <a:pt x="103" y="127"/>
                    <a:pt x="103" y="127"/>
                  </a:cubicBezTo>
                  <a:cubicBezTo>
                    <a:pt x="103" y="127"/>
                    <a:pt x="94" y="125"/>
                    <a:pt x="92" y="125"/>
                  </a:cubicBezTo>
                  <a:cubicBezTo>
                    <a:pt x="90" y="125"/>
                    <a:pt x="80" y="126"/>
                    <a:pt x="81" y="124"/>
                  </a:cubicBezTo>
                  <a:cubicBezTo>
                    <a:pt x="81" y="122"/>
                    <a:pt x="79" y="115"/>
                    <a:pt x="77" y="113"/>
                  </a:cubicBezTo>
                  <a:cubicBezTo>
                    <a:pt x="75" y="111"/>
                    <a:pt x="75" y="96"/>
                    <a:pt x="75" y="96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8" y="101"/>
                    <a:pt x="56" y="101"/>
                  </a:cubicBezTo>
                  <a:cubicBezTo>
                    <a:pt x="54" y="101"/>
                    <a:pt x="45" y="103"/>
                    <a:pt x="43" y="103"/>
                  </a:cubicBezTo>
                  <a:cubicBezTo>
                    <a:pt x="41" y="103"/>
                    <a:pt x="37" y="86"/>
                    <a:pt x="35" y="86"/>
                  </a:cubicBezTo>
                  <a:cubicBezTo>
                    <a:pt x="34" y="86"/>
                    <a:pt x="17" y="85"/>
                    <a:pt x="13" y="85"/>
                  </a:cubicBezTo>
                  <a:cubicBezTo>
                    <a:pt x="10" y="85"/>
                    <a:pt x="7" y="87"/>
                    <a:pt x="4" y="89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2" y="84"/>
                    <a:pt x="2" y="81"/>
                    <a:pt x="0" y="7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47" name="Freeform 142"/>
            <p:cNvSpPr>
              <a:spLocks/>
            </p:cNvSpPr>
            <p:nvPr/>
          </p:nvSpPr>
          <p:spPr bwMode="auto">
            <a:xfrm>
              <a:off x="5945043" y="5018917"/>
              <a:ext cx="292944" cy="249409"/>
            </a:xfrm>
            <a:custGeom>
              <a:avLst/>
              <a:gdLst>
                <a:gd name="T0" fmla="*/ 3400 w 105"/>
                <a:gd name="T1" fmla="*/ 1910 h 95"/>
                <a:gd name="T2" fmla="*/ 0 w 105"/>
                <a:gd name="T3" fmla="*/ 1 h 95"/>
                <a:gd name="T4" fmla="*/ 23545 w 105"/>
                <a:gd name="T5" fmla="*/ 620 h 95"/>
                <a:gd name="T6" fmla="*/ 42486 w 105"/>
                <a:gd name="T7" fmla="*/ 0 h 95"/>
                <a:gd name="T8" fmla="*/ 60628 w 105"/>
                <a:gd name="T9" fmla="*/ 881 h 95"/>
                <a:gd name="T10" fmla="*/ 166491 w 105"/>
                <a:gd name="T11" fmla="*/ 881 h 95"/>
                <a:gd name="T12" fmla="*/ 181538 w 105"/>
                <a:gd name="T13" fmla="*/ 1910 h 95"/>
                <a:gd name="T14" fmla="*/ 213160 w 105"/>
                <a:gd name="T15" fmla="*/ 1910 h 95"/>
                <a:gd name="T16" fmla="*/ 231176 w 105"/>
                <a:gd name="T17" fmla="*/ 1910 h 95"/>
                <a:gd name="T18" fmla="*/ 264999 w 105"/>
                <a:gd name="T19" fmla="*/ 1344 h 95"/>
                <a:gd name="T20" fmla="*/ 281330 w 105"/>
                <a:gd name="T21" fmla="*/ 1252 h 95"/>
                <a:gd name="T22" fmla="*/ 326354 w 105"/>
                <a:gd name="T23" fmla="*/ 1252 h 95"/>
                <a:gd name="T24" fmla="*/ 333266 w 105"/>
                <a:gd name="T25" fmla="*/ 1344 h 95"/>
                <a:gd name="T26" fmla="*/ 338715 w 105"/>
                <a:gd name="T27" fmla="*/ 2528 h 95"/>
                <a:gd name="T28" fmla="*/ 313909 w 105"/>
                <a:gd name="T29" fmla="*/ 3195 h 95"/>
                <a:gd name="T30" fmla="*/ 294236 w 105"/>
                <a:gd name="T31" fmla="*/ 3263 h 95"/>
                <a:gd name="T32" fmla="*/ 275899 w 105"/>
                <a:gd name="T33" fmla="*/ 2714 h 95"/>
                <a:gd name="T34" fmla="*/ 231176 w 105"/>
                <a:gd name="T35" fmla="*/ 3592 h 95"/>
                <a:gd name="T36" fmla="*/ 231176 w 105"/>
                <a:gd name="T37" fmla="*/ 10753 h 95"/>
                <a:gd name="T38" fmla="*/ 201109 w 105"/>
                <a:gd name="T39" fmla="*/ 10753 h 95"/>
                <a:gd name="T40" fmla="*/ 201109 w 105"/>
                <a:gd name="T41" fmla="*/ 17212 h 95"/>
                <a:gd name="T42" fmla="*/ 201109 w 105"/>
                <a:gd name="T43" fmla="*/ 25741 h 95"/>
                <a:gd name="T44" fmla="*/ 152121 w 105"/>
                <a:gd name="T45" fmla="*/ 26312 h 95"/>
                <a:gd name="T46" fmla="*/ 136366 w 105"/>
                <a:gd name="T47" fmla="*/ 24483 h 95"/>
                <a:gd name="T48" fmla="*/ 118842 w 105"/>
                <a:gd name="T49" fmla="*/ 26065 h 95"/>
                <a:gd name="T50" fmla="*/ 118842 w 105"/>
                <a:gd name="T51" fmla="*/ 26065 h 95"/>
                <a:gd name="T52" fmla="*/ 112863 w 105"/>
                <a:gd name="T53" fmla="*/ 25430 h 95"/>
                <a:gd name="T54" fmla="*/ 80307 w 105"/>
                <a:gd name="T55" fmla="*/ 21715 h 95"/>
                <a:gd name="T56" fmla="*/ 70405 w 105"/>
                <a:gd name="T57" fmla="*/ 17212 h 95"/>
                <a:gd name="T58" fmla="*/ 68107 w 105"/>
                <a:gd name="T59" fmla="*/ 14373 h 95"/>
                <a:gd name="T60" fmla="*/ 60628 w 105"/>
                <a:gd name="T61" fmla="*/ 11246 h 95"/>
                <a:gd name="T62" fmla="*/ 29244 w 105"/>
                <a:gd name="T63" fmla="*/ 6452 h 95"/>
                <a:gd name="T64" fmla="*/ 3400 w 105"/>
                <a:gd name="T65" fmla="*/ 1910 h 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05" h="95">
                  <a:moveTo>
                    <a:pt x="1" y="7"/>
                  </a:moveTo>
                  <a:cubicBezTo>
                    <a:pt x="0" y="6"/>
                    <a:pt x="0" y="3"/>
                    <a:pt x="0" y="1"/>
                  </a:cubicBezTo>
                  <a:cubicBezTo>
                    <a:pt x="0" y="1"/>
                    <a:pt x="4" y="2"/>
                    <a:pt x="7" y="2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6" y="0"/>
                    <a:pt x="18" y="3"/>
                    <a:pt x="19" y="3"/>
                  </a:cubicBezTo>
                  <a:cubicBezTo>
                    <a:pt x="20" y="3"/>
                    <a:pt x="51" y="3"/>
                    <a:pt x="51" y="3"/>
                  </a:cubicBezTo>
                  <a:cubicBezTo>
                    <a:pt x="51" y="3"/>
                    <a:pt x="54" y="7"/>
                    <a:pt x="56" y="7"/>
                  </a:cubicBezTo>
                  <a:cubicBezTo>
                    <a:pt x="57" y="7"/>
                    <a:pt x="62" y="7"/>
                    <a:pt x="66" y="7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5"/>
                    <a:pt x="85" y="5"/>
                    <a:pt x="87" y="4"/>
                  </a:cubicBezTo>
                  <a:cubicBezTo>
                    <a:pt x="93" y="4"/>
                    <a:pt x="100" y="3"/>
                    <a:pt x="101" y="4"/>
                  </a:cubicBezTo>
                  <a:cubicBezTo>
                    <a:pt x="101" y="5"/>
                    <a:pt x="102" y="5"/>
                    <a:pt x="103" y="5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3" y="11"/>
                    <a:pt x="91" y="12"/>
                  </a:cubicBezTo>
                  <a:cubicBezTo>
                    <a:pt x="90" y="13"/>
                    <a:pt x="88" y="10"/>
                    <a:pt x="85" y="10"/>
                  </a:cubicBezTo>
                  <a:cubicBezTo>
                    <a:pt x="85" y="10"/>
                    <a:pt x="74" y="13"/>
                    <a:pt x="71" y="1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50" y="95"/>
                    <a:pt x="47" y="95"/>
                  </a:cubicBezTo>
                  <a:cubicBezTo>
                    <a:pt x="45" y="95"/>
                    <a:pt x="44" y="89"/>
                    <a:pt x="42" y="89"/>
                  </a:cubicBezTo>
                  <a:cubicBezTo>
                    <a:pt x="40" y="89"/>
                    <a:pt x="38" y="92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3"/>
                    <a:pt x="36" y="92"/>
                    <a:pt x="35" y="92"/>
                  </a:cubicBezTo>
                  <a:cubicBezTo>
                    <a:pt x="31" y="88"/>
                    <a:pt x="26" y="84"/>
                    <a:pt x="25" y="78"/>
                  </a:cubicBezTo>
                  <a:cubicBezTo>
                    <a:pt x="25" y="72"/>
                    <a:pt x="24" y="66"/>
                    <a:pt x="22" y="62"/>
                  </a:cubicBezTo>
                  <a:cubicBezTo>
                    <a:pt x="21" y="58"/>
                    <a:pt x="21" y="56"/>
                    <a:pt x="21" y="52"/>
                  </a:cubicBezTo>
                  <a:cubicBezTo>
                    <a:pt x="21" y="49"/>
                    <a:pt x="22" y="46"/>
                    <a:pt x="19" y="41"/>
                  </a:cubicBezTo>
                  <a:cubicBezTo>
                    <a:pt x="17" y="36"/>
                    <a:pt x="12" y="27"/>
                    <a:pt x="9" y="23"/>
                  </a:cubicBezTo>
                  <a:cubicBezTo>
                    <a:pt x="6" y="19"/>
                    <a:pt x="1" y="12"/>
                    <a:pt x="1" y="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48" name="Freeform 143"/>
            <p:cNvSpPr>
              <a:spLocks/>
            </p:cNvSpPr>
            <p:nvPr/>
          </p:nvSpPr>
          <p:spPr bwMode="auto">
            <a:xfrm>
              <a:off x="5945043" y="4791677"/>
              <a:ext cx="262639" cy="247562"/>
            </a:xfrm>
            <a:custGeom>
              <a:avLst/>
              <a:gdLst>
                <a:gd name="T0" fmla="*/ 0 w 94"/>
                <a:gd name="T1" fmla="*/ 25496 h 94"/>
                <a:gd name="T2" fmla="*/ 3512 w 94"/>
                <a:gd name="T3" fmla="*/ 23128 h 94"/>
                <a:gd name="T4" fmla="*/ 16051 w 94"/>
                <a:gd name="T5" fmla="*/ 19585 h 94"/>
                <a:gd name="T6" fmla="*/ 19980 w 94"/>
                <a:gd name="T7" fmla="*/ 16840 h 94"/>
                <a:gd name="T8" fmla="*/ 44208 w 94"/>
                <a:gd name="T9" fmla="*/ 14870 h 94"/>
                <a:gd name="T10" fmla="*/ 54260 w 94"/>
                <a:gd name="T11" fmla="*/ 11471 h 94"/>
                <a:gd name="T12" fmla="*/ 29811 w 94"/>
                <a:gd name="T13" fmla="*/ 7647 h 94"/>
                <a:gd name="T14" fmla="*/ 44208 w 94"/>
                <a:gd name="T15" fmla="*/ 5813 h 94"/>
                <a:gd name="T16" fmla="*/ 16051 w 94"/>
                <a:gd name="T17" fmla="*/ 1319 h 94"/>
                <a:gd name="T18" fmla="*/ 45869 w 94"/>
                <a:gd name="T19" fmla="*/ 0 h 94"/>
                <a:gd name="T20" fmla="*/ 119921 w 94"/>
                <a:gd name="T21" fmla="*/ 1 h 94"/>
                <a:gd name="T22" fmla="*/ 145611 w 94"/>
                <a:gd name="T23" fmla="*/ 5364 h 94"/>
                <a:gd name="T24" fmla="*/ 189830 w 94"/>
                <a:gd name="T25" fmla="*/ 4743 h 94"/>
                <a:gd name="T26" fmla="*/ 199018 w 94"/>
                <a:gd name="T27" fmla="*/ 2334 h 94"/>
                <a:gd name="T28" fmla="*/ 251520 w 94"/>
                <a:gd name="T29" fmla="*/ 3327 h 94"/>
                <a:gd name="T30" fmla="*/ 256844 w 94"/>
                <a:gd name="T31" fmla="*/ 8123 h 94"/>
                <a:gd name="T32" fmla="*/ 271480 w 94"/>
                <a:gd name="T33" fmla="*/ 11471 h 94"/>
                <a:gd name="T34" fmla="*/ 307783 w 94"/>
                <a:gd name="T35" fmla="*/ 11580 h 94"/>
                <a:gd name="T36" fmla="*/ 311713 w 94"/>
                <a:gd name="T37" fmla="*/ 16352 h 94"/>
                <a:gd name="T38" fmla="*/ 256844 w 94"/>
                <a:gd name="T39" fmla="*/ 16352 h 94"/>
                <a:gd name="T40" fmla="*/ 256844 w 94"/>
                <a:gd name="T41" fmla="*/ 23310 h 94"/>
                <a:gd name="T42" fmla="*/ 287805 w 94"/>
                <a:gd name="T43" fmla="*/ 26462 h 94"/>
                <a:gd name="T44" fmla="*/ 271480 w 94"/>
                <a:gd name="T45" fmla="*/ 26814 h 94"/>
                <a:gd name="T46" fmla="*/ 235281 w 94"/>
                <a:gd name="T47" fmla="*/ 27298 h 94"/>
                <a:gd name="T48" fmla="*/ 220365 w 94"/>
                <a:gd name="T49" fmla="*/ 27298 h 94"/>
                <a:gd name="T50" fmla="*/ 185459 w 94"/>
                <a:gd name="T51" fmla="*/ 27298 h 94"/>
                <a:gd name="T52" fmla="*/ 169408 w 94"/>
                <a:gd name="T53" fmla="*/ 25997 h 94"/>
                <a:gd name="T54" fmla="*/ 63693 w 94"/>
                <a:gd name="T55" fmla="*/ 25997 h 94"/>
                <a:gd name="T56" fmla="*/ 44208 w 94"/>
                <a:gd name="T57" fmla="*/ 25302 h 94"/>
                <a:gd name="T58" fmla="*/ 23978 w 94"/>
                <a:gd name="T59" fmla="*/ 25922 h 94"/>
                <a:gd name="T60" fmla="*/ 0 w 94"/>
                <a:gd name="T61" fmla="*/ 25496 h 9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4" h="94">
                  <a:moveTo>
                    <a:pt x="0" y="88"/>
                  </a:moveTo>
                  <a:cubicBezTo>
                    <a:pt x="0" y="85"/>
                    <a:pt x="0" y="81"/>
                    <a:pt x="1" y="79"/>
                  </a:cubicBezTo>
                  <a:cubicBezTo>
                    <a:pt x="2" y="75"/>
                    <a:pt x="4" y="70"/>
                    <a:pt x="5" y="67"/>
                  </a:cubicBezTo>
                  <a:cubicBezTo>
                    <a:pt x="5" y="64"/>
                    <a:pt x="6" y="59"/>
                    <a:pt x="6" y="58"/>
                  </a:cubicBezTo>
                  <a:cubicBezTo>
                    <a:pt x="6" y="57"/>
                    <a:pt x="12" y="53"/>
                    <a:pt x="13" y="51"/>
                  </a:cubicBezTo>
                  <a:cubicBezTo>
                    <a:pt x="15" y="48"/>
                    <a:pt x="18" y="43"/>
                    <a:pt x="16" y="39"/>
                  </a:cubicBezTo>
                  <a:cubicBezTo>
                    <a:pt x="14" y="34"/>
                    <a:pt x="10" y="29"/>
                    <a:pt x="9" y="26"/>
                  </a:cubicBezTo>
                  <a:cubicBezTo>
                    <a:pt x="9" y="24"/>
                    <a:pt x="13" y="23"/>
                    <a:pt x="13" y="20"/>
                  </a:cubicBezTo>
                  <a:cubicBezTo>
                    <a:pt x="12" y="18"/>
                    <a:pt x="7" y="8"/>
                    <a:pt x="5" y="4"/>
                  </a:cubicBezTo>
                  <a:cubicBezTo>
                    <a:pt x="8" y="2"/>
                    <a:pt x="11" y="0"/>
                    <a:pt x="14" y="0"/>
                  </a:cubicBezTo>
                  <a:cubicBezTo>
                    <a:pt x="18" y="0"/>
                    <a:pt x="35" y="1"/>
                    <a:pt x="36" y="1"/>
                  </a:cubicBezTo>
                  <a:cubicBezTo>
                    <a:pt x="38" y="1"/>
                    <a:pt x="42" y="18"/>
                    <a:pt x="44" y="18"/>
                  </a:cubicBezTo>
                  <a:cubicBezTo>
                    <a:pt x="46" y="18"/>
                    <a:pt x="55" y="16"/>
                    <a:pt x="57" y="16"/>
                  </a:cubicBezTo>
                  <a:cubicBezTo>
                    <a:pt x="59" y="16"/>
                    <a:pt x="60" y="8"/>
                    <a:pt x="60" y="8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26"/>
                    <a:pt x="78" y="28"/>
                  </a:cubicBezTo>
                  <a:cubicBezTo>
                    <a:pt x="80" y="30"/>
                    <a:pt x="82" y="37"/>
                    <a:pt x="82" y="39"/>
                  </a:cubicBezTo>
                  <a:cubicBezTo>
                    <a:pt x="81" y="41"/>
                    <a:pt x="91" y="40"/>
                    <a:pt x="93" y="4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5" y="92"/>
                    <a:pt x="83" y="92"/>
                    <a:pt x="82" y="92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2" y="94"/>
                    <a:pt x="57" y="94"/>
                    <a:pt x="56" y="94"/>
                  </a:cubicBezTo>
                  <a:cubicBezTo>
                    <a:pt x="54" y="94"/>
                    <a:pt x="51" y="90"/>
                    <a:pt x="51" y="90"/>
                  </a:cubicBezTo>
                  <a:cubicBezTo>
                    <a:pt x="51" y="90"/>
                    <a:pt x="20" y="90"/>
                    <a:pt x="19" y="90"/>
                  </a:cubicBezTo>
                  <a:cubicBezTo>
                    <a:pt x="18" y="90"/>
                    <a:pt x="16" y="87"/>
                    <a:pt x="13" y="87"/>
                  </a:cubicBezTo>
                  <a:cubicBezTo>
                    <a:pt x="11" y="87"/>
                    <a:pt x="9" y="89"/>
                    <a:pt x="7" y="89"/>
                  </a:cubicBezTo>
                  <a:cubicBezTo>
                    <a:pt x="4" y="89"/>
                    <a:pt x="0" y="88"/>
                    <a:pt x="0" y="8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49" name="Freeform 144"/>
            <p:cNvSpPr>
              <a:spLocks/>
            </p:cNvSpPr>
            <p:nvPr/>
          </p:nvSpPr>
          <p:spPr bwMode="auto">
            <a:xfrm>
              <a:off x="5928207" y="4601387"/>
              <a:ext cx="164991" cy="171815"/>
            </a:xfrm>
            <a:custGeom>
              <a:avLst/>
              <a:gdLst>
                <a:gd name="T0" fmla="*/ 24174 w 59"/>
                <a:gd name="T1" fmla="*/ 15428 h 66"/>
                <a:gd name="T2" fmla="*/ 0 w 59"/>
                <a:gd name="T3" fmla="*/ 13741 h 66"/>
                <a:gd name="T4" fmla="*/ 16145 w 59"/>
                <a:gd name="T5" fmla="*/ 13372 h 66"/>
                <a:gd name="T6" fmla="*/ 26817 w 59"/>
                <a:gd name="T7" fmla="*/ 13488 h 66"/>
                <a:gd name="T8" fmla="*/ 34526 w 59"/>
                <a:gd name="T9" fmla="*/ 12086 h 66"/>
                <a:gd name="T10" fmla="*/ 16145 w 59"/>
                <a:gd name="T11" fmla="*/ 11673 h 66"/>
                <a:gd name="T12" fmla="*/ 20786 w 59"/>
                <a:gd name="T13" fmla="*/ 10116 h 66"/>
                <a:gd name="T14" fmla="*/ 76719 w 59"/>
                <a:gd name="T15" fmla="*/ 11238 h 66"/>
                <a:gd name="T16" fmla="*/ 91603 w 59"/>
                <a:gd name="T17" fmla="*/ 8284 h 66"/>
                <a:gd name="T18" fmla="*/ 73987 w 59"/>
                <a:gd name="T19" fmla="*/ 6575 h 66"/>
                <a:gd name="T20" fmla="*/ 91603 w 59"/>
                <a:gd name="T21" fmla="*/ 4780 h 66"/>
                <a:gd name="T22" fmla="*/ 60745 w 59"/>
                <a:gd name="T23" fmla="*/ 4227 h 66"/>
                <a:gd name="T24" fmla="*/ 57348 w 59"/>
                <a:gd name="T25" fmla="*/ 3392 h 66"/>
                <a:gd name="T26" fmla="*/ 60745 w 59"/>
                <a:gd name="T27" fmla="*/ 2407 h 66"/>
                <a:gd name="T28" fmla="*/ 60745 w 59"/>
                <a:gd name="T29" fmla="*/ 2407 h 66"/>
                <a:gd name="T30" fmla="*/ 86507 w 59"/>
                <a:gd name="T31" fmla="*/ 2734 h 66"/>
                <a:gd name="T32" fmla="*/ 134135 w 59"/>
                <a:gd name="T33" fmla="*/ 3616 h 66"/>
                <a:gd name="T34" fmla="*/ 134135 w 59"/>
                <a:gd name="T35" fmla="*/ 1940 h 66"/>
                <a:gd name="T36" fmla="*/ 147344 w 59"/>
                <a:gd name="T37" fmla="*/ 1377 h 66"/>
                <a:gd name="T38" fmla="*/ 152154 w 59"/>
                <a:gd name="T39" fmla="*/ 0 h 66"/>
                <a:gd name="T40" fmla="*/ 198354 w 59"/>
                <a:gd name="T41" fmla="*/ 0 h 66"/>
                <a:gd name="T42" fmla="*/ 187506 w 59"/>
                <a:gd name="T43" fmla="*/ 2407 h 66"/>
                <a:gd name="T44" fmla="*/ 178214 w 59"/>
                <a:gd name="T45" fmla="*/ 6575 h 66"/>
                <a:gd name="T46" fmla="*/ 153041 w 59"/>
                <a:gd name="T47" fmla="*/ 8691 h 66"/>
                <a:gd name="T48" fmla="*/ 134135 w 59"/>
                <a:gd name="T49" fmla="*/ 12246 h 66"/>
                <a:gd name="T50" fmla="*/ 107292 w 59"/>
                <a:gd name="T51" fmla="*/ 15428 h 66"/>
                <a:gd name="T52" fmla="*/ 86507 w 59"/>
                <a:gd name="T53" fmla="*/ 14774 h 66"/>
                <a:gd name="T54" fmla="*/ 70145 w 59"/>
                <a:gd name="T55" fmla="*/ 15187 h 66"/>
                <a:gd name="T56" fmla="*/ 46188 w 59"/>
                <a:gd name="T57" fmla="*/ 14963 h 66"/>
                <a:gd name="T58" fmla="*/ 24174 w 59"/>
                <a:gd name="T59" fmla="*/ 15835 h 66"/>
                <a:gd name="T60" fmla="*/ 24174 w 59"/>
                <a:gd name="T61" fmla="*/ 15428 h 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9" h="66">
                  <a:moveTo>
                    <a:pt x="7" y="64"/>
                  </a:moveTo>
                  <a:cubicBezTo>
                    <a:pt x="5" y="62"/>
                    <a:pt x="3" y="60"/>
                    <a:pt x="0" y="57"/>
                  </a:cubicBezTo>
                  <a:cubicBezTo>
                    <a:pt x="2" y="56"/>
                    <a:pt x="4" y="54"/>
                    <a:pt x="5" y="55"/>
                  </a:cubicBezTo>
                  <a:cubicBezTo>
                    <a:pt x="7" y="56"/>
                    <a:pt x="8" y="56"/>
                    <a:pt x="8" y="56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21" y="46"/>
                    <a:pt x="23" y="46"/>
                  </a:cubicBezTo>
                  <a:cubicBezTo>
                    <a:pt x="26" y="46"/>
                    <a:pt x="29" y="37"/>
                    <a:pt x="27" y="34"/>
                  </a:cubicBezTo>
                  <a:cubicBezTo>
                    <a:pt x="25" y="31"/>
                    <a:pt x="21" y="29"/>
                    <a:pt x="22" y="27"/>
                  </a:cubicBezTo>
                  <a:cubicBezTo>
                    <a:pt x="23" y="24"/>
                    <a:pt x="30" y="22"/>
                    <a:pt x="27" y="20"/>
                  </a:cubicBezTo>
                  <a:cubicBezTo>
                    <a:pt x="24" y="18"/>
                    <a:pt x="19" y="21"/>
                    <a:pt x="18" y="18"/>
                  </a:cubicBezTo>
                  <a:cubicBezTo>
                    <a:pt x="17" y="15"/>
                    <a:pt x="17" y="14"/>
                    <a:pt x="17" y="14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2" y="11"/>
                    <a:pt x="25" y="11"/>
                    <a:pt x="26" y="11"/>
                  </a:cubicBezTo>
                  <a:cubicBezTo>
                    <a:pt x="29" y="11"/>
                    <a:pt x="38" y="16"/>
                    <a:pt x="40" y="15"/>
                  </a:cubicBezTo>
                  <a:cubicBezTo>
                    <a:pt x="41" y="15"/>
                    <a:pt x="41" y="11"/>
                    <a:pt x="40" y="8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3"/>
                    <a:pt x="57" y="8"/>
                    <a:pt x="56" y="10"/>
                  </a:cubicBezTo>
                  <a:cubicBezTo>
                    <a:pt x="55" y="12"/>
                    <a:pt x="53" y="23"/>
                    <a:pt x="53" y="27"/>
                  </a:cubicBezTo>
                  <a:cubicBezTo>
                    <a:pt x="53" y="30"/>
                    <a:pt x="49" y="34"/>
                    <a:pt x="46" y="36"/>
                  </a:cubicBezTo>
                  <a:cubicBezTo>
                    <a:pt x="42" y="39"/>
                    <a:pt x="40" y="46"/>
                    <a:pt x="40" y="51"/>
                  </a:cubicBezTo>
                  <a:cubicBezTo>
                    <a:pt x="40" y="56"/>
                    <a:pt x="34" y="62"/>
                    <a:pt x="32" y="64"/>
                  </a:cubicBezTo>
                  <a:cubicBezTo>
                    <a:pt x="29" y="66"/>
                    <a:pt x="28" y="61"/>
                    <a:pt x="26" y="61"/>
                  </a:cubicBezTo>
                  <a:cubicBezTo>
                    <a:pt x="25" y="62"/>
                    <a:pt x="23" y="62"/>
                    <a:pt x="21" y="63"/>
                  </a:cubicBezTo>
                  <a:cubicBezTo>
                    <a:pt x="18" y="64"/>
                    <a:pt x="16" y="62"/>
                    <a:pt x="14" y="62"/>
                  </a:cubicBezTo>
                  <a:cubicBezTo>
                    <a:pt x="12" y="62"/>
                    <a:pt x="8" y="64"/>
                    <a:pt x="7" y="65"/>
                  </a:cubicBezTo>
                  <a:cubicBezTo>
                    <a:pt x="7" y="64"/>
                    <a:pt x="7" y="64"/>
                    <a:pt x="7" y="6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50" name="Freeform 145"/>
            <p:cNvSpPr>
              <a:spLocks/>
            </p:cNvSpPr>
            <p:nvPr/>
          </p:nvSpPr>
          <p:spPr bwMode="auto">
            <a:xfrm>
              <a:off x="5879383" y="4627252"/>
              <a:ext cx="131320" cy="123781"/>
            </a:xfrm>
            <a:custGeom>
              <a:avLst/>
              <a:gdLst>
                <a:gd name="T0" fmla="*/ 9672 w 47"/>
                <a:gd name="T1" fmla="*/ 8734 h 47"/>
                <a:gd name="T2" fmla="*/ 0 w 47"/>
                <a:gd name="T3" fmla="*/ 6761 h 47"/>
                <a:gd name="T4" fmla="*/ 16051 w 47"/>
                <a:gd name="T5" fmla="*/ 5813 h 47"/>
                <a:gd name="T6" fmla="*/ 16051 w 47"/>
                <a:gd name="T7" fmla="*/ 4298 h 47"/>
                <a:gd name="T8" fmla="*/ 26638 w 47"/>
                <a:gd name="T9" fmla="*/ 3327 h 47"/>
                <a:gd name="T10" fmla="*/ 19980 w 47"/>
                <a:gd name="T11" fmla="*/ 1880 h 47"/>
                <a:gd name="T12" fmla="*/ 33158 w 47"/>
                <a:gd name="T13" fmla="*/ 0 h 47"/>
                <a:gd name="T14" fmla="*/ 115238 w 47"/>
                <a:gd name="T15" fmla="*/ 0 h 47"/>
                <a:gd name="T16" fmla="*/ 115238 w 47"/>
                <a:gd name="T17" fmla="*/ 0 h 47"/>
                <a:gd name="T18" fmla="*/ 111751 w 47"/>
                <a:gd name="T19" fmla="*/ 1319 h 47"/>
                <a:gd name="T20" fmla="*/ 115238 w 47"/>
                <a:gd name="T21" fmla="*/ 2334 h 47"/>
                <a:gd name="T22" fmla="*/ 145611 w 47"/>
                <a:gd name="T23" fmla="*/ 2861 h 47"/>
                <a:gd name="T24" fmla="*/ 129706 w 47"/>
                <a:gd name="T25" fmla="*/ 4798 h 47"/>
                <a:gd name="T26" fmla="*/ 145611 w 47"/>
                <a:gd name="T27" fmla="*/ 6840 h 47"/>
                <a:gd name="T28" fmla="*/ 132784 w 47"/>
                <a:gd name="T29" fmla="*/ 10431 h 47"/>
                <a:gd name="T30" fmla="*/ 76123 w 47"/>
                <a:gd name="T31" fmla="*/ 9423 h 47"/>
                <a:gd name="T32" fmla="*/ 73366 w 47"/>
                <a:gd name="T33" fmla="*/ 11066 h 47"/>
                <a:gd name="T34" fmla="*/ 90049 w 47"/>
                <a:gd name="T35" fmla="*/ 11580 h 47"/>
                <a:gd name="T36" fmla="*/ 82106 w 47"/>
                <a:gd name="T37" fmla="*/ 13433 h 47"/>
                <a:gd name="T38" fmla="*/ 73366 w 47"/>
                <a:gd name="T39" fmla="*/ 13022 h 47"/>
                <a:gd name="T40" fmla="*/ 55028 w 47"/>
                <a:gd name="T41" fmla="*/ 13739 h 47"/>
                <a:gd name="T42" fmla="*/ 39793 w 47"/>
                <a:gd name="T43" fmla="*/ 12294 h 47"/>
                <a:gd name="T44" fmla="*/ 9672 w 47"/>
                <a:gd name="T45" fmla="*/ 8734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7">
                  <a:moveTo>
                    <a:pt x="3" y="30"/>
                  </a:moveTo>
                  <a:cubicBezTo>
                    <a:pt x="2" y="28"/>
                    <a:pt x="0" y="24"/>
                    <a:pt x="0" y="23"/>
                  </a:cubicBezTo>
                  <a:cubicBezTo>
                    <a:pt x="0" y="22"/>
                    <a:pt x="5" y="22"/>
                    <a:pt x="5" y="20"/>
                  </a:cubicBezTo>
                  <a:cubicBezTo>
                    <a:pt x="5" y="19"/>
                    <a:pt x="4" y="16"/>
                    <a:pt x="5" y="15"/>
                  </a:cubicBezTo>
                  <a:cubicBezTo>
                    <a:pt x="6" y="13"/>
                    <a:pt x="8" y="12"/>
                    <a:pt x="8" y="11"/>
                  </a:cubicBezTo>
                  <a:cubicBezTo>
                    <a:pt x="8" y="9"/>
                    <a:pt x="5" y="8"/>
                    <a:pt x="6" y="6"/>
                  </a:cubicBezTo>
                  <a:cubicBezTo>
                    <a:pt x="7" y="5"/>
                    <a:pt x="9" y="2"/>
                    <a:pt x="10" y="0"/>
                  </a:cubicBezTo>
                  <a:cubicBezTo>
                    <a:pt x="11" y="0"/>
                    <a:pt x="2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4"/>
                    <a:pt x="34" y="5"/>
                    <a:pt x="35" y="8"/>
                  </a:cubicBezTo>
                  <a:cubicBezTo>
                    <a:pt x="36" y="11"/>
                    <a:pt x="41" y="8"/>
                    <a:pt x="44" y="10"/>
                  </a:cubicBezTo>
                  <a:cubicBezTo>
                    <a:pt x="47" y="12"/>
                    <a:pt x="40" y="14"/>
                    <a:pt x="39" y="17"/>
                  </a:cubicBezTo>
                  <a:cubicBezTo>
                    <a:pt x="38" y="19"/>
                    <a:pt x="42" y="21"/>
                    <a:pt x="44" y="24"/>
                  </a:cubicBezTo>
                  <a:cubicBezTo>
                    <a:pt x="46" y="27"/>
                    <a:pt x="43" y="36"/>
                    <a:pt x="40" y="36"/>
                  </a:cubicBezTo>
                  <a:cubicBezTo>
                    <a:pt x="38" y="36"/>
                    <a:pt x="23" y="32"/>
                    <a:pt x="23" y="32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6"/>
                    <a:pt x="22" y="45"/>
                  </a:cubicBezTo>
                  <a:cubicBezTo>
                    <a:pt x="21" y="44"/>
                    <a:pt x="19" y="46"/>
                    <a:pt x="17" y="47"/>
                  </a:cubicBezTo>
                  <a:cubicBezTo>
                    <a:pt x="15" y="45"/>
                    <a:pt x="14" y="43"/>
                    <a:pt x="12" y="42"/>
                  </a:cubicBezTo>
                  <a:cubicBezTo>
                    <a:pt x="9" y="39"/>
                    <a:pt x="5" y="33"/>
                    <a:pt x="3" y="3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51" name="Freeform 146"/>
            <p:cNvSpPr>
              <a:spLocks/>
            </p:cNvSpPr>
            <p:nvPr/>
          </p:nvSpPr>
          <p:spPr bwMode="auto">
            <a:xfrm>
              <a:off x="5874332" y="4407402"/>
              <a:ext cx="168358" cy="236477"/>
            </a:xfrm>
            <a:custGeom>
              <a:avLst/>
              <a:gdLst>
                <a:gd name="T0" fmla="*/ 0 w 60"/>
                <a:gd name="T1" fmla="*/ 18621 h 90"/>
                <a:gd name="T2" fmla="*/ 10245 w 60"/>
                <a:gd name="T3" fmla="*/ 15949 h 90"/>
                <a:gd name="T4" fmla="*/ 47430 w 60"/>
                <a:gd name="T5" fmla="*/ 13461 h 90"/>
                <a:gd name="T6" fmla="*/ 63297 w 60"/>
                <a:gd name="T7" fmla="*/ 13461 h 90"/>
                <a:gd name="T8" fmla="*/ 79050 w 60"/>
                <a:gd name="T9" fmla="*/ 14555 h 90"/>
                <a:gd name="T10" fmla="*/ 101980 w 60"/>
                <a:gd name="T11" fmla="*/ 10822 h 90"/>
                <a:gd name="T12" fmla="*/ 127700 w 60"/>
                <a:gd name="T13" fmla="*/ 7522 h 90"/>
                <a:gd name="T14" fmla="*/ 143347 w 60"/>
                <a:gd name="T15" fmla="*/ 4188 h 90"/>
                <a:gd name="T16" fmla="*/ 159245 w 60"/>
                <a:gd name="T17" fmla="*/ 2741 h 90"/>
                <a:gd name="T18" fmla="*/ 149328 w 60"/>
                <a:gd name="T19" fmla="*/ 1791 h 90"/>
                <a:gd name="T20" fmla="*/ 143880 w 60"/>
                <a:gd name="T21" fmla="*/ 1 h 90"/>
                <a:gd name="T22" fmla="*/ 159245 w 60"/>
                <a:gd name="T23" fmla="*/ 0 h 90"/>
                <a:gd name="T24" fmla="*/ 169967 w 60"/>
                <a:gd name="T25" fmla="*/ 885 h 90"/>
                <a:gd name="T26" fmla="*/ 185287 w 60"/>
                <a:gd name="T27" fmla="*/ 2547 h 90"/>
                <a:gd name="T28" fmla="*/ 195153 w 60"/>
                <a:gd name="T29" fmla="*/ 7113 h 90"/>
                <a:gd name="T30" fmla="*/ 159245 w 60"/>
                <a:gd name="T31" fmla="*/ 7113 h 90"/>
                <a:gd name="T32" fmla="*/ 149328 w 60"/>
                <a:gd name="T33" fmla="*/ 7522 h 90"/>
                <a:gd name="T34" fmla="*/ 185287 w 60"/>
                <a:gd name="T35" fmla="*/ 10822 h 90"/>
                <a:gd name="T36" fmla="*/ 187370 w 60"/>
                <a:gd name="T37" fmla="*/ 12454 h 90"/>
                <a:gd name="T38" fmla="*/ 175825 w 60"/>
                <a:gd name="T39" fmla="*/ 13806 h 90"/>
                <a:gd name="T40" fmla="*/ 166217 w 60"/>
                <a:gd name="T41" fmla="*/ 17712 h 90"/>
                <a:gd name="T42" fmla="*/ 206728 w 60"/>
                <a:gd name="T43" fmla="*/ 21995 h 90"/>
                <a:gd name="T44" fmla="*/ 208078 w 60"/>
                <a:gd name="T45" fmla="*/ 23024 h 90"/>
                <a:gd name="T46" fmla="*/ 208078 w 60"/>
                <a:gd name="T47" fmla="*/ 25092 h 90"/>
                <a:gd name="T48" fmla="*/ 159245 w 60"/>
                <a:gd name="T49" fmla="*/ 23832 h 90"/>
                <a:gd name="T50" fmla="*/ 131750 w 60"/>
                <a:gd name="T51" fmla="*/ 23356 h 90"/>
                <a:gd name="T52" fmla="*/ 42153 w 60"/>
                <a:gd name="T53" fmla="*/ 23356 h 90"/>
                <a:gd name="T54" fmla="*/ 42153 w 60"/>
                <a:gd name="T55" fmla="*/ 23279 h 90"/>
                <a:gd name="T56" fmla="*/ 35903 w 60"/>
                <a:gd name="T57" fmla="*/ 20700 h 90"/>
                <a:gd name="T58" fmla="*/ 6147 w 60"/>
                <a:gd name="T59" fmla="*/ 18621 h 90"/>
                <a:gd name="T60" fmla="*/ 0 w 60"/>
                <a:gd name="T61" fmla="*/ 18621 h 9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60" h="90">
                  <a:moveTo>
                    <a:pt x="0" y="66"/>
                  </a:moveTo>
                  <a:cubicBezTo>
                    <a:pt x="0" y="66"/>
                    <a:pt x="1" y="60"/>
                    <a:pt x="3" y="57"/>
                  </a:cubicBezTo>
                  <a:cubicBezTo>
                    <a:pt x="4" y="55"/>
                    <a:pt x="11" y="48"/>
                    <a:pt x="13" y="48"/>
                  </a:cubicBezTo>
                  <a:cubicBezTo>
                    <a:pt x="15" y="48"/>
                    <a:pt x="16" y="48"/>
                    <a:pt x="18" y="48"/>
                  </a:cubicBezTo>
                  <a:cubicBezTo>
                    <a:pt x="19" y="49"/>
                    <a:pt x="20" y="53"/>
                    <a:pt x="22" y="52"/>
                  </a:cubicBezTo>
                  <a:cubicBezTo>
                    <a:pt x="24" y="51"/>
                    <a:pt x="26" y="43"/>
                    <a:pt x="29" y="39"/>
                  </a:cubicBezTo>
                  <a:cubicBezTo>
                    <a:pt x="32" y="35"/>
                    <a:pt x="36" y="30"/>
                    <a:pt x="36" y="27"/>
                  </a:cubicBezTo>
                  <a:cubicBezTo>
                    <a:pt x="36" y="25"/>
                    <a:pt x="38" y="17"/>
                    <a:pt x="40" y="15"/>
                  </a:cubicBezTo>
                  <a:cubicBezTo>
                    <a:pt x="42" y="14"/>
                    <a:pt x="47" y="13"/>
                    <a:pt x="45" y="10"/>
                  </a:cubicBezTo>
                  <a:cubicBezTo>
                    <a:pt x="44" y="7"/>
                    <a:pt x="42" y="6"/>
                    <a:pt x="42" y="6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4" y="0"/>
                    <a:pt x="45" y="0"/>
                  </a:cubicBezTo>
                  <a:cubicBezTo>
                    <a:pt x="46" y="0"/>
                    <a:pt x="47" y="1"/>
                    <a:pt x="48" y="3"/>
                  </a:cubicBezTo>
                  <a:cubicBezTo>
                    <a:pt x="50" y="6"/>
                    <a:pt x="53" y="5"/>
                    <a:pt x="52" y="9"/>
                  </a:cubicBezTo>
                  <a:cubicBezTo>
                    <a:pt x="51" y="14"/>
                    <a:pt x="55" y="23"/>
                    <a:pt x="55" y="25"/>
                  </a:cubicBezTo>
                  <a:cubicBezTo>
                    <a:pt x="54" y="27"/>
                    <a:pt x="45" y="25"/>
                    <a:pt x="45" y="25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50" y="35"/>
                    <a:pt x="52" y="39"/>
                  </a:cubicBezTo>
                  <a:cubicBezTo>
                    <a:pt x="54" y="41"/>
                    <a:pt x="54" y="43"/>
                    <a:pt x="53" y="44"/>
                  </a:cubicBezTo>
                  <a:cubicBezTo>
                    <a:pt x="53" y="46"/>
                    <a:pt x="51" y="47"/>
                    <a:pt x="50" y="49"/>
                  </a:cubicBezTo>
                  <a:cubicBezTo>
                    <a:pt x="48" y="52"/>
                    <a:pt x="47" y="60"/>
                    <a:pt x="47" y="63"/>
                  </a:cubicBezTo>
                  <a:cubicBezTo>
                    <a:pt x="48" y="67"/>
                    <a:pt x="56" y="77"/>
                    <a:pt x="58" y="79"/>
                  </a:cubicBezTo>
                  <a:cubicBezTo>
                    <a:pt x="58" y="79"/>
                    <a:pt x="59" y="81"/>
                    <a:pt x="59" y="82"/>
                  </a:cubicBezTo>
                  <a:cubicBezTo>
                    <a:pt x="60" y="85"/>
                    <a:pt x="60" y="89"/>
                    <a:pt x="59" y="89"/>
                  </a:cubicBezTo>
                  <a:cubicBezTo>
                    <a:pt x="57" y="90"/>
                    <a:pt x="48" y="85"/>
                    <a:pt x="45" y="85"/>
                  </a:cubicBezTo>
                  <a:cubicBezTo>
                    <a:pt x="44" y="85"/>
                    <a:pt x="41" y="85"/>
                    <a:pt x="37" y="84"/>
                  </a:cubicBezTo>
                  <a:cubicBezTo>
                    <a:pt x="28" y="84"/>
                    <a:pt x="13" y="84"/>
                    <a:pt x="12" y="84"/>
                  </a:cubicBezTo>
                  <a:cubicBezTo>
                    <a:pt x="12" y="84"/>
                    <a:pt x="12" y="83"/>
                    <a:pt x="12" y="83"/>
                  </a:cubicBezTo>
                  <a:cubicBezTo>
                    <a:pt x="12" y="81"/>
                    <a:pt x="13" y="76"/>
                    <a:pt x="10" y="74"/>
                  </a:cubicBezTo>
                  <a:cubicBezTo>
                    <a:pt x="7" y="72"/>
                    <a:pt x="2" y="66"/>
                    <a:pt x="2" y="66"/>
                  </a:cubicBezTo>
                  <a:cubicBezTo>
                    <a:pt x="2" y="66"/>
                    <a:pt x="1" y="66"/>
                    <a:pt x="0" y="6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52" name="Freeform 147"/>
            <p:cNvSpPr>
              <a:spLocks/>
            </p:cNvSpPr>
            <p:nvPr/>
          </p:nvSpPr>
          <p:spPr bwMode="auto">
            <a:xfrm>
              <a:off x="5847395" y="3886414"/>
              <a:ext cx="94281" cy="160730"/>
            </a:xfrm>
            <a:custGeom>
              <a:avLst/>
              <a:gdLst>
                <a:gd name="T0" fmla="*/ 23176 w 34"/>
                <a:gd name="T1" fmla="*/ 11687 h 61"/>
                <a:gd name="T2" fmla="*/ 5187 w 34"/>
                <a:gd name="T3" fmla="*/ 9797 h 61"/>
                <a:gd name="T4" fmla="*/ 21600 w 34"/>
                <a:gd name="T5" fmla="*/ 7349 h 61"/>
                <a:gd name="T6" fmla="*/ 27033 w 34"/>
                <a:gd name="T7" fmla="*/ 3377 h 61"/>
                <a:gd name="T8" fmla="*/ 28366 w 34"/>
                <a:gd name="T9" fmla="*/ 960 h 61"/>
                <a:gd name="T10" fmla="*/ 28366 w 34"/>
                <a:gd name="T11" fmla="*/ 960 h 61"/>
                <a:gd name="T12" fmla="*/ 44525 w 34"/>
                <a:gd name="T13" fmla="*/ 673 h 61"/>
                <a:gd name="T14" fmla="*/ 63861 w 34"/>
                <a:gd name="T15" fmla="*/ 1 h 61"/>
                <a:gd name="T16" fmla="*/ 71710 w 34"/>
                <a:gd name="T17" fmla="*/ 1953 h 61"/>
                <a:gd name="T18" fmla="*/ 87406 w 34"/>
                <a:gd name="T19" fmla="*/ 960 h 61"/>
                <a:gd name="T20" fmla="*/ 94169 w 34"/>
                <a:gd name="T21" fmla="*/ 1416 h 61"/>
                <a:gd name="T22" fmla="*/ 73335 w 34"/>
                <a:gd name="T23" fmla="*/ 3336 h 61"/>
                <a:gd name="T24" fmla="*/ 87406 w 34"/>
                <a:gd name="T25" fmla="*/ 4816 h 61"/>
                <a:gd name="T26" fmla="*/ 73335 w 34"/>
                <a:gd name="T27" fmla="*/ 7349 h 61"/>
                <a:gd name="T28" fmla="*/ 63861 w 34"/>
                <a:gd name="T29" fmla="*/ 8766 h 61"/>
                <a:gd name="T30" fmla="*/ 85212 w 34"/>
                <a:gd name="T31" fmla="*/ 9473 h 61"/>
                <a:gd name="T32" fmla="*/ 99698 w 34"/>
                <a:gd name="T33" fmla="*/ 10481 h 61"/>
                <a:gd name="T34" fmla="*/ 99698 w 34"/>
                <a:gd name="T35" fmla="*/ 10481 h 61"/>
                <a:gd name="T36" fmla="*/ 94169 w 34"/>
                <a:gd name="T37" fmla="*/ 12960 h 61"/>
                <a:gd name="T38" fmla="*/ 76951 w 34"/>
                <a:gd name="T39" fmla="*/ 14948 h 61"/>
                <a:gd name="T40" fmla="*/ 73335 w 34"/>
                <a:gd name="T41" fmla="*/ 17831 h 61"/>
                <a:gd name="T42" fmla="*/ 53068 w 34"/>
                <a:gd name="T43" fmla="*/ 17831 h 61"/>
                <a:gd name="T44" fmla="*/ 38172 w 34"/>
                <a:gd name="T45" fmla="*/ 13803 h 61"/>
                <a:gd name="T46" fmla="*/ 23176 w 34"/>
                <a:gd name="T47" fmla="*/ 11687 h 6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4" h="61">
                  <a:moveTo>
                    <a:pt x="8" y="40"/>
                  </a:moveTo>
                  <a:cubicBezTo>
                    <a:pt x="7" y="39"/>
                    <a:pt x="4" y="36"/>
                    <a:pt x="2" y="34"/>
                  </a:cubicBezTo>
                  <a:cubicBezTo>
                    <a:pt x="0" y="31"/>
                    <a:pt x="5" y="27"/>
                    <a:pt x="7" y="25"/>
                  </a:cubicBezTo>
                  <a:cubicBezTo>
                    <a:pt x="8" y="24"/>
                    <a:pt x="9" y="14"/>
                    <a:pt x="9" y="12"/>
                  </a:cubicBezTo>
                  <a:cubicBezTo>
                    <a:pt x="9" y="10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2" y="3"/>
                    <a:pt x="15" y="2"/>
                  </a:cubicBezTo>
                  <a:cubicBezTo>
                    <a:pt x="17" y="1"/>
                    <a:pt x="20" y="0"/>
                    <a:pt x="22" y="1"/>
                  </a:cubicBezTo>
                  <a:cubicBezTo>
                    <a:pt x="23" y="1"/>
                    <a:pt x="22" y="6"/>
                    <a:pt x="24" y="6"/>
                  </a:cubicBezTo>
                  <a:cubicBezTo>
                    <a:pt x="25" y="6"/>
                    <a:pt x="29" y="2"/>
                    <a:pt x="30" y="3"/>
                  </a:cubicBezTo>
                  <a:cubicBezTo>
                    <a:pt x="31" y="4"/>
                    <a:pt x="32" y="4"/>
                    <a:pt x="32" y="5"/>
                  </a:cubicBezTo>
                  <a:cubicBezTo>
                    <a:pt x="32" y="6"/>
                    <a:pt x="24" y="10"/>
                    <a:pt x="25" y="11"/>
                  </a:cubicBezTo>
                  <a:cubicBezTo>
                    <a:pt x="27" y="12"/>
                    <a:pt x="30" y="15"/>
                    <a:pt x="30" y="17"/>
                  </a:cubicBezTo>
                  <a:cubicBezTo>
                    <a:pt x="30" y="18"/>
                    <a:pt x="28" y="25"/>
                    <a:pt x="25" y="25"/>
                  </a:cubicBezTo>
                  <a:cubicBezTo>
                    <a:pt x="23" y="26"/>
                    <a:pt x="20" y="28"/>
                    <a:pt x="22" y="30"/>
                  </a:cubicBezTo>
                  <a:cubicBezTo>
                    <a:pt x="23" y="32"/>
                    <a:pt x="28" y="30"/>
                    <a:pt x="29" y="32"/>
                  </a:cubicBezTo>
                  <a:cubicBezTo>
                    <a:pt x="30" y="33"/>
                    <a:pt x="32" y="35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4" y="42"/>
                    <a:pt x="32" y="44"/>
                  </a:cubicBezTo>
                  <a:cubicBezTo>
                    <a:pt x="31" y="45"/>
                    <a:pt x="27" y="50"/>
                    <a:pt x="26" y="51"/>
                  </a:cubicBezTo>
                  <a:cubicBezTo>
                    <a:pt x="24" y="53"/>
                    <a:pt x="26" y="60"/>
                    <a:pt x="25" y="61"/>
                  </a:cubicBezTo>
                  <a:cubicBezTo>
                    <a:pt x="25" y="61"/>
                    <a:pt x="21" y="61"/>
                    <a:pt x="18" y="61"/>
                  </a:cubicBezTo>
                  <a:cubicBezTo>
                    <a:pt x="16" y="56"/>
                    <a:pt x="14" y="48"/>
                    <a:pt x="13" y="47"/>
                  </a:cubicBezTo>
                  <a:cubicBezTo>
                    <a:pt x="13" y="45"/>
                    <a:pt x="8" y="41"/>
                    <a:pt x="8" y="4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53" name="Freeform 148"/>
            <p:cNvSpPr>
              <a:spLocks/>
            </p:cNvSpPr>
            <p:nvPr/>
          </p:nvSpPr>
          <p:spPr bwMode="auto">
            <a:xfrm>
              <a:off x="5887801" y="3980635"/>
              <a:ext cx="343451" cy="295596"/>
            </a:xfrm>
            <a:custGeom>
              <a:avLst/>
              <a:gdLst>
                <a:gd name="T0" fmla="*/ 19878 w 123"/>
                <a:gd name="T1" fmla="*/ 16143 h 112"/>
                <a:gd name="T2" fmla="*/ 14315 w 123"/>
                <a:gd name="T3" fmla="*/ 8661 h 112"/>
                <a:gd name="T4" fmla="*/ 9490 w 123"/>
                <a:gd name="T5" fmla="*/ 7533 h 112"/>
                <a:gd name="T6" fmla="*/ 32968 w 123"/>
                <a:gd name="T7" fmla="*/ 7533 h 112"/>
                <a:gd name="T8" fmla="*/ 36068 w 123"/>
                <a:gd name="T9" fmla="*/ 4386 h 112"/>
                <a:gd name="T10" fmla="*/ 54679 w 123"/>
                <a:gd name="T11" fmla="*/ 2380 h 112"/>
                <a:gd name="T12" fmla="*/ 63124 w 123"/>
                <a:gd name="T13" fmla="*/ 0 h 112"/>
                <a:gd name="T14" fmla="*/ 63124 w 123"/>
                <a:gd name="T15" fmla="*/ 0 h 112"/>
                <a:gd name="T16" fmla="*/ 68930 w 123"/>
                <a:gd name="T17" fmla="*/ 1 h 112"/>
                <a:gd name="T18" fmla="*/ 104693 w 123"/>
                <a:gd name="T19" fmla="*/ 971 h 112"/>
                <a:gd name="T20" fmla="*/ 150408 w 123"/>
                <a:gd name="T21" fmla="*/ 2380 h 112"/>
                <a:gd name="T22" fmla="*/ 170257 w 123"/>
                <a:gd name="T23" fmla="*/ 4857 h 112"/>
                <a:gd name="T24" fmla="*/ 213716 w 123"/>
                <a:gd name="T25" fmla="*/ 5537 h 112"/>
                <a:gd name="T26" fmla="*/ 245543 w 123"/>
                <a:gd name="T27" fmla="*/ 7533 h 112"/>
                <a:gd name="T28" fmla="*/ 275000 w 123"/>
                <a:gd name="T29" fmla="*/ 5776 h 112"/>
                <a:gd name="T30" fmla="*/ 275000 w 123"/>
                <a:gd name="T31" fmla="*/ 2971 h 112"/>
                <a:gd name="T32" fmla="*/ 309002 w 123"/>
                <a:gd name="T33" fmla="*/ 971 h 112"/>
                <a:gd name="T34" fmla="*/ 343931 w 123"/>
                <a:gd name="T35" fmla="*/ 1387 h 112"/>
                <a:gd name="T36" fmla="*/ 347920 w 123"/>
                <a:gd name="T37" fmla="*/ 2380 h 112"/>
                <a:gd name="T38" fmla="*/ 389486 w 123"/>
                <a:gd name="T39" fmla="*/ 3400 h 112"/>
                <a:gd name="T40" fmla="*/ 399402 w 123"/>
                <a:gd name="T41" fmla="*/ 4386 h 112"/>
                <a:gd name="T42" fmla="*/ 402701 w 123"/>
                <a:gd name="T43" fmla="*/ 4386 h 112"/>
                <a:gd name="T44" fmla="*/ 402701 w 123"/>
                <a:gd name="T45" fmla="*/ 6266 h 112"/>
                <a:gd name="T46" fmla="*/ 389486 w 123"/>
                <a:gd name="T47" fmla="*/ 7910 h 112"/>
                <a:gd name="T48" fmla="*/ 396715 w 123"/>
                <a:gd name="T49" fmla="*/ 10409 h 112"/>
                <a:gd name="T50" fmla="*/ 396715 w 123"/>
                <a:gd name="T51" fmla="*/ 27513 h 112"/>
                <a:gd name="T52" fmla="*/ 396715 w 123"/>
                <a:gd name="T53" fmla="*/ 32944 h 112"/>
                <a:gd name="T54" fmla="*/ 369160 w 123"/>
                <a:gd name="T55" fmla="*/ 32944 h 112"/>
                <a:gd name="T56" fmla="*/ 369160 w 123"/>
                <a:gd name="T57" fmla="*/ 33720 h 112"/>
                <a:gd name="T58" fmla="*/ 170257 w 123"/>
                <a:gd name="T59" fmla="*/ 24451 h 112"/>
                <a:gd name="T60" fmla="*/ 148048 w 123"/>
                <a:gd name="T61" fmla="*/ 25251 h 112"/>
                <a:gd name="T62" fmla="*/ 123448 w 123"/>
                <a:gd name="T63" fmla="*/ 26519 h 112"/>
                <a:gd name="T64" fmla="*/ 99214 w 123"/>
                <a:gd name="T65" fmla="*/ 25101 h 112"/>
                <a:gd name="T66" fmla="*/ 71808 w 123"/>
                <a:gd name="T67" fmla="*/ 24056 h 112"/>
                <a:gd name="T68" fmla="*/ 65308 w 123"/>
                <a:gd name="T69" fmla="*/ 24451 h 112"/>
                <a:gd name="T70" fmla="*/ 54679 w 123"/>
                <a:gd name="T71" fmla="*/ 21961 h 112"/>
                <a:gd name="T72" fmla="*/ 26105 w 123"/>
                <a:gd name="T73" fmla="*/ 21243 h 112"/>
                <a:gd name="T74" fmla="*/ 5722 w 123"/>
                <a:gd name="T75" fmla="*/ 18163 h 112"/>
                <a:gd name="T76" fmla="*/ 19878 w 123"/>
                <a:gd name="T77" fmla="*/ 16143 h 1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3" h="112">
                  <a:moveTo>
                    <a:pt x="6" y="53"/>
                  </a:moveTo>
                  <a:cubicBezTo>
                    <a:pt x="6" y="51"/>
                    <a:pt x="5" y="34"/>
                    <a:pt x="4" y="29"/>
                  </a:cubicBezTo>
                  <a:cubicBezTo>
                    <a:pt x="4" y="28"/>
                    <a:pt x="3" y="27"/>
                    <a:pt x="3" y="25"/>
                  </a:cubicBezTo>
                  <a:cubicBezTo>
                    <a:pt x="6" y="25"/>
                    <a:pt x="10" y="25"/>
                    <a:pt x="10" y="25"/>
                  </a:cubicBezTo>
                  <a:cubicBezTo>
                    <a:pt x="11" y="24"/>
                    <a:pt x="9" y="17"/>
                    <a:pt x="11" y="15"/>
                  </a:cubicBezTo>
                  <a:cubicBezTo>
                    <a:pt x="12" y="14"/>
                    <a:pt x="16" y="9"/>
                    <a:pt x="17" y="8"/>
                  </a:cubicBezTo>
                  <a:cubicBezTo>
                    <a:pt x="19" y="6"/>
                    <a:pt x="18" y="1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1"/>
                    <a:pt x="20" y="1"/>
                    <a:pt x="21" y="1"/>
                  </a:cubicBezTo>
                  <a:cubicBezTo>
                    <a:pt x="23" y="3"/>
                    <a:pt x="30" y="3"/>
                    <a:pt x="32" y="3"/>
                  </a:cubicBezTo>
                  <a:cubicBezTo>
                    <a:pt x="35" y="3"/>
                    <a:pt x="45" y="6"/>
                    <a:pt x="46" y="8"/>
                  </a:cubicBezTo>
                  <a:cubicBezTo>
                    <a:pt x="48" y="9"/>
                    <a:pt x="50" y="15"/>
                    <a:pt x="52" y="16"/>
                  </a:cubicBezTo>
                  <a:cubicBezTo>
                    <a:pt x="54" y="17"/>
                    <a:pt x="62" y="17"/>
                    <a:pt x="65" y="18"/>
                  </a:cubicBezTo>
                  <a:cubicBezTo>
                    <a:pt x="68" y="20"/>
                    <a:pt x="72" y="25"/>
                    <a:pt x="75" y="25"/>
                  </a:cubicBezTo>
                  <a:cubicBezTo>
                    <a:pt x="78" y="25"/>
                    <a:pt x="84" y="22"/>
                    <a:pt x="84" y="19"/>
                  </a:cubicBezTo>
                  <a:cubicBezTo>
                    <a:pt x="84" y="16"/>
                    <a:pt x="81" y="13"/>
                    <a:pt x="84" y="10"/>
                  </a:cubicBezTo>
                  <a:cubicBezTo>
                    <a:pt x="86" y="7"/>
                    <a:pt x="91" y="4"/>
                    <a:pt x="94" y="3"/>
                  </a:cubicBezTo>
                  <a:cubicBezTo>
                    <a:pt x="97" y="3"/>
                    <a:pt x="104" y="4"/>
                    <a:pt x="105" y="4"/>
                  </a:cubicBezTo>
                  <a:cubicBezTo>
                    <a:pt x="106" y="5"/>
                    <a:pt x="105" y="8"/>
                    <a:pt x="106" y="8"/>
                  </a:cubicBezTo>
                  <a:cubicBezTo>
                    <a:pt x="108" y="8"/>
                    <a:pt x="118" y="11"/>
                    <a:pt x="119" y="11"/>
                  </a:cubicBezTo>
                  <a:cubicBezTo>
                    <a:pt x="121" y="11"/>
                    <a:pt x="120" y="15"/>
                    <a:pt x="122" y="15"/>
                  </a:cubicBezTo>
                  <a:cubicBezTo>
                    <a:pt x="122" y="15"/>
                    <a:pt x="123" y="15"/>
                    <a:pt x="123" y="15"/>
                  </a:cubicBezTo>
                  <a:cubicBezTo>
                    <a:pt x="123" y="15"/>
                    <a:pt x="123" y="19"/>
                    <a:pt x="123" y="21"/>
                  </a:cubicBezTo>
                  <a:cubicBezTo>
                    <a:pt x="123" y="23"/>
                    <a:pt x="119" y="23"/>
                    <a:pt x="119" y="26"/>
                  </a:cubicBezTo>
                  <a:cubicBezTo>
                    <a:pt x="119" y="30"/>
                    <a:pt x="121" y="35"/>
                    <a:pt x="121" y="35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21" y="109"/>
                    <a:pt x="121" y="109"/>
                    <a:pt x="121" y="109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113" y="112"/>
                    <a:pt x="113" y="112"/>
                    <a:pt x="113" y="11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1" y="80"/>
                    <a:pt x="20" y="81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2"/>
                    <a:pt x="10" y="71"/>
                    <a:pt x="8" y="71"/>
                  </a:cubicBezTo>
                  <a:cubicBezTo>
                    <a:pt x="7" y="70"/>
                    <a:pt x="5" y="63"/>
                    <a:pt x="2" y="60"/>
                  </a:cubicBezTo>
                  <a:cubicBezTo>
                    <a:pt x="0" y="58"/>
                    <a:pt x="6" y="55"/>
                    <a:pt x="6" y="5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54" name="Freeform 149"/>
            <p:cNvSpPr>
              <a:spLocks/>
            </p:cNvSpPr>
            <p:nvPr/>
          </p:nvSpPr>
          <p:spPr bwMode="auto">
            <a:xfrm>
              <a:off x="5896219" y="3601902"/>
              <a:ext cx="163308" cy="66509"/>
            </a:xfrm>
            <a:custGeom>
              <a:avLst/>
              <a:gdLst>
                <a:gd name="T0" fmla="*/ 22650 w 58"/>
                <a:gd name="T1" fmla="*/ 6882 h 25"/>
                <a:gd name="T2" fmla="*/ 0 w 58"/>
                <a:gd name="T3" fmla="*/ 6428 h 25"/>
                <a:gd name="T4" fmla="*/ 3806 w 58"/>
                <a:gd name="T5" fmla="*/ 4464 h 25"/>
                <a:gd name="T6" fmla="*/ 10645 w 58"/>
                <a:gd name="T7" fmla="*/ 4779 h 25"/>
                <a:gd name="T8" fmla="*/ 26387 w 58"/>
                <a:gd name="T9" fmla="*/ 5250 h 25"/>
                <a:gd name="T10" fmla="*/ 56168 w 58"/>
                <a:gd name="T11" fmla="*/ 4464 h 25"/>
                <a:gd name="T12" fmla="*/ 89539 w 58"/>
                <a:gd name="T13" fmla="*/ 3996 h 25"/>
                <a:gd name="T14" fmla="*/ 100126 w 58"/>
                <a:gd name="T15" fmla="*/ 2305 h 25"/>
                <a:gd name="T16" fmla="*/ 123431 w 58"/>
                <a:gd name="T17" fmla="*/ 1495 h 25"/>
                <a:gd name="T18" fmla="*/ 145523 w 58"/>
                <a:gd name="T19" fmla="*/ 1495 h 25"/>
                <a:gd name="T20" fmla="*/ 160913 w 58"/>
                <a:gd name="T21" fmla="*/ 0 h 25"/>
                <a:gd name="T22" fmla="*/ 183562 w 58"/>
                <a:gd name="T23" fmla="*/ 721 h 25"/>
                <a:gd name="T24" fmla="*/ 212905 w 58"/>
                <a:gd name="T25" fmla="*/ 1038 h 25"/>
                <a:gd name="T26" fmla="*/ 217081 w 58"/>
                <a:gd name="T27" fmla="*/ 2775 h 25"/>
                <a:gd name="T28" fmla="*/ 217081 w 58"/>
                <a:gd name="T29" fmla="*/ 3100 h 25"/>
                <a:gd name="T30" fmla="*/ 212905 w 58"/>
                <a:gd name="T31" fmla="*/ 4464 h 25"/>
                <a:gd name="T32" fmla="*/ 202332 w 58"/>
                <a:gd name="T33" fmla="*/ 3996 h 25"/>
                <a:gd name="T34" fmla="*/ 199245 w 58"/>
                <a:gd name="T35" fmla="*/ 5754 h 25"/>
                <a:gd name="T36" fmla="*/ 189490 w 58"/>
                <a:gd name="T37" fmla="*/ 6882 h 25"/>
                <a:gd name="T38" fmla="*/ 165721 w 58"/>
                <a:gd name="T39" fmla="*/ 7560 h 25"/>
                <a:gd name="T40" fmla="*/ 143082 w 58"/>
                <a:gd name="T41" fmla="*/ 8630 h 25"/>
                <a:gd name="T42" fmla="*/ 116781 w 58"/>
                <a:gd name="T43" fmla="*/ 8286 h 25"/>
                <a:gd name="T44" fmla="*/ 89539 w 58"/>
                <a:gd name="T45" fmla="*/ 7907 h 25"/>
                <a:gd name="T46" fmla="*/ 73804 w 58"/>
                <a:gd name="T47" fmla="*/ 6428 h 25"/>
                <a:gd name="T48" fmla="*/ 56168 w 58"/>
                <a:gd name="T49" fmla="*/ 6428 h 25"/>
                <a:gd name="T50" fmla="*/ 44130 w 58"/>
                <a:gd name="T51" fmla="*/ 7560 h 25"/>
                <a:gd name="T52" fmla="*/ 26387 w 58"/>
                <a:gd name="T53" fmla="*/ 7560 h 25"/>
                <a:gd name="T54" fmla="*/ 26387 w 58"/>
                <a:gd name="T55" fmla="*/ 7560 h 25"/>
                <a:gd name="T56" fmla="*/ 22650 w 58"/>
                <a:gd name="T57" fmla="*/ 6882 h 2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8" h="25">
                  <a:moveTo>
                    <a:pt x="6" y="20"/>
                  </a:moveTo>
                  <a:cubicBezTo>
                    <a:pt x="5" y="20"/>
                    <a:pt x="1" y="19"/>
                    <a:pt x="0" y="19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4" y="14"/>
                    <a:pt x="5" y="15"/>
                    <a:pt x="7" y="15"/>
                  </a:cubicBezTo>
                  <a:cubicBezTo>
                    <a:pt x="9" y="15"/>
                    <a:pt x="14" y="13"/>
                    <a:pt x="15" y="13"/>
                  </a:cubicBezTo>
                  <a:cubicBezTo>
                    <a:pt x="16" y="13"/>
                    <a:pt x="23" y="12"/>
                    <a:pt x="24" y="12"/>
                  </a:cubicBezTo>
                  <a:cubicBezTo>
                    <a:pt x="28" y="15"/>
                    <a:pt x="26" y="8"/>
                    <a:pt x="27" y="7"/>
                  </a:cubicBezTo>
                  <a:cubicBezTo>
                    <a:pt x="29" y="6"/>
                    <a:pt x="32" y="5"/>
                    <a:pt x="33" y="4"/>
                  </a:cubicBezTo>
                  <a:cubicBezTo>
                    <a:pt x="33" y="4"/>
                    <a:pt x="37" y="4"/>
                    <a:pt x="39" y="4"/>
                  </a:cubicBezTo>
                  <a:cubicBezTo>
                    <a:pt x="40" y="4"/>
                    <a:pt x="42" y="0"/>
                    <a:pt x="43" y="0"/>
                  </a:cubicBezTo>
                  <a:cubicBezTo>
                    <a:pt x="45" y="0"/>
                    <a:pt x="48" y="2"/>
                    <a:pt x="49" y="2"/>
                  </a:cubicBezTo>
                  <a:cubicBezTo>
                    <a:pt x="51" y="2"/>
                    <a:pt x="56" y="3"/>
                    <a:pt x="57" y="3"/>
                  </a:cubicBezTo>
                  <a:cubicBezTo>
                    <a:pt x="57" y="4"/>
                    <a:pt x="57" y="7"/>
                    <a:pt x="58" y="8"/>
                  </a:cubicBezTo>
                  <a:cubicBezTo>
                    <a:pt x="58" y="8"/>
                    <a:pt x="58" y="9"/>
                    <a:pt x="58" y="9"/>
                  </a:cubicBezTo>
                  <a:cubicBezTo>
                    <a:pt x="58" y="11"/>
                    <a:pt x="58" y="12"/>
                    <a:pt x="57" y="13"/>
                  </a:cubicBezTo>
                  <a:cubicBezTo>
                    <a:pt x="57" y="13"/>
                    <a:pt x="55" y="12"/>
                    <a:pt x="54" y="12"/>
                  </a:cubicBezTo>
                  <a:cubicBezTo>
                    <a:pt x="53" y="13"/>
                    <a:pt x="53" y="15"/>
                    <a:pt x="53" y="17"/>
                  </a:cubicBezTo>
                  <a:cubicBezTo>
                    <a:pt x="53" y="18"/>
                    <a:pt x="52" y="20"/>
                    <a:pt x="51" y="20"/>
                  </a:cubicBezTo>
                  <a:cubicBezTo>
                    <a:pt x="50" y="21"/>
                    <a:pt x="46" y="22"/>
                    <a:pt x="44" y="22"/>
                  </a:cubicBezTo>
                  <a:cubicBezTo>
                    <a:pt x="42" y="22"/>
                    <a:pt x="39" y="25"/>
                    <a:pt x="38" y="25"/>
                  </a:cubicBezTo>
                  <a:cubicBezTo>
                    <a:pt x="38" y="25"/>
                    <a:pt x="35" y="24"/>
                    <a:pt x="31" y="24"/>
                  </a:cubicBezTo>
                  <a:cubicBezTo>
                    <a:pt x="28" y="23"/>
                    <a:pt x="25" y="23"/>
                    <a:pt x="24" y="23"/>
                  </a:cubicBezTo>
                  <a:cubicBezTo>
                    <a:pt x="23" y="22"/>
                    <a:pt x="21" y="20"/>
                    <a:pt x="20" y="19"/>
                  </a:cubicBezTo>
                  <a:cubicBezTo>
                    <a:pt x="19" y="19"/>
                    <a:pt x="15" y="19"/>
                    <a:pt x="15" y="19"/>
                  </a:cubicBezTo>
                  <a:cubicBezTo>
                    <a:pt x="13" y="19"/>
                    <a:pt x="12" y="22"/>
                    <a:pt x="1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1"/>
                    <a:pt x="6" y="20"/>
                    <a:pt x="6" y="2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55" name="Group 150"/>
            <p:cNvGrpSpPr>
              <a:grpSpLocks/>
            </p:cNvGrpSpPr>
            <p:nvPr/>
          </p:nvGrpSpPr>
          <p:grpSpPr bwMode="auto">
            <a:xfrm>
              <a:off x="5865914" y="3367273"/>
              <a:ext cx="90914" cy="86831"/>
              <a:chOff x="2843" y="1554"/>
              <a:chExt cx="65" cy="67"/>
            </a:xfrm>
            <a:solidFill>
              <a:srgbClr val="EBEBE3"/>
            </a:solidFill>
          </p:grpSpPr>
          <p:sp>
            <p:nvSpPr>
              <p:cNvPr id="585" name="Freeform 151"/>
              <p:cNvSpPr>
                <a:spLocks/>
              </p:cNvSpPr>
              <p:nvPr/>
            </p:nvSpPr>
            <p:spPr bwMode="auto">
              <a:xfrm>
                <a:off x="2879" y="1591"/>
                <a:ext cx="29" cy="30"/>
              </a:xfrm>
              <a:custGeom>
                <a:avLst/>
                <a:gdLst>
                  <a:gd name="T0" fmla="*/ 106026 w 14"/>
                  <a:gd name="T1" fmla="*/ 589824 h 15"/>
                  <a:gd name="T2" fmla="*/ 0 w 14"/>
                  <a:gd name="T3" fmla="*/ 327680 h 15"/>
                  <a:gd name="T4" fmla="*/ 832070 w 14"/>
                  <a:gd name="T5" fmla="*/ 131072 h 15"/>
                  <a:gd name="T6" fmla="*/ 1279998 w 14"/>
                  <a:gd name="T7" fmla="*/ 0 h 15"/>
                  <a:gd name="T8" fmla="*/ 1498297 w 14"/>
                  <a:gd name="T9" fmla="*/ 327680 h 15"/>
                  <a:gd name="T10" fmla="*/ 1279998 w 14"/>
                  <a:gd name="T11" fmla="*/ 393216 h 15"/>
                  <a:gd name="T12" fmla="*/ 1498297 w 14"/>
                  <a:gd name="T13" fmla="*/ 589824 h 15"/>
                  <a:gd name="T14" fmla="*/ 1279998 w 14"/>
                  <a:gd name="T15" fmla="*/ 851968 h 15"/>
                  <a:gd name="T16" fmla="*/ 1181035 w 14"/>
                  <a:gd name="T17" fmla="*/ 917504 h 15"/>
                  <a:gd name="T18" fmla="*/ 832070 w 14"/>
                  <a:gd name="T19" fmla="*/ 655360 h 15"/>
                  <a:gd name="T20" fmla="*/ 106026 w 14"/>
                  <a:gd name="T21" fmla="*/ 589824 h 1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4" h="15">
                    <a:moveTo>
                      <a:pt x="1" y="9"/>
                    </a:moveTo>
                    <a:cubicBezTo>
                      <a:pt x="0" y="9"/>
                      <a:pt x="0" y="5"/>
                      <a:pt x="0" y="5"/>
                    </a:cubicBezTo>
                    <a:cubicBezTo>
                      <a:pt x="0" y="4"/>
                      <a:pt x="6" y="2"/>
                      <a:pt x="7" y="2"/>
                    </a:cubicBezTo>
                    <a:cubicBezTo>
                      <a:pt x="8" y="1"/>
                      <a:pt x="10" y="0"/>
                      <a:pt x="11" y="0"/>
                    </a:cubicBezTo>
                    <a:cubicBezTo>
                      <a:pt x="13" y="0"/>
                      <a:pt x="12" y="4"/>
                      <a:pt x="13" y="5"/>
                    </a:cubicBezTo>
                    <a:cubicBezTo>
                      <a:pt x="14" y="6"/>
                      <a:pt x="11" y="5"/>
                      <a:pt x="11" y="6"/>
                    </a:cubicBezTo>
                    <a:cubicBezTo>
                      <a:pt x="11" y="7"/>
                      <a:pt x="13" y="9"/>
                      <a:pt x="13" y="9"/>
                    </a:cubicBezTo>
                    <a:cubicBezTo>
                      <a:pt x="14" y="10"/>
                      <a:pt x="12" y="12"/>
                      <a:pt x="11" y="13"/>
                    </a:cubicBezTo>
                    <a:cubicBezTo>
                      <a:pt x="10" y="13"/>
                      <a:pt x="11" y="15"/>
                      <a:pt x="10" y="14"/>
                    </a:cubicBezTo>
                    <a:cubicBezTo>
                      <a:pt x="9" y="14"/>
                      <a:pt x="8" y="10"/>
                      <a:pt x="7" y="10"/>
                    </a:cubicBezTo>
                    <a:cubicBezTo>
                      <a:pt x="6" y="10"/>
                      <a:pt x="2" y="10"/>
                      <a:pt x="1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6" name="Freeform 152"/>
              <p:cNvSpPr>
                <a:spLocks/>
              </p:cNvSpPr>
              <p:nvPr/>
            </p:nvSpPr>
            <p:spPr bwMode="auto">
              <a:xfrm>
                <a:off x="2843" y="1554"/>
                <a:ext cx="45" cy="61"/>
              </a:xfrm>
              <a:custGeom>
                <a:avLst/>
                <a:gdLst>
                  <a:gd name="T0" fmla="*/ 0 w 22"/>
                  <a:gd name="T1" fmla="*/ 1797843 h 30"/>
                  <a:gd name="T2" fmla="*/ 177953 w 22"/>
                  <a:gd name="T3" fmla="*/ 580021 h 30"/>
                  <a:gd name="T4" fmla="*/ 1051026 w 22"/>
                  <a:gd name="T5" fmla="*/ 415140 h 30"/>
                  <a:gd name="T6" fmla="*/ 1416563 w 22"/>
                  <a:gd name="T7" fmla="*/ 0 h 30"/>
                  <a:gd name="T8" fmla="*/ 1796175 w 22"/>
                  <a:gd name="T9" fmla="*/ 164543 h 30"/>
                  <a:gd name="T10" fmla="*/ 1522913 w 22"/>
                  <a:gd name="T11" fmla="*/ 844118 h 30"/>
                  <a:gd name="T12" fmla="*/ 2066588 w 22"/>
                  <a:gd name="T13" fmla="*/ 1299953 h 30"/>
                  <a:gd name="T14" fmla="*/ 1241016 w 22"/>
                  <a:gd name="T15" fmla="*/ 1716373 h 30"/>
                  <a:gd name="T16" fmla="*/ 1051026 w 22"/>
                  <a:gd name="T17" fmla="*/ 2232687 h 30"/>
                  <a:gd name="T18" fmla="*/ 1241016 w 22"/>
                  <a:gd name="T19" fmla="*/ 2557840 h 30"/>
                  <a:gd name="T20" fmla="*/ 177953 w 22"/>
                  <a:gd name="T21" fmla="*/ 2557840 h 30"/>
                  <a:gd name="T22" fmla="*/ 363995 w 22"/>
                  <a:gd name="T23" fmla="*/ 2141724 h 30"/>
                  <a:gd name="T24" fmla="*/ 0 w 22"/>
                  <a:gd name="T25" fmla="*/ 1797843 h 3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2" h="30">
                    <a:moveTo>
                      <a:pt x="0" y="21"/>
                    </a:moveTo>
                    <a:cubicBezTo>
                      <a:pt x="0" y="18"/>
                      <a:pt x="0" y="8"/>
                      <a:pt x="2" y="7"/>
                    </a:cubicBezTo>
                    <a:cubicBezTo>
                      <a:pt x="4" y="6"/>
                      <a:pt x="10" y="6"/>
                      <a:pt x="11" y="5"/>
                    </a:cubicBezTo>
                    <a:cubicBezTo>
                      <a:pt x="12" y="4"/>
                      <a:pt x="13" y="0"/>
                      <a:pt x="15" y="0"/>
                    </a:cubicBezTo>
                    <a:cubicBezTo>
                      <a:pt x="16" y="0"/>
                      <a:pt x="19" y="0"/>
                      <a:pt x="19" y="2"/>
                    </a:cubicBezTo>
                    <a:cubicBezTo>
                      <a:pt x="19" y="3"/>
                      <a:pt x="16" y="9"/>
                      <a:pt x="16" y="10"/>
                    </a:cubicBezTo>
                    <a:cubicBezTo>
                      <a:pt x="17" y="11"/>
                      <a:pt x="22" y="14"/>
                      <a:pt x="22" y="15"/>
                    </a:cubicBezTo>
                    <a:cubicBezTo>
                      <a:pt x="21" y="16"/>
                      <a:pt x="14" y="18"/>
                      <a:pt x="13" y="20"/>
                    </a:cubicBezTo>
                    <a:cubicBezTo>
                      <a:pt x="13" y="21"/>
                      <a:pt x="11" y="25"/>
                      <a:pt x="11" y="26"/>
                    </a:cubicBezTo>
                    <a:cubicBezTo>
                      <a:pt x="11" y="27"/>
                      <a:pt x="12" y="28"/>
                      <a:pt x="13" y="30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2" y="28"/>
                      <a:pt x="5" y="26"/>
                      <a:pt x="4" y="25"/>
                    </a:cubicBezTo>
                    <a:cubicBezTo>
                      <a:pt x="3" y="23"/>
                      <a:pt x="0" y="23"/>
                      <a:pt x="0" y="2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56" name="Freeform 153"/>
            <p:cNvSpPr>
              <a:spLocks/>
            </p:cNvSpPr>
            <p:nvPr/>
          </p:nvSpPr>
          <p:spPr bwMode="auto">
            <a:xfrm>
              <a:off x="5822141" y="3635157"/>
              <a:ext cx="94281" cy="49882"/>
            </a:xfrm>
            <a:custGeom>
              <a:avLst/>
              <a:gdLst>
                <a:gd name="T0" fmla="*/ 17222 w 34"/>
                <a:gd name="T1" fmla="*/ 3857 h 19"/>
                <a:gd name="T2" fmla="*/ 0 w 34"/>
                <a:gd name="T3" fmla="*/ 3592 h 19"/>
                <a:gd name="T4" fmla="*/ 14071 w 34"/>
                <a:gd name="T5" fmla="*/ 1779 h 19"/>
                <a:gd name="T6" fmla="*/ 35576 w 34"/>
                <a:gd name="T7" fmla="*/ 620 h 19"/>
                <a:gd name="T8" fmla="*/ 35576 w 34"/>
                <a:gd name="T9" fmla="*/ 1 h 19"/>
                <a:gd name="T10" fmla="*/ 44525 w 34"/>
                <a:gd name="T11" fmla="*/ 1 h 19"/>
                <a:gd name="T12" fmla="*/ 62872 w 34"/>
                <a:gd name="T13" fmla="*/ 0 h 19"/>
                <a:gd name="T14" fmla="*/ 82014 w 34"/>
                <a:gd name="T15" fmla="*/ 1 h 19"/>
                <a:gd name="T16" fmla="*/ 78156 w 34"/>
                <a:gd name="T17" fmla="*/ 1910 h 19"/>
                <a:gd name="T18" fmla="*/ 96511 w 34"/>
                <a:gd name="T19" fmla="*/ 2248 h 19"/>
                <a:gd name="T20" fmla="*/ 99698 w 34"/>
                <a:gd name="T21" fmla="*/ 2714 h 19"/>
                <a:gd name="T22" fmla="*/ 99698 w 34"/>
                <a:gd name="T23" fmla="*/ 3195 h 19"/>
                <a:gd name="T24" fmla="*/ 94169 w 34"/>
                <a:gd name="T25" fmla="*/ 3857 h 19"/>
                <a:gd name="T26" fmla="*/ 78156 w 34"/>
                <a:gd name="T27" fmla="*/ 3263 h 19"/>
                <a:gd name="T28" fmla="*/ 68129 w 34"/>
                <a:gd name="T29" fmla="*/ 5202 h 19"/>
                <a:gd name="T30" fmla="*/ 53068 w 34"/>
                <a:gd name="T31" fmla="*/ 3263 h 19"/>
                <a:gd name="T32" fmla="*/ 44525 w 34"/>
                <a:gd name="T33" fmla="*/ 4637 h 19"/>
                <a:gd name="T34" fmla="*/ 35576 w 34"/>
                <a:gd name="T35" fmla="*/ 5104 h 19"/>
                <a:gd name="T36" fmla="*/ 23176 w 34"/>
                <a:gd name="T37" fmla="*/ 5202 h 19"/>
                <a:gd name="T38" fmla="*/ 17222 w 34"/>
                <a:gd name="T39" fmla="*/ 3857 h 1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4" h="19">
                  <a:moveTo>
                    <a:pt x="6" y="14"/>
                  </a:moveTo>
                  <a:cubicBezTo>
                    <a:pt x="5" y="14"/>
                    <a:pt x="0" y="15"/>
                    <a:pt x="0" y="13"/>
                  </a:cubicBezTo>
                  <a:cubicBezTo>
                    <a:pt x="0" y="12"/>
                    <a:pt x="3" y="7"/>
                    <a:pt x="5" y="6"/>
                  </a:cubicBezTo>
                  <a:cubicBezTo>
                    <a:pt x="7" y="5"/>
                    <a:pt x="11" y="3"/>
                    <a:pt x="12" y="2"/>
                  </a:cubicBezTo>
                  <a:cubicBezTo>
                    <a:pt x="12" y="2"/>
                    <a:pt x="12" y="1"/>
                    <a:pt x="12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20" y="0"/>
                    <a:pt x="21" y="0"/>
                  </a:cubicBezTo>
                  <a:cubicBezTo>
                    <a:pt x="22" y="0"/>
                    <a:pt x="26" y="1"/>
                    <a:pt x="28" y="1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7"/>
                    <a:pt x="32" y="8"/>
                    <a:pt x="33" y="8"/>
                  </a:cubicBezTo>
                  <a:cubicBezTo>
                    <a:pt x="33" y="8"/>
                    <a:pt x="34" y="9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2"/>
                    <a:pt x="32" y="14"/>
                    <a:pt x="32" y="14"/>
                  </a:cubicBezTo>
                  <a:cubicBezTo>
                    <a:pt x="31" y="15"/>
                    <a:pt x="28" y="12"/>
                    <a:pt x="27" y="12"/>
                  </a:cubicBezTo>
                  <a:cubicBezTo>
                    <a:pt x="26" y="12"/>
                    <a:pt x="24" y="18"/>
                    <a:pt x="23" y="19"/>
                  </a:cubicBezTo>
                  <a:cubicBezTo>
                    <a:pt x="22" y="19"/>
                    <a:pt x="20" y="12"/>
                    <a:pt x="18" y="12"/>
                  </a:cubicBezTo>
                  <a:cubicBezTo>
                    <a:pt x="18" y="12"/>
                    <a:pt x="16" y="16"/>
                    <a:pt x="15" y="17"/>
                  </a:cubicBezTo>
                  <a:cubicBezTo>
                    <a:pt x="14" y="18"/>
                    <a:pt x="12" y="18"/>
                    <a:pt x="12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6"/>
                    <a:pt x="8" y="15"/>
                    <a:pt x="6" y="1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57" name="Group 154"/>
            <p:cNvGrpSpPr>
              <a:grpSpLocks/>
            </p:cNvGrpSpPr>
            <p:nvPr/>
          </p:nvGrpSpPr>
          <p:grpSpPr bwMode="auto">
            <a:xfrm>
              <a:off x="5833926" y="3653632"/>
              <a:ext cx="255905" cy="251257"/>
              <a:chOff x="2819" y="1775"/>
              <a:chExt cx="186" cy="194"/>
            </a:xfrm>
            <a:solidFill>
              <a:srgbClr val="EBEBE3"/>
            </a:solidFill>
          </p:grpSpPr>
          <p:sp>
            <p:nvSpPr>
              <p:cNvPr id="583" name="Freeform 155"/>
              <p:cNvSpPr>
                <a:spLocks/>
              </p:cNvSpPr>
              <p:nvPr/>
            </p:nvSpPr>
            <p:spPr bwMode="auto">
              <a:xfrm>
                <a:off x="2843" y="1886"/>
                <a:ext cx="26" cy="45"/>
              </a:xfrm>
              <a:custGeom>
                <a:avLst/>
                <a:gdLst>
                  <a:gd name="T0" fmla="*/ 65536 w 13"/>
                  <a:gd name="T1" fmla="*/ 451362 h 22"/>
                  <a:gd name="T2" fmla="*/ 458752 w 13"/>
                  <a:gd name="T3" fmla="*/ 273408 h 22"/>
                  <a:gd name="T4" fmla="*/ 720896 w 13"/>
                  <a:gd name="T5" fmla="*/ 86999 h 22"/>
                  <a:gd name="T6" fmla="*/ 786432 w 13"/>
                  <a:gd name="T7" fmla="*/ 830358 h 22"/>
                  <a:gd name="T8" fmla="*/ 720896 w 13"/>
                  <a:gd name="T9" fmla="*/ 1698460 h 22"/>
                  <a:gd name="T10" fmla="*/ 524288 w 13"/>
                  <a:gd name="T11" fmla="*/ 1615177 h 22"/>
                  <a:gd name="T12" fmla="*/ 327680 w 13"/>
                  <a:gd name="T13" fmla="*/ 1974275 h 22"/>
                  <a:gd name="T14" fmla="*/ 262144 w 13"/>
                  <a:gd name="T15" fmla="*/ 1974275 h 22"/>
                  <a:gd name="T16" fmla="*/ 196608 w 13"/>
                  <a:gd name="T17" fmla="*/ 1522913 h 22"/>
                  <a:gd name="T18" fmla="*/ 196608 w 13"/>
                  <a:gd name="T19" fmla="*/ 744535 h 22"/>
                  <a:gd name="T20" fmla="*/ 65536 w 13"/>
                  <a:gd name="T21" fmla="*/ 451362 h 2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3" h="22">
                    <a:moveTo>
                      <a:pt x="1" y="5"/>
                    </a:moveTo>
                    <a:cubicBezTo>
                      <a:pt x="2" y="3"/>
                      <a:pt x="6" y="4"/>
                      <a:pt x="7" y="3"/>
                    </a:cubicBezTo>
                    <a:cubicBezTo>
                      <a:pt x="8" y="2"/>
                      <a:pt x="10" y="0"/>
                      <a:pt x="11" y="1"/>
                    </a:cubicBezTo>
                    <a:cubicBezTo>
                      <a:pt x="12" y="3"/>
                      <a:pt x="12" y="6"/>
                      <a:pt x="12" y="9"/>
                    </a:cubicBezTo>
                    <a:cubicBezTo>
                      <a:pt x="12" y="11"/>
                      <a:pt x="13" y="19"/>
                      <a:pt x="11" y="18"/>
                    </a:cubicBezTo>
                    <a:cubicBezTo>
                      <a:pt x="10" y="17"/>
                      <a:pt x="9" y="17"/>
                      <a:pt x="8" y="17"/>
                    </a:cubicBezTo>
                    <a:cubicBezTo>
                      <a:pt x="7" y="18"/>
                      <a:pt x="6" y="22"/>
                      <a:pt x="5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3" y="20"/>
                      <a:pt x="2" y="18"/>
                      <a:pt x="3" y="16"/>
                    </a:cubicBezTo>
                    <a:cubicBezTo>
                      <a:pt x="3" y="13"/>
                      <a:pt x="4" y="9"/>
                      <a:pt x="3" y="8"/>
                    </a:cubicBezTo>
                    <a:cubicBezTo>
                      <a:pt x="1" y="7"/>
                      <a:pt x="0" y="7"/>
                      <a:pt x="1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4" name="Freeform 156"/>
              <p:cNvSpPr>
                <a:spLocks/>
              </p:cNvSpPr>
              <p:nvPr/>
            </p:nvSpPr>
            <p:spPr bwMode="auto">
              <a:xfrm>
                <a:off x="2819" y="1775"/>
                <a:ext cx="186" cy="194"/>
              </a:xfrm>
              <a:custGeom>
                <a:avLst/>
                <a:gdLst>
                  <a:gd name="T0" fmla="*/ 228103 w 92"/>
                  <a:gd name="T1" fmla="*/ 1949108 h 96"/>
                  <a:gd name="T2" fmla="*/ 149698 w 92"/>
                  <a:gd name="T3" fmla="*/ 1461883 h 96"/>
                  <a:gd name="T4" fmla="*/ 302650 w 92"/>
                  <a:gd name="T5" fmla="*/ 1002667 h 96"/>
                  <a:gd name="T6" fmla="*/ 302650 w 92"/>
                  <a:gd name="T7" fmla="*/ 926635 h 96"/>
                  <a:gd name="T8" fmla="*/ 611879 w 92"/>
                  <a:gd name="T9" fmla="*/ 835873 h 96"/>
                  <a:gd name="T10" fmla="*/ 839529 w 92"/>
                  <a:gd name="T11" fmla="*/ 759841 h 96"/>
                  <a:gd name="T12" fmla="*/ 1086414 w 92"/>
                  <a:gd name="T13" fmla="*/ 376004 h 96"/>
                  <a:gd name="T14" fmla="*/ 1469521 w 92"/>
                  <a:gd name="T15" fmla="*/ 926635 h 96"/>
                  <a:gd name="T16" fmla="*/ 1808241 w 92"/>
                  <a:gd name="T17" fmla="*/ 376004 h 96"/>
                  <a:gd name="T18" fmla="*/ 2196446 w 92"/>
                  <a:gd name="T19" fmla="*/ 532920 h 96"/>
                  <a:gd name="T20" fmla="*/ 2345804 w 92"/>
                  <a:gd name="T21" fmla="*/ 301288 h 96"/>
                  <a:gd name="T22" fmla="*/ 2345804 w 92"/>
                  <a:gd name="T23" fmla="*/ 226907 h 96"/>
                  <a:gd name="T24" fmla="*/ 2345804 w 92"/>
                  <a:gd name="T25" fmla="*/ 226907 h 96"/>
                  <a:gd name="T26" fmla="*/ 2742750 w 92"/>
                  <a:gd name="T27" fmla="*/ 226907 h 96"/>
                  <a:gd name="T28" fmla="*/ 2970988 w 92"/>
                  <a:gd name="T29" fmla="*/ 0 h 96"/>
                  <a:gd name="T30" fmla="*/ 3358788 w 92"/>
                  <a:gd name="T31" fmla="*/ 0 h 96"/>
                  <a:gd name="T32" fmla="*/ 3655792 w 92"/>
                  <a:gd name="T33" fmla="*/ 301288 h 96"/>
                  <a:gd name="T34" fmla="*/ 4198620 w 92"/>
                  <a:gd name="T35" fmla="*/ 376004 h 96"/>
                  <a:gd name="T36" fmla="*/ 4122389 w 92"/>
                  <a:gd name="T37" fmla="*/ 926635 h 96"/>
                  <a:gd name="T38" fmla="*/ 3358788 w 92"/>
                  <a:gd name="T39" fmla="*/ 1153906 h 96"/>
                  <a:gd name="T40" fmla="*/ 3582297 w 92"/>
                  <a:gd name="T41" fmla="*/ 1614252 h 96"/>
                  <a:gd name="T42" fmla="*/ 3431516 w 92"/>
                  <a:gd name="T43" fmla="*/ 2100387 h 96"/>
                  <a:gd name="T44" fmla="*/ 4271547 w 92"/>
                  <a:gd name="T45" fmla="*/ 2561331 h 96"/>
                  <a:gd name="T46" fmla="*/ 4828317 w 92"/>
                  <a:gd name="T47" fmla="*/ 3489048 h 96"/>
                  <a:gd name="T48" fmla="*/ 5391075 w 92"/>
                  <a:gd name="T49" fmla="*/ 3711883 h 96"/>
                  <a:gd name="T50" fmla="*/ 5856586 w 92"/>
                  <a:gd name="T51" fmla="*/ 3784162 h 96"/>
                  <a:gd name="T52" fmla="*/ 5704731 w 92"/>
                  <a:gd name="T53" fmla="*/ 4094659 h 96"/>
                  <a:gd name="T54" fmla="*/ 6790593 w 92"/>
                  <a:gd name="T55" fmla="*/ 4544003 h 96"/>
                  <a:gd name="T56" fmla="*/ 7167417 w 92"/>
                  <a:gd name="T57" fmla="*/ 5024626 h 96"/>
                  <a:gd name="T58" fmla="*/ 7014367 w 92"/>
                  <a:gd name="T59" fmla="*/ 5251855 h 96"/>
                  <a:gd name="T60" fmla="*/ 6330047 w 92"/>
                  <a:gd name="T61" fmla="*/ 4865526 h 96"/>
                  <a:gd name="T62" fmla="*/ 6079986 w 92"/>
                  <a:gd name="T63" fmla="*/ 5324783 h 96"/>
                  <a:gd name="T64" fmla="*/ 6402900 w 92"/>
                  <a:gd name="T65" fmla="*/ 5474413 h 96"/>
                  <a:gd name="T66" fmla="*/ 6402900 w 92"/>
                  <a:gd name="T67" fmla="*/ 5884669 h 96"/>
                  <a:gd name="T68" fmla="*/ 6079986 w 92"/>
                  <a:gd name="T69" fmla="*/ 6043767 h 96"/>
                  <a:gd name="T70" fmla="*/ 5777659 w 92"/>
                  <a:gd name="T71" fmla="*/ 6511313 h 96"/>
                  <a:gd name="T72" fmla="*/ 5471736 w 92"/>
                  <a:gd name="T73" fmla="*/ 6511313 h 96"/>
                  <a:gd name="T74" fmla="*/ 5203403 w 92"/>
                  <a:gd name="T75" fmla="*/ 6665844 h 96"/>
                  <a:gd name="T76" fmla="*/ 5129874 w 92"/>
                  <a:gd name="T77" fmla="*/ 7273606 h 96"/>
                  <a:gd name="T78" fmla="*/ 4742604 w 92"/>
                  <a:gd name="T79" fmla="*/ 7273606 h 96"/>
                  <a:gd name="T80" fmla="*/ 4345631 w 92"/>
                  <a:gd name="T81" fmla="*/ 6975116 h 96"/>
                  <a:gd name="T82" fmla="*/ 3506094 w 92"/>
                  <a:gd name="T83" fmla="*/ 6437815 h 96"/>
                  <a:gd name="T84" fmla="*/ 4043444 w 92"/>
                  <a:gd name="T85" fmla="*/ 6270674 h 96"/>
                  <a:gd name="T86" fmla="*/ 5056396 w 92"/>
                  <a:gd name="T87" fmla="*/ 6270674 h 96"/>
                  <a:gd name="T88" fmla="*/ 5471736 w 92"/>
                  <a:gd name="T89" fmla="*/ 6124115 h 96"/>
                  <a:gd name="T90" fmla="*/ 5704731 w 92"/>
                  <a:gd name="T91" fmla="*/ 5884669 h 96"/>
                  <a:gd name="T92" fmla="*/ 5471736 w 92"/>
                  <a:gd name="T93" fmla="*/ 5097821 h 96"/>
                  <a:gd name="T94" fmla="*/ 5056396 w 92"/>
                  <a:gd name="T95" fmla="*/ 4865526 h 96"/>
                  <a:gd name="T96" fmla="*/ 4271547 w 92"/>
                  <a:gd name="T97" fmla="*/ 4244532 h 96"/>
                  <a:gd name="T98" fmla="*/ 3655792 w 92"/>
                  <a:gd name="T99" fmla="*/ 4094659 h 96"/>
                  <a:gd name="T100" fmla="*/ 2896806 w 92"/>
                  <a:gd name="T101" fmla="*/ 3413511 h 96"/>
                  <a:gd name="T102" fmla="*/ 2424259 w 92"/>
                  <a:gd name="T103" fmla="*/ 2954222 h 96"/>
                  <a:gd name="T104" fmla="*/ 2112808 w 92"/>
                  <a:gd name="T105" fmla="*/ 2176322 h 96"/>
                  <a:gd name="T106" fmla="*/ 1395677 w 92"/>
                  <a:gd name="T107" fmla="*/ 1949108 h 96"/>
                  <a:gd name="T108" fmla="*/ 932355 w 92"/>
                  <a:gd name="T109" fmla="*/ 2331852 h 96"/>
                  <a:gd name="T110" fmla="*/ 766005 w 92"/>
                  <a:gd name="T111" fmla="*/ 2331852 h 96"/>
                  <a:gd name="T112" fmla="*/ 690335 w 92"/>
                  <a:gd name="T113" fmla="*/ 2026223 h 96"/>
                  <a:gd name="T114" fmla="*/ 228103 w 92"/>
                  <a:gd name="T115" fmla="*/ 1949108 h 9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2" h="96">
                    <a:moveTo>
                      <a:pt x="3" y="25"/>
                    </a:moveTo>
                    <a:cubicBezTo>
                      <a:pt x="3" y="23"/>
                      <a:pt x="0" y="20"/>
                      <a:pt x="2" y="19"/>
                    </a:cubicBezTo>
                    <a:cubicBezTo>
                      <a:pt x="4" y="17"/>
                      <a:pt x="5" y="15"/>
                      <a:pt x="4" y="1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10" y="11"/>
                      <a:pt x="11" y="10"/>
                    </a:cubicBezTo>
                    <a:cubicBezTo>
                      <a:pt x="12" y="9"/>
                      <a:pt x="14" y="5"/>
                      <a:pt x="14" y="5"/>
                    </a:cubicBezTo>
                    <a:cubicBezTo>
                      <a:pt x="16" y="5"/>
                      <a:pt x="18" y="12"/>
                      <a:pt x="19" y="12"/>
                    </a:cubicBezTo>
                    <a:cubicBezTo>
                      <a:pt x="20" y="11"/>
                      <a:pt x="22" y="5"/>
                      <a:pt x="23" y="5"/>
                    </a:cubicBezTo>
                    <a:cubicBezTo>
                      <a:pt x="24" y="5"/>
                      <a:pt x="27" y="8"/>
                      <a:pt x="28" y="7"/>
                    </a:cubicBezTo>
                    <a:cubicBezTo>
                      <a:pt x="28" y="7"/>
                      <a:pt x="30" y="5"/>
                      <a:pt x="30" y="4"/>
                    </a:cubicBezTo>
                    <a:cubicBezTo>
                      <a:pt x="30" y="4"/>
                      <a:pt x="30" y="3"/>
                      <a:pt x="30" y="3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35" y="3"/>
                      <a:pt x="36" y="0"/>
                      <a:pt x="38" y="0"/>
                    </a:cubicBezTo>
                    <a:cubicBezTo>
                      <a:pt x="38" y="0"/>
                      <a:pt x="42" y="0"/>
                      <a:pt x="43" y="0"/>
                    </a:cubicBezTo>
                    <a:cubicBezTo>
                      <a:pt x="44" y="1"/>
                      <a:pt x="46" y="3"/>
                      <a:pt x="47" y="4"/>
                    </a:cubicBezTo>
                    <a:cubicBezTo>
                      <a:pt x="48" y="4"/>
                      <a:pt x="51" y="4"/>
                      <a:pt x="54" y="5"/>
                    </a:cubicBezTo>
                    <a:cubicBezTo>
                      <a:pt x="53" y="12"/>
                      <a:pt x="53" y="12"/>
                      <a:pt x="53" y="12"/>
                    </a:cubicBezTo>
                    <a:cubicBezTo>
                      <a:pt x="52" y="12"/>
                      <a:pt x="43" y="15"/>
                      <a:pt x="43" y="15"/>
                    </a:cubicBezTo>
                    <a:cubicBezTo>
                      <a:pt x="43" y="16"/>
                      <a:pt x="46" y="19"/>
                      <a:pt x="46" y="21"/>
                    </a:cubicBezTo>
                    <a:cubicBezTo>
                      <a:pt x="46" y="22"/>
                      <a:pt x="41" y="24"/>
                      <a:pt x="44" y="27"/>
                    </a:cubicBezTo>
                    <a:cubicBezTo>
                      <a:pt x="47" y="30"/>
                      <a:pt x="53" y="31"/>
                      <a:pt x="55" y="33"/>
                    </a:cubicBezTo>
                    <a:cubicBezTo>
                      <a:pt x="56" y="35"/>
                      <a:pt x="61" y="45"/>
                      <a:pt x="62" y="45"/>
                    </a:cubicBezTo>
                    <a:cubicBezTo>
                      <a:pt x="63" y="46"/>
                      <a:pt x="68" y="48"/>
                      <a:pt x="69" y="48"/>
                    </a:cubicBezTo>
                    <a:cubicBezTo>
                      <a:pt x="70" y="48"/>
                      <a:pt x="74" y="47"/>
                      <a:pt x="75" y="49"/>
                    </a:cubicBezTo>
                    <a:cubicBezTo>
                      <a:pt x="75" y="50"/>
                      <a:pt x="72" y="52"/>
                      <a:pt x="73" y="53"/>
                    </a:cubicBezTo>
                    <a:cubicBezTo>
                      <a:pt x="74" y="53"/>
                      <a:pt x="85" y="58"/>
                      <a:pt x="87" y="59"/>
                    </a:cubicBezTo>
                    <a:cubicBezTo>
                      <a:pt x="90" y="60"/>
                      <a:pt x="92" y="63"/>
                      <a:pt x="92" y="65"/>
                    </a:cubicBezTo>
                    <a:cubicBezTo>
                      <a:pt x="92" y="66"/>
                      <a:pt x="91" y="67"/>
                      <a:pt x="90" y="68"/>
                    </a:cubicBezTo>
                    <a:cubicBezTo>
                      <a:pt x="90" y="69"/>
                      <a:pt x="82" y="62"/>
                      <a:pt x="81" y="63"/>
                    </a:cubicBezTo>
                    <a:cubicBezTo>
                      <a:pt x="80" y="63"/>
                      <a:pt x="77" y="68"/>
                      <a:pt x="78" y="69"/>
                    </a:cubicBezTo>
                    <a:cubicBezTo>
                      <a:pt x="79" y="70"/>
                      <a:pt x="82" y="70"/>
                      <a:pt x="82" y="71"/>
                    </a:cubicBezTo>
                    <a:cubicBezTo>
                      <a:pt x="82" y="73"/>
                      <a:pt x="82" y="75"/>
                      <a:pt x="82" y="76"/>
                    </a:cubicBezTo>
                    <a:cubicBezTo>
                      <a:pt x="81" y="78"/>
                      <a:pt x="78" y="77"/>
                      <a:pt x="78" y="78"/>
                    </a:cubicBezTo>
                    <a:cubicBezTo>
                      <a:pt x="78" y="79"/>
                      <a:pt x="76" y="83"/>
                      <a:pt x="74" y="84"/>
                    </a:cubicBezTo>
                    <a:cubicBezTo>
                      <a:pt x="73" y="84"/>
                      <a:pt x="70" y="85"/>
                      <a:pt x="70" y="84"/>
                    </a:cubicBezTo>
                    <a:cubicBezTo>
                      <a:pt x="69" y="81"/>
                      <a:pt x="68" y="84"/>
                      <a:pt x="67" y="86"/>
                    </a:cubicBezTo>
                    <a:cubicBezTo>
                      <a:pt x="67" y="88"/>
                      <a:pt x="68" y="93"/>
                      <a:pt x="66" y="94"/>
                    </a:cubicBezTo>
                    <a:cubicBezTo>
                      <a:pt x="65" y="95"/>
                      <a:pt x="62" y="96"/>
                      <a:pt x="61" y="94"/>
                    </a:cubicBezTo>
                    <a:cubicBezTo>
                      <a:pt x="60" y="93"/>
                      <a:pt x="58" y="92"/>
                      <a:pt x="56" y="90"/>
                    </a:cubicBezTo>
                    <a:cubicBezTo>
                      <a:pt x="53" y="89"/>
                      <a:pt x="45" y="85"/>
                      <a:pt x="45" y="83"/>
                    </a:cubicBezTo>
                    <a:cubicBezTo>
                      <a:pt x="46" y="82"/>
                      <a:pt x="49" y="81"/>
                      <a:pt x="52" y="81"/>
                    </a:cubicBezTo>
                    <a:cubicBezTo>
                      <a:pt x="55" y="82"/>
                      <a:pt x="63" y="81"/>
                      <a:pt x="65" y="81"/>
                    </a:cubicBezTo>
                    <a:cubicBezTo>
                      <a:pt x="67" y="81"/>
                      <a:pt x="69" y="81"/>
                      <a:pt x="70" y="79"/>
                    </a:cubicBezTo>
                    <a:cubicBezTo>
                      <a:pt x="72" y="78"/>
                      <a:pt x="73" y="79"/>
                      <a:pt x="73" y="76"/>
                    </a:cubicBezTo>
                    <a:cubicBezTo>
                      <a:pt x="73" y="74"/>
                      <a:pt x="71" y="67"/>
                      <a:pt x="70" y="66"/>
                    </a:cubicBezTo>
                    <a:cubicBezTo>
                      <a:pt x="68" y="64"/>
                      <a:pt x="65" y="65"/>
                      <a:pt x="65" y="63"/>
                    </a:cubicBezTo>
                    <a:cubicBezTo>
                      <a:pt x="64" y="62"/>
                      <a:pt x="58" y="55"/>
                      <a:pt x="55" y="55"/>
                    </a:cubicBezTo>
                    <a:cubicBezTo>
                      <a:pt x="52" y="54"/>
                      <a:pt x="50" y="54"/>
                      <a:pt x="47" y="53"/>
                    </a:cubicBezTo>
                    <a:cubicBezTo>
                      <a:pt x="45" y="51"/>
                      <a:pt x="38" y="46"/>
                      <a:pt x="37" y="44"/>
                    </a:cubicBezTo>
                    <a:cubicBezTo>
                      <a:pt x="35" y="42"/>
                      <a:pt x="32" y="41"/>
                      <a:pt x="31" y="38"/>
                    </a:cubicBezTo>
                    <a:cubicBezTo>
                      <a:pt x="30" y="34"/>
                      <a:pt x="29" y="31"/>
                      <a:pt x="27" y="28"/>
                    </a:cubicBezTo>
                    <a:cubicBezTo>
                      <a:pt x="24" y="25"/>
                      <a:pt x="21" y="25"/>
                      <a:pt x="18" y="25"/>
                    </a:cubicBezTo>
                    <a:cubicBezTo>
                      <a:pt x="15" y="25"/>
                      <a:pt x="15" y="30"/>
                      <a:pt x="12" y="30"/>
                    </a:cubicBezTo>
                    <a:cubicBezTo>
                      <a:pt x="11" y="30"/>
                      <a:pt x="11" y="30"/>
                      <a:pt x="10" y="30"/>
                    </a:cubicBezTo>
                    <a:cubicBezTo>
                      <a:pt x="10" y="29"/>
                      <a:pt x="10" y="27"/>
                      <a:pt x="9" y="26"/>
                    </a:cubicBezTo>
                    <a:cubicBezTo>
                      <a:pt x="7" y="25"/>
                      <a:pt x="3" y="27"/>
                      <a:pt x="3" y="2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58" name="Freeform 157"/>
            <p:cNvSpPr>
              <a:spLocks/>
            </p:cNvSpPr>
            <p:nvPr/>
          </p:nvSpPr>
          <p:spPr bwMode="auto">
            <a:xfrm>
              <a:off x="5818774" y="3444867"/>
              <a:ext cx="195296" cy="197680"/>
            </a:xfrm>
            <a:custGeom>
              <a:avLst/>
              <a:gdLst>
                <a:gd name="T0" fmla="*/ 25638 w 70"/>
                <a:gd name="T1" fmla="*/ 4116 h 75"/>
                <a:gd name="T2" fmla="*/ 48461 w 70"/>
                <a:gd name="T3" fmla="*/ 3502 h 75"/>
                <a:gd name="T4" fmla="*/ 60628 w 70"/>
                <a:gd name="T5" fmla="*/ 4347 h 75"/>
                <a:gd name="T6" fmla="*/ 80307 w 70"/>
                <a:gd name="T7" fmla="*/ 3343 h 75"/>
                <a:gd name="T8" fmla="*/ 70405 w 70"/>
                <a:gd name="T9" fmla="*/ 1962 h 75"/>
                <a:gd name="T10" fmla="*/ 60628 w 70"/>
                <a:gd name="T11" fmla="*/ 0 h 75"/>
                <a:gd name="T12" fmla="*/ 98128 w 70"/>
                <a:gd name="T13" fmla="*/ 0 h 75"/>
                <a:gd name="T14" fmla="*/ 103866 w 70"/>
                <a:gd name="T15" fmla="*/ 964 h 75"/>
                <a:gd name="T16" fmla="*/ 122158 w 70"/>
                <a:gd name="T17" fmla="*/ 1417 h 75"/>
                <a:gd name="T18" fmla="*/ 128631 w 70"/>
                <a:gd name="T19" fmla="*/ 1417 h 75"/>
                <a:gd name="T20" fmla="*/ 133080 w 70"/>
                <a:gd name="T21" fmla="*/ 2799 h 75"/>
                <a:gd name="T22" fmla="*/ 156622 w 70"/>
                <a:gd name="T23" fmla="*/ 2343 h 75"/>
                <a:gd name="T24" fmla="*/ 173228 w 70"/>
                <a:gd name="T25" fmla="*/ 1417 h 75"/>
                <a:gd name="T26" fmla="*/ 183976 w 70"/>
                <a:gd name="T27" fmla="*/ 1375 h 75"/>
                <a:gd name="T28" fmla="*/ 187030 w 70"/>
                <a:gd name="T29" fmla="*/ 2799 h 75"/>
                <a:gd name="T30" fmla="*/ 207527 w 70"/>
                <a:gd name="T31" fmla="*/ 2885 h 75"/>
                <a:gd name="T32" fmla="*/ 207527 w 70"/>
                <a:gd name="T33" fmla="*/ 2885 h 75"/>
                <a:gd name="T34" fmla="*/ 210991 w 70"/>
                <a:gd name="T35" fmla="*/ 4347 h 75"/>
                <a:gd name="T36" fmla="*/ 202433 w 70"/>
                <a:gd name="T37" fmla="*/ 5872 h 75"/>
                <a:gd name="T38" fmla="*/ 216559 w 70"/>
                <a:gd name="T39" fmla="*/ 7128 h 75"/>
                <a:gd name="T40" fmla="*/ 216559 w 70"/>
                <a:gd name="T41" fmla="*/ 8848 h 75"/>
                <a:gd name="T42" fmla="*/ 225978 w 70"/>
                <a:gd name="T43" fmla="*/ 10971 h 75"/>
                <a:gd name="T44" fmla="*/ 225978 w 70"/>
                <a:gd name="T45" fmla="*/ 11596 h 75"/>
                <a:gd name="T46" fmla="*/ 216559 w 70"/>
                <a:gd name="T47" fmla="*/ 11951 h 75"/>
                <a:gd name="T48" fmla="*/ 156622 w 70"/>
                <a:gd name="T49" fmla="*/ 14007 h 75"/>
                <a:gd name="T50" fmla="*/ 196938 w 70"/>
                <a:gd name="T51" fmla="*/ 18811 h 75"/>
                <a:gd name="T52" fmla="*/ 177556 w 70"/>
                <a:gd name="T53" fmla="*/ 19758 h 75"/>
                <a:gd name="T54" fmla="*/ 168508 w 70"/>
                <a:gd name="T55" fmla="*/ 21349 h 75"/>
                <a:gd name="T56" fmla="*/ 139503 w 70"/>
                <a:gd name="T57" fmla="*/ 21363 h 75"/>
                <a:gd name="T58" fmla="*/ 112863 w 70"/>
                <a:gd name="T59" fmla="*/ 22110 h 75"/>
                <a:gd name="T60" fmla="*/ 100469 w 70"/>
                <a:gd name="T61" fmla="*/ 21845 h 75"/>
                <a:gd name="T62" fmla="*/ 94513 w 70"/>
                <a:gd name="T63" fmla="*/ 21363 h 75"/>
                <a:gd name="T64" fmla="*/ 70405 w 70"/>
                <a:gd name="T65" fmla="*/ 21349 h 75"/>
                <a:gd name="T66" fmla="*/ 53060 w 70"/>
                <a:gd name="T67" fmla="*/ 21363 h 75"/>
                <a:gd name="T68" fmla="*/ 42486 w 70"/>
                <a:gd name="T69" fmla="*/ 21363 h 75"/>
                <a:gd name="T70" fmla="*/ 54008 w 70"/>
                <a:gd name="T71" fmla="*/ 18303 h 75"/>
                <a:gd name="T72" fmla="*/ 19667 w 70"/>
                <a:gd name="T73" fmla="*/ 17050 h 75"/>
                <a:gd name="T74" fmla="*/ 14208 w 70"/>
                <a:gd name="T75" fmla="*/ 15994 h 75"/>
                <a:gd name="T76" fmla="*/ 14208 w 70"/>
                <a:gd name="T77" fmla="*/ 15652 h 75"/>
                <a:gd name="T78" fmla="*/ 9336 w 70"/>
                <a:gd name="T79" fmla="*/ 13558 h 75"/>
                <a:gd name="T80" fmla="*/ 5634 w 70"/>
                <a:gd name="T81" fmla="*/ 12623 h 75"/>
                <a:gd name="T82" fmla="*/ 3400 w 70"/>
                <a:gd name="T83" fmla="*/ 11702 h 75"/>
                <a:gd name="T84" fmla="*/ 5634 w 70"/>
                <a:gd name="T85" fmla="*/ 10214 h 75"/>
                <a:gd name="T86" fmla="*/ 3400 w 70"/>
                <a:gd name="T87" fmla="*/ 9115 h 75"/>
                <a:gd name="T88" fmla="*/ 25638 w 70"/>
                <a:gd name="T89" fmla="*/ 8848 h 75"/>
                <a:gd name="T90" fmla="*/ 29244 w 70"/>
                <a:gd name="T91" fmla="*/ 6804 h 75"/>
                <a:gd name="T92" fmla="*/ 29244 w 70"/>
                <a:gd name="T93" fmla="*/ 5390 h 75"/>
                <a:gd name="T94" fmla="*/ 25638 w 70"/>
                <a:gd name="T95" fmla="*/ 4116 h 7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0" h="75">
                  <a:moveTo>
                    <a:pt x="8" y="14"/>
                  </a:moveTo>
                  <a:cubicBezTo>
                    <a:pt x="10" y="13"/>
                    <a:pt x="14" y="12"/>
                    <a:pt x="15" y="12"/>
                  </a:cubicBezTo>
                  <a:cubicBezTo>
                    <a:pt x="16" y="12"/>
                    <a:pt x="18" y="15"/>
                    <a:pt x="19" y="15"/>
                  </a:cubicBezTo>
                  <a:cubicBezTo>
                    <a:pt x="20" y="14"/>
                    <a:pt x="25" y="12"/>
                    <a:pt x="25" y="11"/>
                  </a:cubicBezTo>
                  <a:cubicBezTo>
                    <a:pt x="25" y="9"/>
                    <a:pt x="23" y="8"/>
                    <a:pt x="22" y="6"/>
                  </a:cubicBezTo>
                  <a:cubicBezTo>
                    <a:pt x="22" y="5"/>
                    <a:pt x="19" y="2"/>
                    <a:pt x="1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"/>
                    <a:pt x="31" y="3"/>
                    <a:pt x="32" y="3"/>
                  </a:cubicBezTo>
                  <a:cubicBezTo>
                    <a:pt x="33" y="4"/>
                    <a:pt x="36" y="5"/>
                    <a:pt x="38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1" y="6"/>
                    <a:pt x="40" y="9"/>
                    <a:pt x="41" y="9"/>
                  </a:cubicBezTo>
                  <a:cubicBezTo>
                    <a:pt x="42" y="9"/>
                    <a:pt x="47" y="8"/>
                    <a:pt x="48" y="8"/>
                  </a:cubicBezTo>
                  <a:cubicBezTo>
                    <a:pt x="49" y="7"/>
                    <a:pt x="53" y="5"/>
                    <a:pt x="54" y="5"/>
                  </a:cubicBezTo>
                  <a:cubicBezTo>
                    <a:pt x="55" y="4"/>
                    <a:pt x="56" y="3"/>
                    <a:pt x="57" y="4"/>
                  </a:cubicBezTo>
                  <a:cubicBezTo>
                    <a:pt x="58" y="4"/>
                    <a:pt x="57" y="8"/>
                    <a:pt x="58" y="9"/>
                  </a:cubicBezTo>
                  <a:cubicBezTo>
                    <a:pt x="59" y="9"/>
                    <a:pt x="62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5" y="13"/>
                    <a:pt x="65" y="15"/>
                  </a:cubicBezTo>
                  <a:cubicBezTo>
                    <a:pt x="65" y="16"/>
                    <a:pt x="63" y="19"/>
                    <a:pt x="63" y="20"/>
                  </a:cubicBezTo>
                  <a:cubicBezTo>
                    <a:pt x="63" y="21"/>
                    <a:pt x="65" y="23"/>
                    <a:pt x="67" y="24"/>
                  </a:cubicBezTo>
                  <a:cubicBezTo>
                    <a:pt x="67" y="26"/>
                    <a:pt x="67" y="28"/>
                    <a:pt x="67" y="30"/>
                  </a:cubicBezTo>
                  <a:cubicBezTo>
                    <a:pt x="67" y="32"/>
                    <a:pt x="70" y="35"/>
                    <a:pt x="70" y="37"/>
                  </a:cubicBezTo>
                  <a:cubicBezTo>
                    <a:pt x="70" y="37"/>
                    <a:pt x="70" y="38"/>
                    <a:pt x="70" y="39"/>
                  </a:cubicBezTo>
                  <a:cubicBezTo>
                    <a:pt x="69" y="40"/>
                    <a:pt x="68" y="41"/>
                    <a:pt x="67" y="41"/>
                  </a:cubicBezTo>
                  <a:cubicBezTo>
                    <a:pt x="65" y="41"/>
                    <a:pt x="48" y="47"/>
                    <a:pt x="48" y="48"/>
                  </a:cubicBezTo>
                  <a:cubicBezTo>
                    <a:pt x="48" y="49"/>
                    <a:pt x="62" y="62"/>
                    <a:pt x="61" y="64"/>
                  </a:cubicBezTo>
                  <a:cubicBezTo>
                    <a:pt x="60" y="65"/>
                    <a:pt x="57" y="66"/>
                    <a:pt x="55" y="67"/>
                  </a:cubicBezTo>
                  <a:cubicBezTo>
                    <a:pt x="54" y="68"/>
                    <a:pt x="56" y="75"/>
                    <a:pt x="52" y="72"/>
                  </a:cubicBezTo>
                  <a:cubicBezTo>
                    <a:pt x="51" y="72"/>
                    <a:pt x="44" y="73"/>
                    <a:pt x="43" y="73"/>
                  </a:cubicBezTo>
                  <a:cubicBezTo>
                    <a:pt x="42" y="73"/>
                    <a:pt x="37" y="75"/>
                    <a:pt x="35" y="75"/>
                  </a:cubicBezTo>
                  <a:cubicBezTo>
                    <a:pt x="33" y="75"/>
                    <a:pt x="32" y="74"/>
                    <a:pt x="31" y="74"/>
                  </a:cubicBezTo>
                  <a:cubicBezTo>
                    <a:pt x="30" y="74"/>
                    <a:pt x="30" y="74"/>
                    <a:pt x="29" y="73"/>
                  </a:cubicBezTo>
                  <a:cubicBezTo>
                    <a:pt x="27" y="73"/>
                    <a:pt x="23" y="72"/>
                    <a:pt x="22" y="72"/>
                  </a:cubicBezTo>
                  <a:cubicBezTo>
                    <a:pt x="21" y="72"/>
                    <a:pt x="17" y="73"/>
                    <a:pt x="16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4" y="70"/>
                    <a:pt x="16" y="63"/>
                    <a:pt x="17" y="62"/>
                  </a:cubicBezTo>
                  <a:cubicBezTo>
                    <a:pt x="18" y="60"/>
                    <a:pt x="8" y="59"/>
                    <a:pt x="6" y="58"/>
                  </a:cubicBezTo>
                  <a:cubicBezTo>
                    <a:pt x="5" y="57"/>
                    <a:pt x="4" y="56"/>
                    <a:pt x="4" y="55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4" y="50"/>
                    <a:pt x="5" y="47"/>
                    <a:pt x="3" y="46"/>
                  </a:cubicBezTo>
                  <a:cubicBezTo>
                    <a:pt x="2" y="45"/>
                    <a:pt x="2" y="44"/>
                    <a:pt x="2" y="43"/>
                  </a:cubicBezTo>
                  <a:cubicBezTo>
                    <a:pt x="1" y="42"/>
                    <a:pt x="1" y="41"/>
                    <a:pt x="1" y="40"/>
                  </a:cubicBezTo>
                  <a:cubicBezTo>
                    <a:pt x="1" y="39"/>
                    <a:pt x="3" y="36"/>
                    <a:pt x="2" y="35"/>
                  </a:cubicBezTo>
                  <a:cubicBezTo>
                    <a:pt x="1" y="34"/>
                    <a:pt x="0" y="32"/>
                    <a:pt x="1" y="31"/>
                  </a:cubicBezTo>
                  <a:cubicBezTo>
                    <a:pt x="2" y="31"/>
                    <a:pt x="7" y="31"/>
                    <a:pt x="8" y="30"/>
                  </a:cubicBezTo>
                  <a:cubicBezTo>
                    <a:pt x="9" y="29"/>
                    <a:pt x="9" y="25"/>
                    <a:pt x="9" y="23"/>
                  </a:cubicBezTo>
                  <a:cubicBezTo>
                    <a:pt x="9" y="21"/>
                    <a:pt x="10" y="19"/>
                    <a:pt x="9" y="18"/>
                  </a:cubicBezTo>
                  <a:cubicBezTo>
                    <a:pt x="9" y="17"/>
                    <a:pt x="8" y="14"/>
                    <a:pt x="8" y="1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59" name="Freeform 158"/>
            <p:cNvSpPr>
              <a:spLocks/>
            </p:cNvSpPr>
            <p:nvPr/>
          </p:nvSpPr>
          <p:spPr bwMode="auto">
            <a:xfrm>
              <a:off x="5776684" y="3481816"/>
              <a:ext cx="70711" cy="75747"/>
            </a:xfrm>
            <a:custGeom>
              <a:avLst/>
              <a:gdLst>
                <a:gd name="T0" fmla="*/ 3935 w 25"/>
                <a:gd name="T1" fmla="*/ 4448 h 29"/>
                <a:gd name="T2" fmla="*/ 24733 w 25"/>
                <a:gd name="T3" fmla="*/ 2952 h 29"/>
                <a:gd name="T4" fmla="*/ 35814 w 25"/>
                <a:gd name="T5" fmla="*/ 739 h 29"/>
                <a:gd name="T6" fmla="*/ 81367 w 25"/>
                <a:gd name="T7" fmla="*/ 1 h 29"/>
                <a:gd name="T8" fmla="*/ 93774 w 25"/>
                <a:gd name="T9" fmla="*/ 0 h 29"/>
                <a:gd name="T10" fmla="*/ 95941 w 25"/>
                <a:gd name="T11" fmla="*/ 1045 h 29"/>
                <a:gd name="T12" fmla="*/ 95941 w 25"/>
                <a:gd name="T13" fmla="*/ 2225 h 29"/>
                <a:gd name="T14" fmla="*/ 93774 w 25"/>
                <a:gd name="T15" fmla="*/ 4174 h 29"/>
                <a:gd name="T16" fmla="*/ 64596 w 25"/>
                <a:gd name="T17" fmla="*/ 4323 h 29"/>
                <a:gd name="T18" fmla="*/ 69806 w 25"/>
                <a:gd name="T19" fmla="*/ 5245 h 29"/>
                <a:gd name="T20" fmla="*/ 64596 w 25"/>
                <a:gd name="T21" fmla="*/ 6660 h 29"/>
                <a:gd name="T22" fmla="*/ 69806 w 25"/>
                <a:gd name="T23" fmla="*/ 7404 h 29"/>
                <a:gd name="T24" fmla="*/ 48433 w 25"/>
                <a:gd name="T25" fmla="*/ 7329 h 29"/>
                <a:gd name="T26" fmla="*/ 42452 w 25"/>
                <a:gd name="T27" fmla="*/ 5901 h 29"/>
                <a:gd name="T28" fmla="*/ 0 w 25"/>
                <a:gd name="T29" fmla="*/ 5184 h 29"/>
                <a:gd name="T30" fmla="*/ 3935 w 25"/>
                <a:gd name="T31" fmla="*/ 4448 h 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5" h="29">
                  <a:moveTo>
                    <a:pt x="1" y="18"/>
                  </a:moveTo>
                  <a:cubicBezTo>
                    <a:pt x="2" y="17"/>
                    <a:pt x="6" y="13"/>
                    <a:pt x="6" y="11"/>
                  </a:cubicBezTo>
                  <a:cubicBezTo>
                    <a:pt x="6" y="9"/>
                    <a:pt x="8" y="4"/>
                    <a:pt x="9" y="3"/>
                  </a:cubicBezTo>
                  <a:cubicBezTo>
                    <a:pt x="10" y="3"/>
                    <a:pt x="19" y="1"/>
                    <a:pt x="20" y="1"/>
                  </a:cubicBezTo>
                  <a:cubicBezTo>
                    <a:pt x="20" y="1"/>
                    <a:pt x="21" y="0"/>
                    <a:pt x="23" y="0"/>
                  </a:cubicBezTo>
                  <a:cubicBezTo>
                    <a:pt x="23" y="0"/>
                    <a:pt x="24" y="3"/>
                    <a:pt x="24" y="4"/>
                  </a:cubicBezTo>
                  <a:cubicBezTo>
                    <a:pt x="25" y="5"/>
                    <a:pt x="24" y="7"/>
                    <a:pt x="24" y="9"/>
                  </a:cubicBezTo>
                  <a:cubicBezTo>
                    <a:pt x="24" y="11"/>
                    <a:pt x="24" y="15"/>
                    <a:pt x="23" y="16"/>
                  </a:cubicBezTo>
                  <a:cubicBezTo>
                    <a:pt x="22" y="17"/>
                    <a:pt x="17" y="17"/>
                    <a:pt x="16" y="17"/>
                  </a:cubicBezTo>
                  <a:cubicBezTo>
                    <a:pt x="15" y="18"/>
                    <a:pt x="16" y="20"/>
                    <a:pt x="17" y="21"/>
                  </a:cubicBezTo>
                  <a:cubicBezTo>
                    <a:pt x="18" y="22"/>
                    <a:pt x="16" y="25"/>
                    <a:pt x="16" y="26"/>
                  </a:cubicBezTo>
                  <a:cubicBezTo>
                    <a:pt x="16" y="27"/>
                    <a:pt x="16" y="28"/>
                    <a:pt x="17" y="29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8"/>
                    <a:pt x="11" y="24"/>
                    <a:pt x="11" y="23"/>
                  </a:cubicBezTo>
                  <a:cubicBezTo>
                    <a:pt x="11" y="22"/>
                    <a:pt x="1" y="22"/>
                    <a:pt x="0" y="20"/>
                  </a:cubicBezTo>
                  <a:cubicBezTo>
                    <a:pt x="0" y="19"/>
                    <a:pt x="1" y="18"/>
                    <a:pt x="1" y="1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60" name="Group 159"/>
            <p:cNvGrpSpPr>
              <a:grpSpLocks/>
            </p:cNvGrpSpPr>
            <p:nvPr/>
          </p:nvGrpSpPr>
          <p:grpSpPr bwMode="auto">
            <a:xfrm>
              <a:off x="5796887" y="2541451"/>
              <a:ext cx="560633" cy="814737"/>
              <a:chOff x="2792" y="919"/>
              <a:chExt cx="407" cy="627"/>
            </a:xfrm>
            <a:solidFill>
              <a:srgbClr val="EBEBE3"/>
            </a:solidFill>
          </p:grpSpPr>
          <p:sp>
            <p:nvSpPr>
              <p:cNvPr id="579" name="Freeform 160"/>
              <p:cNvSpPr>
                <a:spLocks/>
              </p:cNvSpPr>
              <p:nvPr/>
            </p:nvSpPr>
            <p:spPr bwMode="auto">
              <a:xfrm>
                <a:off x="3035" y="991"/>
                <a:ext cx="59" cy="43"/>
              </a:xfrm>
              <a:custGeom>
                <a:avLst/>
                <a:gdLst>
                  <a:gd name="T0" fmla="*/ 0 w 29"/>
                  <a:gd name="T1" fmla="*/ 456087 h 21"/>
                  <a:gd name="T2" fmla="*/ 165499 w 29"/>
                  <a:gd name="T3" fmla="*/ 276013 h 21"/>
                  <a:gd name="T4" fmla="*/ 939174 w 29"/>
                  <a:gd name="T5" fmla="*/ 0 h 21"/>
                  <a:gd name="T6" fmla="*/ 1187224 w 29"/>
                  <a:gd name="T7" fmla="*/ 276013 h 21"/>
                  <a:gd name="T8" fmla="*/ 1729904 w 29"/>
                  <a:gd name="T9" fmla="*/ 369632 h 21"/>
                  <a:gd name="T10" fmla="*/ 1910733 w 29"/>
                  <a:gd name="T11" fmla="*/ 846066 h 21"/>
                  <a:gd name="T12" fmla="*/ 2494292 w 29"/>
                  <a:gd name="T13" fmla="*/ 933892 h 21"/>
                  <a:gd name="T14" fmla="*/ 1473720 w 29"/>
                  <a:gd name="T15" fmla="*/ 2005884 h 21"/>
                  <a:gd name="T16" fmla="*/ 1307076 w 29"/>
                  <a:gd name="T17" fmla="*/ 1347704 h 21"/>
                  <a:gd name="T18" fmla="*/ 246567 w 29"/>
                  <a:gd name="T19" fmla="*/ 1549773 h 21"/>
                  <a:gd name="T20" fmla="*/ 685021 w 29"/>
                  <a:gd name="T21" fmla="*/ 846066 h 21"/>
                  <a:gd name="T22" fmla="*/ 0 w 29"/>
                  <a:gd name="T23" fmla="*/ 456087 h 2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21">
                    <a:moveTo>
                      <a:pt x="0" y="5"/>
                    </a:moveTo>
                    <a:cubicBezTo>
                      <a:pt x="0" y="3"/>
                      <a:pt x="2" y="3"/>
                      <a:pt x="2" y="3"/>
                    </a:cubicBezTo>
                    <a:cubicBezTo>
                      <a:pt x="2" y="3"/>
                      <a:pt x="10" y="1"/>
                      <a:pt x="11" y="0"/>
                    </a:cubicBezTo>
                    <a:cubicBezTo>
                      <a:pt x="13" y="0"/>
                      <a:pt x="13" y="3"/>
                      <a:pt x="14" y="3"/>
                    </a:cubicBezTo>
                    <a:cubicBezTo>
                      <a:pt x="15" y="3"/>
                      <a:pt x="19" y="4"/>
                      <a:pt x="20" y="4"/>
                    </a:cubicBezTo>
                    <a:cubicBezTo>
                      <a:pt x="21" y="4"/>
                      <a:pt x="21" y="9"/>
                      <a:pt x="22" y="9"/>
                    </a:cubicBezTo>
                    <a:cubicBezTo>
                      <a:pt x="23" y="9"/>
                      <a:pt x="29" y="9"/>
                      <a:pt x="29" y="10"/>
                    </a:cubicBezTo>
                    <a:cubicBezTo>
                      <a:pt x="29" y="10"/>
                      <a:pt x="17" y="21"/>
                      <a:pt x="17" y="21"/>
                    </a:cubicBezTo>
                    <a:cubicBezTo>
                      <a:pt x="16" y="20"/>
                      <a:pt x="16" y="14"/>
                      <a:pt x="15" y="14"/>
                    </a:cubicBezTo>
                    <a:cubicBezTo>
                      <a:pt x="15" y="13"/>
                      <a:pt x="3" y="17"/>
                      <a:pt x="3" y="16"/>
                    </a:cubicBezTo>
                    <a:cubicBezTo>
                      <a:pt x="2" y="16"/>
                      <a:pt x="9" y="10"/>
                      <a:pt x="8" y="9"/>
                    </a:cubicBezTo>
                    <a:cubicBezTo>
                      <a:pt x="7" y="8"/>
                      <a:pt x="1" y="6"/>
                      <a:pt x="0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0" name="Freeform 161"/>
              <p:cNvSpPr>
                <a:spLocks/>
              </p:cNvSpPr>
              <p:nvPr/>
            </p:nvSpPr>
            <p:spPr bwMode="auto">
              <a:xfrm>
                <a:off x="2995" y="919"/>
                <a:ext cx="144" cy="46"/>
              </a:xfrm>
              <a:custGeom>
                <a:avLst/>
                <a:gdLst>
                  <a:gd name="T0" fmla="*/ 76770 w 71"/>
                  <a:gd name="T1" fmla="*/ 458752 h 23"/>
                  <a:gd name="T2" fmla="*/ 236718 w 71"/>
                  <a:gd name="T3" fmla="*/ 327680 h 23"/>
                  <a:gd name="T4" fmla="*/ 973732 w 71"/>
                  <a:gd name="T5" fmla="*/ 327680 h 23"/>
                  <a:gd name="T6" fmla="*/ 1215474 w 71"/>
                  <a:gd name="T7" fmla="*/ 0 h 23"/>
                  <a:gd name="T8" fmla="*/ 2053957 w 71"/>
                  <a:gd name="T9" fmla="*/ 262144 h 23"/>
                  <a:gd name="T10" fmla="*/ 2790146 w 71"/>
                  <a:gd name="T11" fmla="*/ 524288 h 23"/>
                  <a:gd name="T12" fmla="*/ 3028825 w 71"/>
                  <a:gd name="T13" fmla="*/ 0 h 23"/>
                  <a:gd name="T14" fmla="*/ 3429321 w 71"/>
                  <a:gd name="T15" fmla="*/ 196608 h 23"/>
                  <a:gd name="T16" fmla="*/ 3506157 w 71"/>
                  <a:gd name="T17" fmla="*/ 393216 h 23"/>
                  <a:gd name="T18" fmla="*/ 4005417 w 71"/>
                  <a:gd name="T19" fmla="*/ 131072 h 23"/>
                  <a:gd name="T20" fmla="*/ 5257422 w 71"/>
                  <a:gd name="T21" fmla="*/ 327680 h 23"/>
                  <a:gd name="T22" fmla="*/ 5818967 w 71"/>
                  <a:gd name="T23" fmla="*/ 524288 h 23"/>
                  <a:gd name="T24" fmla="*/ 5658888 w 71"/>
                  <a:gd name="T25" fmla="*/ 851968 h 23"/>
                  <a:gd name="T26" fmla="*/ 4922977 w 71"/>
                  <a:gd name="T27" fmla="*/ 983040 h 23"/>
                  <a:gd name="T28" fmla="*/ 4683783 w 71"/>
                  <a:gd name="T29" fmla="*/ 1376256 h 23"/>
                  <a:gd name="T30" fmla="*/ 3506157 w 71"/>
                  <a:gd name="T31" fmla="*/ 1507328 h 23"/>
                  <a:gd name="T32" fmla="*/ 2869074 w 71"/>
                  <a:gd name="T33" fmla="*/ 1310720 h 23"/>
                  <a:gd name="T34" fmla="*/ 1493379 w 71"/>
                  <a:gd name="T35" fmla="*/ 1179648 h 23"/>
                  <a:gd name="T36" fmla="*/ 2465187 w 71"/>
                  <a:gd name="T37" fmla="*/ 917504 h 23"/>
                  <a:gd name="T38" fmla="*/ 2053957 w 71"/>
                  <a:gd name="T39" fmla="*/ 720896 h 23"/>
                  <a:gd name="T40" fmla="*/ 640480 w 71"/>
                  <a:gd name="T41" fmla="*/ 851968 h 23"/>
                  <a:gd name="T42" fmla="*/ 236718 w 71"/>
                  <a:gd name="T43" fmla="*/ 655360 h 23"/>
                  <a:gd name="T44" fmla="*/ 76770 w 71"/>
                  <a:gd name="T45" fmla="*/ 458752 h 2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71" h="23">
                    <a:moveTo>
                      <a:pt x="1" y="7"/>
                    </a:moveTo>
                    <a:cubicBezTo>
                      <a:pt x="0" y="6"/>
                      <a:pt x="3" y="5"/>
                      <a:pt x="3" y="5"/>
                    </a:cubicBezTo>
                    <a:cubicBezTo>
                      <a:pt x="4" y="5"/>
                      <a:pt x="10" y="6"/>
                      <a:pt x="12" y="5"/>
                    </a:cubicBezTo>
                    <a:cubicBezTo>
                      <a:pt x="13" y="5"/>
                      <a:pt x="13" y="0"/>
                      <a:pt x="15" y="0"/>
                    </a:cubicBezTo>
                    <a:cubicBezTo>
                      <a:pt x="18" y="1"/>
                      <a:pt x="22" y="4"/>
                      <a:pt x="25" y="4"/>
                    </a:cubicBezTo>
                    <a:cubicBezTo>
                      <a:pt x="28" y="4"/>
                      <a:pt x="34" y="9"/>
                      <a:pt x="34" y="8"/>
                    </a:cubicBezTo>
                    <a:cubicBezTo>
                      <a:pt x="34" y="7"/>
                      <a:pt x="35" y="0"/>
                      <a:pt x="37" y="0"/>
                    </a:cubicBezTo>
                    <a:cubicBezTo>
                      <a:pt x="39" y="0"/>
                      <a:pt x="42" y="2"/>
                      <a:pt x="42" y="3"/>
                    </a:cubicBezTo>
                    <a:cubicBezTo>
                      <a:pt x="42" y="3"/>
                      <a:pt x="42" y="6"/>
                      <a:pt x="43" y="6"/>
                    </a:cubicBezTo>
                    <a:cubicBezTo>
                      <a:pt x="44" y="6"/>
                      <a:pt x="47" y="2"/>
                      <a:pt x="49" y="2"/>
                    </a:cubicBezTo>
                    <a:cubicBezTo>
                      <a:pt x="51" y="3"/>
                      <a:pt x="63" y="5"/>
                      <a:pt x="64" y="5"/>
                    </a:cubicBezTo>
                    <a:cubicBezTo>
                      <a:pt x="65" y="5"/>
                      <a:pt x="70" y="6"/>
                      <a:pt x="71" y="8"/>
                    </a:cubicBezTo>
                    <a:cubicBezTo>
                      <a:pt x="71" y="10"/>
                      <a:pt x="70" y="13"/>
                      <a:pt x="69" y="13"/>
                    </a:cubicBezTo>
                    <a:cubicBezTo>
                      <a:pt x="69" y="13"/>
                      <a:pt x="60" y="14"/>
                      <a:pt x="60" y="15"/>
                    </a:cubicBezTo>
                    <a:cubicBezTo>
                      <a:pt x="59" y="17"/>
                      <a:pt x="61" y="22"/>
                      <a:pt x="57" y="21"/>
                    </a:cubicBezTo>
                    <a:cubicBezTo>
                      <a:pt x="54" y="21"/>
                      <a:pt x="47" y="23"/>
                      <a:pt x="43" y="23"/>
                    </a:cubicBezTo>
                    <a:cubicBezTo>
                      <a:pt x="39" y="22"/>
                      <a:pt x="37" y="20"/>
                      <a:pt x="35" y="20"/>
                    </a:cubicBezTo>
                    <a:cubicBezTo>
                      <a:pt x="34" y="20"/>
                      <a:pt x="19" y="19"/>
                      <a:pt x="18" y="18"/>
                    </a:cubicBezTo>
                    <a:cubicBezTo>
                      <a:pt x="17" y="17"/>
                      <a:pt x="30" y="15"/>
                      <a:pt x="30" y="14"/>
                    </a:cubicBezTo>
                    <a:cubicBezTo>
                      <a:pt x="30" y="13"/>
                      <a:pt x="25" y="11"/>
                      <a:pt x="25" y="11"/>
                    </a:cubicBezTo>
                    <a:cubicBezTo>
                      <a:pt x="25" y="11"/>
                      <a:pt x="10" y="14"/>
                      <a:pt x="8" y="13"/>
                    </a:cubicBezTo>
                    <a:cubicBezTo>
                      <a:pt x="6" y="12"/>
                      <a:pt x="4" y="11"/>
                      <a:pt x="3" y="10"/>
                    </a:cubicBezTo>
                    <a:cubicBezTo>
                      <a:pt x="2" y="9"/>
                      <a:pt x="1" y="7"/>
                      <a:pt x="1" y="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1" name="Freeform 162"/>
              <p:cNvSpPr>
                <a:spLocks/>
              </p:cNvSpPr>
              <p:nvPr/>
            </p:nvSpPr>
            <p:spPr bwMode="auto">
              <a:xfrm>
                <a:off x="2884" y="933"/>
                <a:ext cx="168" cy="121"/>
              </a:xfrm>
              <a:custGeom>
                <a:avLst/>
                <a:gdLst>
                  <a:gd name="T0" fmla="*/ 0 w 83"/>
                  <a:gd name="T1" fmla="*/ 511850 h 60"/>
                  <a:gd name="T2" fmla="*/ 467698 w 83"/>
                  <a:gd name="T3" fmla="*/ 365753 h 60"/>
                  <a:gd name="T4" fmla="*/ 1102416 w 83"/>
                  <a:gd name="T5" fmla="*/ 439666 h 60"/>
                  <a:gd name="T6" fmla="*/ 1916143 w 83"/>
                  <a:gd name="T7" fmla="*/ 293572 h 60"/>
                  <a:gd name="T8" fmla="*/ 1569835 w 83"/>
                  <a:gd name="T9" fmla="*/ 664213 h 60"/>
                  <a:gd name="T10" fmla="*/ 1916143 w 83"/>
                  <a:gd name="T11" fmla="*/ 959917 h 60"/>
                  <a:gd name="T12" fmla="*/ 2308543 w 83"/>
                  <a:gd name="T13" fmla="*/ 439666 h 60"/>
                  <a:gd name="T14" fmla="*/ 2785236 w 83"/>
                  <a:gd name="T15" fmla="*/ 809716 h 60"/>
                  <a:gd name="T16" fmla="*/ 3408536 w 83"/>
                  <a:gd name="T17" fmla="*/ 1487497 h 60"/>
                  <a:gd name="T18" fmla="*/ 3102747 w 83"/>
                  <a:gd name="T19" fmla="*/ 293572 h 60"/>
                  <a:gd name="T20" fmla="*/ 3485899 w 83"/>
                  <a:gd name="T21" fmla="*/ 72185 h 60"/>
                  <a:gd name="T22" fmla="*/ 4202984 w 83"/>
                  <a:gd name="T23" fmla="*/ 511850 h 60"/>
                  <a:gd name="T24" fmla="*/ 4202984 w 83"/>
                  <a:gd name="T25" fmla="*/ 1032231 h 60"/>
                  <a:gd name="T26" fmla="*/ 4747625 w 83"/>
                  <a:gd name="T27" fmla="*/ 809716 h 60"/>
                  <a:gd name="T28" fmla="*/ 5018923 w 83"/>
                  <a:gd name="T29" fmla="*/ 1267183 h 60"/>
                  <a:gd name="T30" fmla="*/ 5411428 w 83"/>
                  <a:gd name="T31" fmla="*/ 1193941 h 60"/>
                  <a:gd name="T32" fmla="*/ 6205616 w 83"/>
                  <a:gd name="T33" fmla="*/ 1487497 h 60"/>
                  <a:gd name="T34" fmla="*/ 6588889 w 83"/>
                  <a:gd name="T35" fmla="*/ 1714725 h 60"/>
                  <a:gd name="T36" fmla="*/ 6355821 w 83"/>
                  <a:gd name="T37" fmla="*/ 1860294 h 60"/>
                  <a:gd name="T38" fmla="*/ 5093663 w 83"/>
                  <a:gd name="T39" fmla="*/ 2081666 h 60"/>
                  <a:gd name="T40" fmla="*/ 5018923 w 83"/>
                  <a:gd name="T41" fmla="*/ 2629832 h 60"/>
                  <a:gd name="T42" fmla="*/ 4595148 w 83"/>
                  <a:gd name="T43" fmla="*/ 2701317 h 60"/>
                  <a:gd name="T44" fmla="*/ 4595148 w 83"/>
                  <a:gd name="T45" fmla="*/ 3221837 h 60"/>
                  <a:gd name="T46" fmla="*/ 4279938 w 83"/>
                  <a:gd name="T47" fmla="*/ 3293069 h 60"/>
                  <a:gd name="T48" fmla="*/ 3953605 w 83"/>
                  <a:gd name="T49" fmla="*/ 4126770 h 60"/>
                  <a:gd name="T50" fmla="*/ 3721447 w 83"/>
                  <a:gd name="T51" fmla="*/ 4489415 h 60"/>
                  <a:gd name="T52" fmla="*/ 2710644 w 83"/>
                  <a:gd name="T53" fmla="*/ 3978801 h 60"/>
                  <a:gd name="T54" fmla="*/ 1916143 w 83"/>
                  <a:gd name="T55" fmla="*/ 3458029 h 60"/>
                  <a:gd name="T56" fmla="*/ 3255225 w 83"/>
                  <a:gd name="T57" fmla="*/ 3221837 h 60"/>
                  <a:gd name="T58" fmla="*/ 3255225 w 83"/>
                  <a:gd name="T59" fmla="*/ 2856118 h 60"/>
                  <a:gd name="T60" fmla="*/ 1838572 w 83"/>
                  <a:gd name="T61" fmla="*/ 2928301 h 60"/>
                  <a:gd name="T62" fmla="*/ 1838572 w 83"/>
                  <a:gd name="T63" fmla="*/ 2701317 h 60"/>
                  <a:gd name="T64" fmla="*/ 2710644 w 83"/>
                  <a:gd name="T65" fmla="*/ 2483170 h 60"/>
                  <a:gd name="T66" fmla="*/ 3328780 w 83"/>
                  <a:gd name="T67" fmla="*/ 2335467 h 60"/>
                  <a:gd name="T68" fmla="*/ 3721447 w 83"/>
                  <a:gd name="T69" fmla="*/ 2335467 h 60"/>
                  <a:gd name="T70" fmla="*/ 3560681 w 83"/>
                  <a:gd name="T71" fmla="*/ 2008277 h 60"/>
                  <a:gd name="T72" fmla="*/ 2945333 w 83"/>
                  <a:gd name="T73" fmla="*/ 1935833 h 60"/>
                  <a:gd name="T74" fmla="*/ 2785236 w 83"/>
                  <a:gd name="T75" fmla="*/ 1714725 h 60"/>
                  <a:gd name="T76" fmla="*/ 2308543 w 83"/>
                  <a:gd name="T77" fmla="*/ 1788098 h 60"/>
                  <a:gd name="T78" fmla="*/ 2231396 w 83"/>
                  <a:gd name="T79" fmla="*/ 2081666 h 60"/>
                  <a:gd name="T80" fmla="*/ 1569835 w 83"/>
                  <a:gd name="T81" fmla="*/ 2261914 h 60"/>
                  <a:gd name="T82" fmla="*/ 1177731 w 83"/>
                  <a:gd name="T83" fmla="*/ 2153842 h 60"/>
                  <a:gd name="T84" fmla="*/ 544646 w 83"/>
                  <a:gd name="T85" fmla="*/ 1632927 h 60"/>
                  <a:gd name="T86" fmla="*/ 869102 w 83"/>
                  <a:gd name="T87" fmla="*/ 1487497 h 60"/>
                  <a:gd name="T88" fmla="*/ 623169 w 83"/>
                  <a:gd name="T89" fmla="*/ 1121610 h 60"/>
                  <a:gd name="T90" fmla="*/ 231065 w 83"/>
                  <a:gd name="T91" fmla="*/ 1193941 h 60"/>
                  <a:gd name="T92" fmla="*/ 0 w 83"/>
                  <a:gd name="T93" fmla="*/ 511850 h 6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83" h="60">
                    <a:moveTo>
                      <a:pt x="0" y="7"/>
                    </a:moveTo>
                    <a:cubicBezTo>
                      <a:pt x="0" y="6"/>
                      <a:pt x="4" y="5"/>
                      <a:pt x="6" y="5"/>
                    </a:cubicBezTo>
                    <a:cubicBezTo>
                      <a:pt x="8" y="5"/>
                      <a:pt x="13" y="6"/>
                      <a:pt x="14" y="6"/>
                    </a:cubicBezTo>
                    <a:cubicBezTo>
                      <a:pt x="16" y="6"/>
                      <a:pt x="23" y="3"/>
                      <a:pt x="24" y="4"/>
                    </a:cubicBezTo>
                    <a:cubicBezTo>
                      <a:pt x="24" y="5"/>
                      <a:pt x="20" y="8"/>
                      <a:pt x="20" y="9"/>
                    </a:cubicBezTo>
                    <a:cubicBezTo>
                      <a:pt x="19" y="11"/>
                      <a:pt x="22" y="13"/>
                      <a:pt x="24" y="13"/>
                    </a:cubicBezTo>
                    <a:cubicBezTo>
                      <a:pt x="26" y="13"/>
                      <a:pt x="28" y="6"/>
                      <a:pt x="29" y="6"/>
                    </a:cubicBezTo>
                    <a:cubicBezTo>
                      <a:pt x="30" y="5"/>
                      <a:pt x="34" y="10"/>
                      <a:pt x="35" y="11"/>
                    </a:cubicBezTo>
                    <a:cubicBezTo>
                      <a:pt x="36" y="13"/>
                      <a:pt x="42" y="20"/>
                      <a:pt x="43" y="20"/>
                    </a:cubicBezTo>
                    <a:cubicBezTo>
                      <a:pt x="45" y="20"/>
                      <a:pt x="38" y="5"/>
                      <a:pt x="39" y="4"/>
                    </a:cubicBezTo>
                    <a:cubicBezTo>
                      <a:pt x="40" y="3"/>
                      <a:pt x="42" y="0"/>
                      <a:pt x="44" y="1"/>
                    </a:cubicBezTo>
                    <a:cubicBezTo>
                      <a:pt x="45" y="2"/>
                      <a:pt x="53" y="6"/>
                      <a:pt x="53" y="7"/>
                    </a:cubicBezTo>
                    <a:cubicBezTo>
                      <a:pt x="53" y="8"/>
                      <a:pt x="53" y="14"/>
                      <a:pt x="53" y="14"/>
                    </a:cubicBezTo>
                    <a:cubicBezTo>
                      <a:pt x="54" y="14"/>
                      <a:pt x="59" y="10"/>
                      <a:pt x="60" y="11"/>
                    </a:cubicBezTo>
                    <a:cubicBezTo>
                      <a:pt x="60" y="11"/>
                      <a:pt x="62" y="16"/>
                      <a:pt x="63" y="17"/>
                    </a:cubicBezTo>
                    <a:cubicBezTo>
                      <a:pt x="64" y="17"/>
                      <a:pt x="67" y="15"/>
                      <a:pt x="68" y="16"/>
                    </a:cubicBezTo>
                    <a:cubicBezTo>
                      <a:pt x="70" y="16"/>
                      <a:pt x="76" y="20"/>
                      <a:pt x="78" y="20"/>
                    </a:cubicBezTo>
                    <a:cubicBezTo>
                      <a:pt x="79" y="20"/>
                      <a:pt x="83" y="22"/>
                      <a:pt x="83" y="23"/>
                    </a:cubicBezTo>
                    <a:cubicBezTo>
                      <a:pt x="83" y="24"/>
                      <a:pt x="80" y="25"/>
                      <a:pt x="80" y="25"/>
                    </a:cubicBezTo>
                    <a:cubicBezTo>
                      <a:pt x="79" y="26"/>
                      <a:pt x="66" y="27"/>
                      <a:pt x="64" y="28"/>
                    </a:cubicBezTo>
                    <a:cubicBezTo>
                      <a:pt x="63" y="29"/>
                      <a:pt x="64" y="34"/>
                      <a:pt x="63" y="35"/>
                    </a:cubicBezTo>
                    <a:cubicBezTo>
                      <a:pt x="63" y="36"/>
                      <a:pt x="58" y="34"/>
                      <a:pt x="58" y="36"/>
                    </a:cubicBezTo>
                    <a:cubicBezTo>
                      <a:pt x="58" y="37"/>
                      <a:pt x="58" y="42"/>
                      <a:pt x="58" y="43"/>
                    </a:cubicBezTo>
                    <a:cubicBezTo>
                      <a:pt x="57" y="44"/>
                      <a:pt x="54" y="44"/>
                      <a:pt x="54" y="44"/>
                    </a:cubicBezTo>
                    <a:cubicBezTo>
                      <a:pt x="53" y="45"/>
                      <a:pt x="50" y="54"/>
                      <a:pt x="50" y="55"/>
                    </a:cubicBezTo>
                    <a:cubicBezTo>
                      <a:pt x="50" y="56"/>
                      <a:pt x="50" y="60"/>
                      <a:pt x="47" y="60"/>
                    </a:cubicBezTo>
                    <a:cubicBezTo>
                      <a:pt x="43" y="59"/>
                      <a:pt x="37" y="54"/>
                      <a:pt x="34" y="53"/>
                    </a:cubicBezTo>
                    <a:cubicBezTo>
                      <a:pt x="32" y="51"/>
                      <a:pt x="24" y="48"/>
                      <a:pt x="24" y="46"/>
                    </a:cubicBezTo>
                    <a:cubicBezTo>
                      <a:pt x="25" y="45"/>
                      <a:pt x="40" y="43"/>
                      <a:pt x="41" y="43"/>
                    </a:cubicBezTo>
                    <a:cubicBezTo>
                      <a:pt x="42" y="43"/>
                      <a:pt x="41" y="39"/>
                      <a:pt x="41" y="38"/>
                    </a:cubicBezTo>
                    <a:cubicBezTo>
                      <a:pt x="41" y="37"/>
                      <a:pt x="24" y="39"/>
                      <a:pt x="23" y="39"/>
                    </a:cubicBezTo>
                    <a:cubicBezTo>
                      <a:pt x="23" y="40"/>
                      <a:pt x="22" y="36"/>
                      <a:pt x="23" y="36"/>
                    </a:cubicBezTo>
                    <a:cubicBezTo>
                      <a:pt x="24" y="35"/>
                      <a:pt x="33" y="35"/>
                      <a:pt x="34" y="33"/>
                    </a:cubicBezTo>
                    <a:cubicBezTo>
                      <a:pt x="36" y="32"/>
                      <a:pt x="40" y="31"/>
                      <a:pt x="42" y="31"/>
                    </a:cubicBezTo>
                    <a:cubicBezTo>
                      <a:pt x="44" y="31"/>
                      <a:pt x="47" y="31"/>
                      <a:pt x="47" y="31"/>
                    </a:cubicBezTo>
                    <a:cubicBezTo>
                      <a:pt x="48" y="30"/>
                      <a:pt x="45" y="28"/>
                      <a:pt x="45" y="27"/>
                    </a:cubicBezTo>
                    <a:cubicBezTo>
                      <a:pt x="45" y="25"/>
                      <a:pt x="38" y="27"/>
                      <a:pt x="37" y="26"/>
                    </a:cubicBezTo>
                    <a:cubicBezTo>
                      <a:pt x="36" y="24"/>
                      <a:pt x="35" y="24"/>
                      <a:pt x="35" y="23"/>
                    </a:cubicBezTo>
                    <a:cubicBezTo>
                      <a:pt x="35" y="22"/>
                      <a:pt x="30" y="24"/>
                      <a:pt x="29" y="24"/>
                    </a:cubicBezTo>
                    <a:cubicBezTo>
                      <a:pt x="28" y="24"/>
                      <a:pt x="28" y="28"/>
                      <a:pt x="28" y="28"/>
                    </a:cubicBezTo>
                    <a:cubicBezTo>
                      <a:pt x="27" y="29"/>
                      <a:pt x="22" y="30"/>
                      <a:pt x="20" y="30"/>
                    </a:cubicBezTo>
                    <a:cubicBezTo>
                      <a:pt x="18" y="30"/>
                      <a:pt x="17" y="31"/>
                      <a:pt x="15" y="29"/>
                    </a:cubicBezTo>
                    <a:cubicBezTo>
                      <a:pt x="13" y="28"/>
                      <a:pt x="7" y="23"/>
                      <a:pt x="7" y="22"/>
                    </a:cubicBezTo>
                    <a:cubicBezTo>
                      <a:pt x="6" y="20"/>
                      <a:pt x="11" y="21"/>
                      <a:pt x="11" y="20"/>
                    </a:cubicBezTo>
                    <a:cubicBezTo>
                      <a:pt x="11" y="19"/>
                      <a:pt x="9" y="16"/>
                      <a:pt x="8" y="15"/>
                    </a:cubicBezTo>
                    <a:cubicBezTo>
                      <a:pt x="8" y="14"/>
                      <a:pt x="4" y="18"/>
                      <a:pt x="3" y="16"/>
                    </a:cubicBezTo>
                    <a:cubicBezTo>
                      <a:pt x="2" y="15"/>
                      <a:pt x="0" y="9"/>
                      <a:pt x="0" y="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2" name="Freeform 163"/>
              <p:cNvSpPr>
                <a:spLocks/>
              </p:cNvSpPr>
              <p:nvPr/>
            </p:nvSpPr>
            <p:spPr bwMode="auto">
              <a:xfrm>
                <a:off x="2792" y="1216"/>
                <a:ext cx="407" cy="330"/>
              </a:xfrm>
              <a:custGeom>
                <a:avLst/>
                <a:gdLst>
                  <a:gd name="T0" fmla="*/ 309423 w 201"/>
                  <a:gd name="T1" fmla="*/ 11797186 h 163"/>
                  <a:gd name="T2" fmla="*/ 75467 w 201"/>
                  <a:gd name="T3" fmla="*/ 10588676 h 163"/>
                  <a:gd name="T4" fmla="*/ 75467 w 201"/>
                  <a:gd name="T5" fmla="*/ 10107949 h 163"/>
                  <a:gd name="T6" fmla="*/ 152811 w 201"/>
                  <a:gd name="T7" fmla="*/ 9330938 h 163"/>
                  <a:gd name="T8" fmla="*/ 1030192 w 201"/>
                  <a:gd name="T9" fmla="*/ 8533905 h 163"/>
                  <a:gd name="T10" fmla="*/ 1577259 w 201"/>
                  <a:gd name="T11" fmla="*/ 8293210 h 163"/>
                  <a:gd name="T12" fmla="*/ 2165390 w 201"/>
                  <a:gd name="T13" fmla="*/ 7719662 h 163"/>
                  <a:gd name="T14" fmla="*/ 2721583 w 201"/>
                  <a:gd name="T15" fmla="*/ 8028147 h 163"/>
                  <a:gd name="T16" fmla="*/ 3662864 w 201"/>
                  <a:gd name="T17" fmla="*/ 6923501 h 163"/>
                  <a:gd name="T18" fmla="*/ 3894668 w 201"/>
                  <a:gd name="T19" fmla="*/ 6604306 h 163"/>
                  <a:gd name="T20" fmla="*/ 4301105 w 201"/>
                  <a:gd name="T21" fmla="*/ 6448251 h 163"/>
                  <a:gd name="T22" fmla="*/ 4617478 w 201"/>
                  <a:gd name="T23" fmla="*/ 5674014 h 163"/>
                  <a:gd name="T24" fmla="*/ 5201709 w 201"/>
                  <a:gd name="T25" fmla="*/ 5424329 h 163"/>
                  <a:gd name="T26" fmla="*/ 4889969 w 201"/>
                  <a:gd name="T27" fmla="*/ 4955756 h 163"/>
                  <a:gd name="T28" fmla="*/ 5839869 w 201"/>
                  <a:gd name="T29" fmla="*/ 4138143 h 163"/>
                  <a:gd name="T30" fmla="*/ 6860667 w 201"/>
                  <a:gd name="T31" fmla="*/ 3110760 h 163"/>
                  <a:gd name="T32" fmla="*/ 5359141 w 201"/>
                  <a:gd name="T33" fmla="*/ 3342246 h 163"/>
                  <a:gd name="T34" fmla="*/ 5510867 w 201"/>
                  <a:gd name="T35" fmla="*/ 2878232 h 163"/>
                  <a:gd name="T36" fmla="*/ 6156373 w 201"/>
                  <a:gd name="T37" fmla="*/ 2313419 h 163"/>
                  <a:gd name="T38" fmla="*/ 6936400 w 201"/>
                  <a:gd name="T39" fmla="*/ 2485050 h 163"/>
                  <a:gd name="T40" fmla="*/ 7657883 w 201"/>
                  <a:gd name="T41" fmla="*/ 2238190 h 163"/>
                  <a:gd name="T42" fmla="*/ 8080592 w 201"/>
                  <a:gd name="T43" fmla="*/ 1499188 h 163"/>
                  <a:gd name="T44" fmla="*/ 9274335 w 201"/>
                  <a:gd name="T45" fmla="*/ 1028416 h 163"/>
                  <a:gd name="T46" fmla="*/ 9901579 w 201"/>
                  <a:gd name="T47" fmla="*/ 1421672 h 163"/>
                  <a:gd name="T48" fmla="*/ 10532814 w 201"/>
                  <a:gd name="T49" fmla="*/ 1499188 h 163"/>
                  <a:gd name="T50" fmla="*/ 10927164 w 201"/>
                  <a:gd name="T51" fmla="*/ 948523 h 163"/>
                  <a:gd name="T52" fmla="*/ 11358082 w 201"/>
                  <a:gd name="T53" fmla="*/ 546065 h 163"/>
                  <a:gd name="T54" fmla="*/ 12071774 w 201"/>
                  <a:gd name="T55" fmla="*/ 309030 h 163"/>
                  <a:gd name="T56" fmla="*/ 12850507 w 201"/>
                  <a:gd name="T57" fmla="*/ 0 h 163"/>
                  <a:gd name="T58" fmla="*/ 12313619 w 201"/>
                  <a:gd name="T59" fmla="*/ 1180106 h 163"/>
                  <a:gd name="T60" fmla="*/ 13321958 w 201"/>
                  <a:gd name="T61" fmla="*/ 152642 h 163"/>
                  <a:gd name="T62" fmla="*/ 13891997 w 201"/>
                  <a:gd name="T63" fmla="*/ 383828 h 163"/>
                  <a:gd name="T64" fmla="*/ 14352015 w 201"/>
                  <a:gd name="T65" fmla="*/ 152642 h 163"/>
                  <a:gd name="T66" fmla="*/ 14861874 w 201"/>
                  <a:gd name="T67" fmla="*/ 383828 h 163"/>
                  <a:gd name="T68" fmla="*/ 15968611 w 201"/>
                  <a:gd name="T69" fmla="*/ 948523 h 163"/>
                  <a:gd name="T70" fmla="*/ 14633505 w 201"/>
                  <a:gd name="T71" fmla="*/ 1105530 h 163"/>
                  <a:gd name="T72" fmla="*/ 15506261 w 201"/>
                  <a:gd name="T73" fmla="*/ 1499188 h 163"/>
                  <a:gd name="T74" fmla="*/ 15431806 w 201"/>
                  <a:gd name="T75" fmla="*/ 2004979 h 163"/>
                  <a:gd name="T76" fmla="*/ 14709029 w 201"/>
                  <a:gd name="T77" fmla="*/ 2485050 h 163"/>
                  <a:gd name="T78" fmla="*/ 14633505 w 201"/>
                  <a:gd name="T79" fmla="*/ 1920323 h 163"/>
                  <a:gd name="T80" fmla="*/ 13814789 w 201"/>
                  <a:gd name="T81" fmla="*/ 1421672 h 163"/>
                  <a:gd name="T82" fmla="*/ 12774724 w 201"/>
                  <a:gd name="T83" fmla="*/ 2238190 h 163"/>
                  <a:gd name="T84" fmla="*/ 11668129 w 201"/>
                  <a:gd name="T85" fmla="*/ 2564365 h 163"/>
                  <a:gd name="T86" fmla="*/ 9976674 w 201"/>
                  <a:gd name="T87" fmla="*/ 2082069 h 163"/>
                  <a:gd name="T88" fmla="*/ 9507320 w 201"/>
                  <a:gd name="T89" fmla="*/ 2313419 h 163"/>
                  <a:gd name="T90" fmla="*/ 8241977 w 201"/>
                  <a:gd name="T91" fmla="*/ 2878232 h 163"/>
                  <a:gd name="T92" fmla="*/ 7582953 w 201"/>
                  <a:gd name="T93" fmla="*/ 3342246 h 163"/>
                  <a:gd name="T94" fmla="*/ 7087850 w 201"/>
                  <a:gd name="T95" fmla="*/ 4377535 h 163"/>
                  <a:gd name="T96" fmla="*/ 6004647 w 201"/>
                  <a:gd name="T97" fmla="*/ 5424329 h 163"/>
                  <a:gd name="T98" fmla="*/ 5359141 w 201"/>
                  <a:gd name="T99" fmla="*/ 6681883 h 163"/>
                  <a:gd name="T100" fmla="*/ 5510867 w 201"/>
                  <a:gd name="T101" fmla="*/ 7561851 h 163"/>
                  <a:gd name="T102" fmla="*/ 4464675 w 201"/>
                  <a:gd name="T103" fmla="*/ 7946343 h 163"/>
                  <a:gd name="T104" fmla="*/ 4889969 w 201"/>
                  <a:gd name="T105" fmla="*/ 9952950 h 163"/>
                  <a:gd name="T106" fmla="*/ 4695261 w 201"/>
                  <a:gd name="T107" fmla="*/ 10981770 h 163"/>
                  <a:gd name="T108" fmla="*/ 4223913 w 201"/>
                  <a:gd name="T109" fmla="*/ 12047134 h 163"/>
                  <a:gd name="T110" fmla="*/ 3744898 w 201"/>
                  <a:gd name="T111" fmla="*/ 11797186 h 163"/>
                  <a:gd name="T112" fmla="*/ 3425593 w 201"/>
                  <a:gd name="T113" fmla="*/ 11213191 h 163"/>
                  <a:gd name="T114" fmla="*/ 2721583 w 201"/>
                  <a:gd name="T115" fmla="*/ 12366096 h 163"/>
                  <a:gd name="T116" fmla="*/ 469111 w 201"/>
                  <a:gd name="T117" fmla="*/ 12440423 h 16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01" h="163">
                    <a:moveTo>
                      <a:pt x="11" y="148"/>
                    </a:moveTo>
                    <a:cubicBezTo>
                      <a:pt x="10" y="147"/>
                      <a:pt x="6" y="150"/>
                      <a:pt x="4" y="148"/>
                    </a:cubicBezTo>
                    <a:cubicBezTo>
                      <a:pt x="3" y="147"/>
                      <a:pt x="4" y="142"/>
                      <a:pt x="4" y="141"/>
                    </a:cubicBezTo>
                    <a:cubicBezTo>
                      <a:pt x="3" y="139"/>
                      <a:pt x="1" y="134"/>
                      <a:pt x="1" y="133"/>
                    </a:cubicBezTo>
                    <a:cubicBezTo>
                      <a:pt x="4" y="131"/>
                      <a:pt x="22" y="131"/>
                      <a:pt x="21" y="127"/>
                    </a:cubicBezTo>
                    <a:cubicBezTo>
                      <a:pt x="20" y="124"/>
                      <a:pt x="2" y="128"/>
                      <a:pt x="1" y="127"/>
                    </a:cubicBezTo>
                    <a:cubicBezTo>
                      <a:pt x="0" y="126"/>
                      <a:pt x="1" y="123"/>
                      <a:pt x="2" y="123"/>
                    </a:cubicBezTo>
                    <a:cubicBezTo>
                      <a:pt x="3" y="122"/>
                      <a:pt x="1" y="119"/>
                      <a:pt x="2" y="117"/>
                    </a:cubicBezTo>
                    <a:cubicBezTo>
                      <a:pt x="4" y="116"/>
                      <a:pt x="6" y="113"/>
                      <a:pt x="8" y="113"/>
                    </a:cubicBezTo>
                    <a:cubicBezTo>
                      <a:pt x="10" y="113"/>
                      <a:pt x="12" y="107"/>
                      <a:pt x="13" y="107"/>
                    </a:cubicBezTo>
                    <a:cubicBezTo>
                      <a:pt x="14" y="106"/>
                      <a:pt x="19" y="110"/>
                      <a:pt x="20" y="109"/>
                    </a:cubicBezTo>
                    <a:cubicBezTo>
                      <a:pt x="22" y="109"/>
                      <a:pt x="18" y="104"/>
                      <a:pt x="20" y="104"/>
                    </a:cubicBezTo>
                    <a:cubicBezTo>
                      <a:pt x="21" y="103"/>
                      <a:pt x="24" y="102"/>
                      <a:pt x="26" y="101"/>
                    </a:cubicBezTo>
                    <a:cubicBezTo>
                      <a:pt x="28" y="101"/>
                      <a:pt x="25" y="98"/>
                      <a:pt x="27" y="97"/>
                    </a:cubicBezTo>
                    <a:cubicBezTo>
                      <a:pt x="29" y="96"/>
                      <a:pt x="30" y="96"/>
                      <a:pt x="32" y="96"/>
                    </a:cubicBezTo>
                    <a:cubicBezTo>
                      <a:pt x="33" y="96"/>
                      <a:pt x="33" y="102"/>
                      <a:pt x="34" y="101"/>
                    </a:cubicBezTo>
                    <a:cubicBezTo>
                      <a:pt x="36" y="100"/>
                      <a:pt x="37" y="97"/>
                      <a:pt x="37" y="95"/>
                    </a:cubicBezTo>
                    <a:cubicBezTo>
                      <a:pt x="38" y="94"/>
                      <a:pt x="45" y="87"/>
                      <a:pt x="46" y="87"/>
                    </a:cubicBezTo>
                    <a:cubicBezTo>
                      <a:pt x="46" y="87"/>
                      <a:pt x="48" y="90"/>
                      <a:pt x="50" y="89"/>
                    </a:cubicBezTo>
                    <a:cubicBezTo>
                      <a:pt x="51" y="88"/>
                      <a:pt x="50" y="84"/>
                      <a:pt x="49" y="83"/>
                    </a:cubicBezTo>
                    <a:cubicBezTo>
                      <a:pt x="48" y="82"/>
                      <a:pt x="45" y="81"/>
                      <a:pt x="46" y="81"/>
                    </a:cubicBezTo>
                    <a:cubicBezTo>
                      <a:pt x="46" y="80"/>
                      <a:pt x="52" y="82"/>
                      <a:pt x="54" y="81"/>
                    </a:cubicBezTo>
                    <a:cubicBezTo>
                      <a:pt x="55" y="80"/>
                      <a:pt x="56" y="77"/>
                      <a:pt x="56" y="76"/>
                    </a:cubicBezTo>
                    <a:cubicBezTo>
                      <a:pt x="57" y="75"/>
                      <a:pt x="59" y="72"/>
                      <a:pt x="58" y="71"/>
                    </a:cubicBezTo>
                    <a:cubicBezTo>
                      <a:pt x="57" y="70"/>
                      <a:pt x="56" y="68"/>
                      <a:pt x="57" y="67"/>
                    </a:cubicBezTo>
                    <a:cubicBezTo>
                      <a:pt x="58" y="67"/>
                      <a:pt x="64" y="68"/>
                      <a:pt x="65" y="68"/>
                    </a:cubicBezTo>
                    <a:cubicBezTo>
                      <a:pt x="67" y="67"/>
                      <a:pt x="68" y="66"/>
                      <a:pt x="68" y="65"/>
                    </a:cubicBezTo>
                    <a:cubicBezTo>
                      <a:pt x="69" y="63"/>
                      <a:pt x="61" y="64"/>
                      <a:pt x="61" y="62"/>
                    </a:cubicBezTo>
                    <a:cubicBezTo>
                      <a:pt x="61" y="60"/>
                      <a:pt x="64" y="58"/>
                      <a:pt x="64" y="58"/>
                    </a:cubicBezTo>
                    <a:cubicBezTo>
                      <a:pt x="66" y="56"/>
                      <a:pt x="72" y="54"/>
                      <a:pt x="73" y="52"/>
                    </a:cubicBezTo>
                    <a:cubicBezTo>
                      <a:pt x="75" y="50"/>
                      <a:pt x="75" y="46"/>
                      <a:pt x="77" y="45"/>
                    </a:cubicBezTo>
                    <a:cubicBezTo>
                      <a:pt x="78" y="44"/>
                      <a:pt x="87" y="41"/>
                      <a:pt x="86" y="39"/>
                    </a:cubicBezTo>
                    <a:cubicBezTo>
                      <a:pt x="86" y="38"/>
                      <a:pt x="81" y="37"/>
                      <a:pt x="79" y="38"/>
                    </a:cubicBezTo>
                    <a:cubicBezTo>
                      <a:pt x="77" y="38"/>
                      <a:pt x="69" y="41"/>
                      <a:pt x="67" y="42"/>
                    </a:cubicBezTo>
                    <a:cubicBezTo>
                      <a:pt x="64" y="42"/>
                      <a:pt x="60" y="46"/>
                      <a:pt x="60" y="45"/>
                    </a:cubicBezTo>
                    <a:cubicBezTo>
                      <a:pt x="60" y="44"/>
                      <a:pt x="66" y="36"/>
                      <a:pt x="69" y="36"/>
                    </a:cubicBezTo>
                    <a:cubicBezTo>
                      <a:pt x="72" y="36"/>
                      <a:pt x="73" y="35"/>
                      <a:pt x="74" y="34"/>
                    </a:cubicBezTo>
                    <a:cubicBezTo>
                      <a:pt x="76" y="33"/>
                      <a:pt x="77" y="29"/>
                      <a:pt x="77" y="29"/>
                    </a:cubicBezTo>
                    <a:cubicBezTo>
                      <a:pt x="78" y="28"/>
                      <a:pt x="85" y="25"/>
                      <a:pt x="86" y="25"/>
                    </a:cubicBezTo>
                    <a:cubicBezTo>
                      <a:pt x="87" y="25"/>
                      <a:pt x="85" y="30"/>
                      <a:pt x="87" y="31"/>
                    </a:cubicBezTo>
                    <a:cubicBezTo>
                      <a:pt x="88" y="31"/>
                      <a:pt x="91" y="33"/>
                      <a:pt x="93" y="32"/>
                    </a:cubicBezTo>
                    <a:cubicBezTo>
                      <a:pt x="95" y="30"/>
                      <a:pt x="97" y="29"/>
                      <a:pt x="96" y="28"/>
                    </a:cubicBezTo>
                    <a:cubicBezTo>
                      <a:pt x="96" y="27"/>
                      <a:pt x="93" y="24"/>
                      <a:pt x="93" y="23"/>
                    </a:cubicBezTo>
                    <a:cubicBezTo>
                      <a:pt x="94" y="23"/>
                      <a:pt x="99" y="22"/>
                      <a:pt x="101" y="19"/>
                    </a:cubicBezTo>
                    <a:cubicBezTo>
                      <a:pt x="103" y="18"/>
                      <a:pt x="105" y="14"/>
                      <a:pt x="107" y="13"/>
                    </a:cubicBezTo>
                    <a:cubicBezTo>
                      <a:pt x="110" y="12"/>
                      <a:pt x="114" y="13"/>
                      <a:pt x="116" y="13"/>
                    </a:cubicBezTo>
                    <a:cubicBezTo>
                      <a:pt x="118" y="13"/>
                      <a:pt x="121" y="12"/>
                      <a:pt x="122" y="13"/>
                    </a:cubicBezTo>
                    <a:cubicBezTo>
                      <a:pt x="123" y="13"/>
                      <a:pt x="122" y="18"/>
                      <a:pt x="124" y="18"/>
                    </a:cubicBezTo>
                    <a:cubicBezTo>
                      <a:pt x="127" y="18"/>
                      <a:pt x="128" y="15"/>
                      <a:pt x="128" y="15"/>
                    </a:cubicBezTo>
                    <a:cubicBezTo>
                      <a:pt x="128" y="16"/>
                      <a:pt x="130" y="19"/>
                      <a:pt x="132" y="19"/>
                    </a:cubicBezTo>
                    <a:cubicBezTo>
                      <a:pt x="133" y="19"/>
                      <a:pt x="130" y="12"/>
                      <a:pt x="132" y="11"/>
                    </a:cubicBezTo>
                    <a:cubicBezTo>
                      <a:pt x="133" y="10"/>
                      <a:pt x="136" y="10"/>
                      <a:pt x="137" y="12"/>
                    </a:cubicBezTo>
                    <a:cubicBezTo>
                      <a:pt x="139" y="14"/>
                      <a:pt x="139" y="16"/>
                      <a:pt x="140" y="16"/>
                    </a:cubicBezTo>
                    <a:cubicBezTo>
                      <a:pt x="142" y="16"/>
                      <a:pt x="141" y="8"/>
                      <a:pt x="142" y="7"/>
                    </a:cubicBezTo>
                    <a:cubicBezTo>
                      <a:pt x="143" y="7"/>
                      <a:pt x="145" y="6"/>
                      <a:pt x="147" y="6"/>
                    </a:cubicBezTo>
                    <a:cubicBezTo>
                      <a:pt x="149" y="6"/>
                      <a:pt x="151" y="5"/>
                      <a:pt x="151" y="4"/>
                    </a:cubicBezTo>
                    <a:cubicBezTo>
                      <a:pt x="152" y="2"/>
                      <a:pt x="154" y="2"/>
                      <a:pt x="155" y="1"/>
                    </a:cubicBezTo>
                    <a:cubicBezTo>
                      <a:pt x="156" y="1"/>
                      <a:pt x="160" y="0"/>
                      <a:pt x="161" y="0"/>
                    </a:cubicBezTo>
                    <a:cubicBezTo>
                      <a:pt x="162" y="1"/>
                      <a:pt x="159" y="5"/>
                      <a:pt x="157" y="6"/>
                    </a:cubicBezTo>
                    <a:cubicBezTo>
                      <a:pt x="156" y="7"/>
                      <a:pt x="153" y="14"/>
                      <a:pt x="154" y="15"/>
                    </a:cubicBezTo>
                    <a:cubicBezTo>
                      <a:pt x="154" y="15"/>
                      <a:pt x="159" y="13"/>
                      <a:pt x="160" y="11"/>
                    </a:cubicBezTo>
                    <a:cubicBezTo>
                      <a:pt x="161" y="9"/>
                      <a:pt x="166" y="2"/>
                      <a:pt x="167" y="2"/>
                    </a:cubicBezTo>
                    <a:cubicBezTo>
                      <a:pt x="168" y="2"/>
                      <a:pt x="167" y="11"/>
                      <a:pt x="168" y="11"/>
                    </a:cubicBezTo>
                    <a:cubicBezTo>
                      <a:pt x="169" y="11"/>
                      <a:pt x="173" y="6"/>
                      <a:pt x="174" y="5"/>
                    </a:cubicBezTo>
                    <a:cubicBezTo>
                      <a:pt x="175" y="4"/>
                      <a:pt x="174" y="1"/>
                      <a:pt x="175" y="1"/>
                    </a:cubicBezTo>
                    <a:cubicBezTo>
                      <a:pt x="176" y="1"/>
                      <a:pt x="179" y="1"/>
                      <a:pt x="180" y="2"/>
                    </a:cubicBezTo>
                    <a:cubicBezTo>
                      <a:pt x="181" y="3"/>
                      <a:pt x="178" y="9"/>
                      <a:pt x="180" y="9"/>
                    </a:cubicBezTo>
                    <a:cubicBezTo>
                      <a:pt x="182" y="9"/>
                      <a:pt x="184" y="4"/>
                      <a:pt x="186" y="5"/>
                    </a:cubicBezTo>
                    <a:cubicBezTo>
                      <a:pt x="189" y="6"/>
                      <a:pt x="197" y="8"/>
                      <a:pt x="199" y="9"/>
                    </a:cubicBezTo>
                    <a:cubicBezTo>
                      <a:pt x="200" y="11"/>
                      <a:pt x="201" y="12"/>
                      <a:pt x="200" y="12"/>
                    </a:cubicBezTo>
                    <a:cubicBezTo>
                      <a:pt x="199" y="13"/>
                      <a:pt x="193" y="14"/>
                      <a:pt x="191" y="14"/>
                    </a:cubicBezTo>
                    <a:cubicBezTo>
                      <a:pt x="189" y="14"/>
                      <a:pt x="183" y="13"/>
                      <a:pt x="183" y="14"/>
                    </a:cubicBezTo>
                    <a:cubicBezTo>
                      <a:pt x="182" y="15"/>
                      <a:pt x="181" y="16"/>
                      <a:pt x="184" y="17"/>
                    </a:cubicBezTo>
                    <a:cubicBezTo>
                      <a:pt x="186" y="18"/>
                      <a:pt x="193" y="19"/>
                      <a:pt x="194" y="19"/>
                    </a:cubicBezTo>
                    <a:cubicBezTo>
                      <a:pt x="194" y="19"/>
                      <a:pt x="195" y="19"/>
                      <a:pt x="195" y="19"/>
                    </a:cubicBezTo>
                    <a:cubicBezTo>
                      <a:pt x="195" y="19"/>
                      <a:pt x="194" y="23"/>
                      <a:pt x="193" y="25"/>
                    </a:cubicBezTo>
                    <a:cubicBezTo>
                      <a:pt x="191" y="27"/>
                      <a:pt x="188" y="24"/>
                      <a:pt x="188" y="30"/>
                    </a:cubicBezTo>
                    <a:cubicBezTo>
                      <a:pt x="188" y="32"/>
                      <a:pt x="186" y="32"/>
                      <a:pt x="184" y="31"/>
                    </a:cubicBezTo>
                    <a:cubicBezTo>
                      <a:pt x="183" y="30"/>
                      <a:pt x="183" y="30"/>
                      <a:pt x="182" y="30"/>
                    </a:cubicBezTo>
                    <a:cubicBezTo>
                      <a:pt x="180" y="29"/>
                      <a:pt x="183" y="26"/>
                      <a:pt x="183" y="24"/>
                    </a:cubicBezTo>
                    <a:cubicBezTo>
                      <a:pt x="183" y="22"/>
                      <a:pt x="181" y="21"/>
                      <a:pt x="179" y="20"/>
                    </a:cubicBezTo>
                    <a:cubicBezTo>
                      <a:pt x="177" y="19"/>
                      <a:pt x="174" y="18"/>
                      <a:pt x="173" y="18"/>
                    </a:cubicBezTo>
                    <a:cubicBezTo>
                      <a:pt x="172" y="18"/>
                      <a:pt x="165" y="19"/>
                      <a:pt x="165" y="20"/>
                    </a:cubicBezTo>
                    <a:cubicBezTo>
                      <a:pt x="164" y="21"/>
                      <a:pt x="160" y="26"/>
                      <a:pt x="160" y="28"/>
                    </a:cubicBezTo>
                    <a:cubicBezTo>
                      <a:pt x="160" y="30"/>
                      <a:pt x="157" y="32"/>
                      <a:pt x="155" y="34"/>
                    </a:cubicBezTo>
                    <a:cubicBezTo>
                      <a:pt x="154" y="36"/>
                      <a:pt x="147" y="32"/>
                      <a:pt x="146" y="32"/>
                    </a:cubicBezTo>
                    <a:cubicBezTo>
                      <a:pt x="144" y="32"/>
                      <a:pt x="138" y="33"/>
                      <a:pt x="136" y="32"/>
                    </a:cubicBezTo>
                    <a:cubicBezTo>
                      <a:pt x="134" y="32"/>
                      <a:pt x="127" y="26"/>
                      <a:pt x="125" y="26"/>
                    </a:cubicBezTo>
                    <a:cubicBezTo>
                      <a:pt x="125" y="26"/>
                      <a:pt x="123" y="27"/>
                      <a:pt x="121" y="28"/>
                    </a:cubicBezTo>
                    <a:cubicBezTo>
                      <a:pt x="120" y="29"/>
                      <a:pt x="119" y="29"/>
                      <a:pt x="119" y="29"/>
                    </a:cubicBezTo>
                    <a:cubicBezTo>
                      <a:pt x="119" y="29"/>
                      <a:pt x="117" y="37"/>
                      <a:pt x="116" y="37"/>
                    </a:cubicBezTo>
                    <a:cubicBezTo>
                      <a:pt x="115" y="38"/>
                      <a:pt x="104" y="36"/>
                      <a:pt x="103" y="36"/>
                    </a:cubicBezTo>
                    <a:cubicBezTo>
                      <a:pt x="102" y="36"/>
                      <a:pt x="101" y="43"/>
                      <a:pt x="101" y="44"/>
                    </a:cubicBezTo>
                    <a:cubicBezTo>
                      <a:pt x="100" y="45"/>
                      <a:pt x="95" y="42"/>
                      <a:pt x="95" y="42"/>
                    </a:cubicBezTo>
                    <a:cubicBezTo>
                      <a:pt x="94" y="42"/>
                      <a:pt x="88" y="50"/>
                      <a:pt x="88" y="50"/>
                    </a:cubicBezTo>
                    <a:cubicBezTo>
                      <a:pt x="88" y="50"/>
                      <a:pt x="89" y="54"/>
                      <a:pt x="89" y="55"/>
                    </a:cubicBezTo>
                    <a:cubicBezTo>
                      <a:pt x="89" y="55"/>
                      <a:pt x="82" y="65"/>
                      <a:pt x="82" y="65"/>
                    </a:cubicBezTo>
                    <a:cubicBezTo>
                      <a:pt x="75" y="68"/>
                      <a:pt x="75" y="68"/>
                      <a:pt x="75" y="68"/>
                    </a:cubicBezTo>
                    <a:cubicBezTo>
                      <a:pt x="75" y="68"/>
                      <a:pt x="74" y="75"/>
                      <a:pt x="74" y="77"/>
                    </a:cubicBezTo>
                    <a:cubicBezTo>
                      <a:pt x="73" y="79"/>
                      <a:pt x="68" y="84"/>
                      <a:pt x="67" y="84"/>
                    </a:cubicBezTo>
                    <a:cubicBezTo>
                      <a:pt x="66" y="85"/>
                      <a:pt x="71" y="86"/>
                      <a:pt x="71" y="88"/>
                    </a:cubicBezTo>
                    <a:cubicBezTo>
                      <a:pt x="71" y="90"/>
                      <a:pt x="70" y="95"/>
                      <a:pt x="69" y="95"/>
                    </a:cubicBezTo>
                    <a:cubicBezTo>
                      <a:pt x="68" y="95"/>
                      <a:pt x="63" y="94"/>
                      <a:pt x="62" y="94"/>
                    </a:cubicBezTo>
                    <a:cubicBezTo>
                      <a:pt x="60" y="94"/>
                      <a:pt x="58" y="98"/>
                      <a:pt x="56" y="100"/>
                    </a:cubicBezTo>
                    <a:cubicBezTo>
                      <a:pt x="54" y="102"/>
                      <a:pt x="57" y="113"/>
                      <a:pt x="56" y="117"/>
                    </a:cubicBezTo>
                    <a:cubicBezTo>
                      <a:pt x="55" y="120"/>
                      <a:pt x="61" y="123"/>
                      <a:pt x="61" y="125"/>
                    </a:cubicBezTo>
                    <a:cubicBezTo>
                      <a:pt x="62" y="128"/>
                      <a:pt x="57" y="129"/>
                      <a:pt x="57" y="130"/>
                    </a:cubicBezTo>
                    <a:cubicBezTo>
                      <a:pt x="57" y="131"/>
                      <a:pt x="59" y="136"/>
                      <a:pt x="59" y="138"/>
                    </a:cubicBezTo>
                    <a:cubicBezTo>
                      <a:pt x="59" y="140"/>
                      <a:pt x="56" y="141"/>
                      <a:pt x="54" y="142"/>
                    </a:cubicBezTo>
                    <a:cubicBezTo>
                      <a:pt x="53" y="143"/>
                      <a:pt x="56" y="148"/>
                      <a:pt x="53" y="151"/>
                    </a:cubicBezTo>
                    <a:cubicBezTo>
                      <a:pt x="51" y="154"/>
                      <a:pt x="50" y="154"/>
                      <a:pt x="50" y="154"/>
                    </a:cubicBezTo>
                    <a:cubicBezTo>
                      <a:pt x="49" y="152"/>
                      <a:pt x="49" y="150"/>
                      <a:pt x="47" y="148"/>
                    </a:cubicBezTo>
                    <a:cubicBezTo>
                      <a:pt x="46" y="146"/>
                      <a:pt x="46" y="144"/>
                      <a:pt x="46" y="142"/>
                    </a:cubicBezTo>
                    <a:cubicBezTo>
                      <a:pt x="46" y="141"/>
                      <a:pt x="45" y="141"/>
                      <a:pt x="43" y="141"/>
                    </a:cubicBezTo>
                    <a:cubicBezTo>
                      <a:pt x="42" y="141"/>
                      <a:pt x="42" y="149"/>
                      <a:pt x="41" y="150"/>
                    </a:cubicBezTo>
                    <a:cubicBezTo>
                      <a:pt x="40" y="151"/>
                      <a:pt x="35" y="154"/>
                      <a:pt x="34" y="155"/>
                    </a:cubicBezTo>
                    <a:cubicBezTo>
                      <a:pt x="31" y="157"/>
                      <a:pt x="24" y="163"/>
                      <a:pt x="22" y="163"/>
                    </a:cubicBezTo>
                    <a:cubicBezTo>
                      <a:pt x="19" y="163"/>
                      <a:pt x="6" y="158"/>
                      <a:pt x="6" y="156"/>
                    </a:cubicBezTo>
                    <a:cubicBezTo>
                      <a:pt x="5" y="153"/>
                      <a:pt x="11" y="150"/>
                      <a:pt x="11" y="14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61" name="Freeform 164"/>
            <p:cNvSpPr>
              <a:spLocks/>
            </p:cNvSpPr>
            <p:nvPr/>
          </p:nvSpPr>
          <p:spPr bwMode="auto">
            <a:xfrm>
              <a:off x="5751431" y="3535393"/>
              <a:ext cx="82496" cy="55424"/>
            </a:xfrm>
            <a:custGeom>
              <a:avLst/>
              <a:gdLst>
                <a:gd name="T0" fmla="*/ 38539 w 29"/>
                <a:gd name="T1" fmla="*/ 4386 h 21"/>
                <a:gd name="T2" fmla="*/ 0 w 29"/>
                <a:gd name="T3" fmla="*/ 1456 h 21"/>
                <a:gd name="T4" fmla="*/ 22243 w 29"/>
                <a:gd name="T5" fmla="*/ 971 h 21"/>
                <a:gd name="T6" fmla="*/ 38539 w 29"/>
                <a:gd name="T7" fmla="*/ 0 h 21"/>
                <a:gd name="T8" fmla="*/ 87752 w 29"/>
                <a:gd name="T9" fmla="*/ 971 h 21"/>
                <a:gd name="T10" fmla="*/ 91615 w 29"/>
                <a:gd name="T11" fmla="*/ 2380 h 21"/>
                <a:gd name="T12" fmla="*/ 114417 w 29"/>
                <a:gd name="T13" fmla="*/ 2830 h 21"/>
                <a:gd name="T14" fmla="*/ 120795 w 29"/>
                <a:gd name="T15" fmla="*/ 3537 h 21"/>
                <a:gd name="T16" fmla="*/ 121768 w 29"/>
                <a:gd name="T17" fmla="*/ 5776 h 21"/>
                <a:gd name="T18" fmla="*/ 121768 w 29"/>
                <a:gd name="T19" fmla="*/ 6266 h 21"/>
                <a:gd name="T20" fmla="*/ 102226 w 29"/>
                <a:gd name="T21" fmla="*/ 6266 h 21"/>
                <a:gd name="T22" fmla="*/ 75884 w 29"/>
                <a:gd name="T23" fmla="*/ 5537 h 21"/>
                <a:gd name="T24" fmla="*/ 71491 w 29"/>
                <a:gd name="T25" fmla="*/ 4386 h 21"/>
                <a:gd name="T26" fmla="*/ 38539 w 29"/>
                <a:gd name="T27" fmla="*/ 4386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9" h="21">
                  <a:moveTo>
                    <a:pt x="9" y="15"/>
                  </a:moveTo>
                  <a:cubicBezTo>
                    <a:pt x="7" y="14"/>
                    <a:pt x="0" y="6"/>
                    <a:pt x="0" y="5"/>
                  </a:cubicBezTo>
                  <a:cubicBezTo>
                    <a:pt x="2" y="4"/>
                    <a:pt x="5" y="4"/>
                    <a:pt x="5" y="3"/>
                  </a:cubicBezTo>
                  <a:cubicBezTo>
                    <a:pt x="6" y="3"/>
                    <a:pt x="8" y="1"/>
                    <a:pt x="9" y="0"/>
                  </a:cubicBezTo>
                  <a:cubicBezTo>
                    <a:pt x="10" y="2"/>
                    <a:pt x="20" y="2"/>
                    <a:pt x="20" y="3"/>
                  </a:cubicBezTo>
                  <a:cubicBezTo>
                    <a:pt x="20" y="4"/>
                    <a:pt x="20" y="8"/>
                    <a:pt x="21" y="8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9" y="13"/>
                    <a:pt x="28" y="16"/>
                    <a:pt x="28" y="19"/>
                  </a:cubicBezTo>
                  <a:cubicBezTo>
                    <a:pt x="28" y="19"/>
                    <a:pt x="28" y="20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0" y="21"/>
                    <a:pt x="18" y="19"/>
                    <a:pt x="17" y="18"/>
                  </a:cubicBezTo>
                  <a:cubicBezTo>
                    <a:pt x="17" y="17"/>
                    <a:pt x="17" y="15"/>
                    <a:pt x="16" y="15"/>
                  </a:cubicBezTo>
                  <a:cubicBezTo>
                    <a:pt x="15" y="14"/>
                    <a:pt x="11" y="16"/>
                    <a:pt x="9" y="15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62" name="Freeform 165"/>
            <p:cNvSpPr>
              <a:spLocks/>
            </p:cNvSpPr>
            <p:nvPr/>
          </p:nvSpPr>
          <p:spPr bwMode="auto">
            <a:xfrm>
              <a:off x="5699240" y="4193095"/>
              <a:ext cx="338400" cy="243867"/>
            </a:xfrm>
            <a:custGeom>
              <a:avLst/>
              <a:gdLst>
                <a:gd name="T0" fmla="*/ 36579 w 121"/>
                <a:gd name="T1" fmla="*/ 19761 h 94"/>
                <a:gd name="T2" fmla="*/ 14558 w 121"/>
                <a:gd name="T3" fmla="*/ 18135 h 94"/>
                <a:gd name="T4" fmla="*/ 0 w 121"/>
                <a:gd name="T5" fmla="*/ 16843 h 94"/>
                <a:gd name="T6" fmla="*/ 3523 w 121"/>
                <a:gd name="T7" fmla="*/ 15291 h 94"/>
                <a:gd name="T8" fmla="*/ 24183 w 121"/>
                <a:gd name="T9" fmla="*/ 15440 h 94"/>
                <a:gd name="T10" fmla="*/ 86666 w 121"/>
                <a:gd name="T11" fmla="*/ 14884 h 94"/>
                <a:gd name="T12" fmla="*/ 100937 w 121"/>
                <a:gd name="T13" fmla="*/ 12040 h 94"/>
                <a:gd name="T14" fmla="*/ 103316 w 121"/>
                <a:gd name="T15" fmla="*/ 7982 h 94"/>
                <a:gd name="T16" fmla="*/ 143966 w 121"/>
                <a:gd name="T17" fmla="*/ 7548 h 94"/>
                <a:gd name="T18" fmla="*/ 182932 w 121"/>
                <a:gd name="T19" fmla="*/ 5089 h 94"/>
                <a:gd name="T20" fmla="*/ 296312 w 121"/>
                <a:gd name="T21" fmla="*/ 1 h 94"/>
                <a:gd name="T22" fmla="*/ 303879 w 121"/>
                <a:gd name="T23" fmla="*/ 0 h 94"/>
                <a:gd name="T24" fmla="*/ 330363 w 121"/>
                <a:gd name="T25" fmla="*/ 623 h 94"/>
                <a:gd name="T26" fmla="*/ 355772 w 121"/>
                <a:gd name="T27" fmla="*/ 1726 h 94"/>
                <a:gd name="T28" fmla="*/ 379898 w 121"/>
                <a:gd name="T29" fmla="*/ 875 h 94"/>
                <a:gd name="T30" fmla="*/ 379898 w 121"/>
                <a:gd name="T31" fmla="*/ 1726 h 94"/>
                <a:gd name="T32" fmla="*/ 382687 w 121"/>
                <a:gd name="T33" fmla="*/ 3932 h 94"/>
                <a:gd name="T34" fmla="*/ 407194 w 121"/>
                <a:gd name="T35" fmla="*/ 6082 h 94"/>
                <a:gd name="T36" fmla="*/ 397266 w 121"/>
                <a:gd name="T37" fmla="*/ 7146 h 94"/>
                <a:gd name="T38" fmla="*/ 390762 w 121"/>
                <a:gd name="T39" fmla="*/ 12040 h 94"/>
                <a:gd name="T40" fmla="*/ 342620 w 121"/>
                <a:gd name="T41" fmla="*/ 16386 h 94"/>
                <a:gd name="T42" fmla="*/ 339293 w 121"/>
                <a:gd name="T43" fmla="*/ 17795 h 94"/>
                <a:gd name="T44" fmla="*/ 305890 w 121"/>
                <a:gd name="T45" fmla="*/ 19023 h 94"/>
                <a:gd name="T46" fmla="*/ 269310 w 121"/>
                <a:gd name="T47" fmla="*/ 18585 h 94"/>
                <a:gd name="T48" fmla="*/ 242894 w 121"/>
                <a:gd name="T49" fmla="*/ 19761 h 94"/>
                <a:gd name="T50" fmla="*/ 198875 w 121"/>
                <a:gd name="T51" fmla="*/ 18585 h 94"/>
                <a:gd name="T52" fmla="*/ 171624 w 121"/>
                <a:gd name="T53" fmla="*/ 19023 h 94"/>
                <a:gd name="T54" fmla="*/ 137672 w 121"/>
                <a:gd name="T55" fmla="*/ 17795 h 94"/>
                <a:gd name="T56" fmla="*/ 100937 w 121"/>
                <a:gd name="T57" fmla="*/ 18585 h 94"/>
                <a:gd name="T58" fmla="*/ 86666 w 121"/>
                <a:gd name="T59" fmla="*/ 21472 h 94"/>
                <a:gd name="T60" fmla="*/ 66732 w 121"/>
                <a:gd name="T61" fmla="*/ 20189 h 94"/>
                <a:gd name="T62" fmla="*/ 51318 w 121"/>
                <a:gd name="T63" fmla="*/ 20544 h 94"/>
                <a:gd name="T64" fmla="*/ 36579 w 121"/>
                <a:gd name="T65" fmla="*/ 19761 h 9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1" h="94">
                  <a:moveTo>
                    <a:pt x="11" y="86"/>
                  </a:moveTo>
                  <a:cubicBezTo>
                    <a:pt x="9" y="84"/>
                    <a:pt x="5" y="81"/>
                    <a:pt x="4" y="79"/>
                  </a:cubicBezTo>
                  <a:cubicBezTo>
                    <a:pt x="2" y="77"/>
                    <a:pt x="0" y="75"/>
                    <a:pt x="0" y="73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3" y="67"/>
                    <a:pt x="6" y="68"/>
                    <a:pt x="7" y="68"/>
                  </a:cubicBezTo>
                  <a:cubicBezTo>
                    <a:pt x="8" y="68"/>
                    <a:pt x="24" y="65"/>
                    <a:pt x="26" y="65"/>
                  </a:cubicBezTo>
                  <a:cubicBezTo>
                    <a:pt x="28" y="65"/>
                    <a:pt x="30" y="55"/>
                    <a:pt x="30" y="53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52" y="24"/>
                    <a:pt x="54" y="22"/>
                  </a:cubicBezTo>
                  <a:cubicBezTo>
                    <a:pt x="55" y="20"/>
                    <a:pt x="81" y="5"/>
                    <a:pt x="88" y="1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19" y="29"/>
                    <a:pt x="118" y="31"/>
                  </a:cubicBezTo>
                  <a:cubicBezTo>
                    <a:pt x="117" y="33"/>
                    <a:pt x="117" y="52"/>
                    <a:pt x="116" y="53"/>
                  </a:cubicBezTo>
                  <a:cubicBezTo>
                    <a:pt x="116" y="54"/>
                    <a:pt x="102" y="71"/>
                    <a:pt x="102" y="72"/>
                  </a:cubicBezTo>
                  <a:cubicBezTo>
                    <a:pt x="101" y="73"/>
                    <a:pt x="102" y="77"/>
                    <a:pt x="101" y="78"/>
                  </a:cubicBezTo>
                  <a:cubicBezTo>
                    <a:pt x="100" y="79"/>
                    <a:pt x="94" y="83"/>
                    <a:pt x="91" y="83"/>
                  </a:cubicBezTo>
                  <a:cubicBezTo>
                    <a:pt x="88" y="83"/>
                    <a:pt x="82" y="81"/>
                    <a:pt x="80" y="81"/>
                  </a:cubicBezTo>
                  <a:cubicBezTo>
                    <a:pt x="78" y="81"/>
                    <a:pt x="74" y="85"/>
                    <a:pt x="72" y="86"/>
                  </a:cubicBezTo>
                  <a:cubicBezTo>
                    <a:pt x="70" y="87"/>
                    <a:pt x="61" y="82"/>
                    <a:pt x="59" y="81"/>
                  </a:cubicBezTo>
                  <a:cubicBezTo>
                    <a:pt x="57" y="80"/>
                    <a:pt x="51" y="85"/>
                    <a:pt x="51" y="83"/>
                  </a:cubicBezTo>
                  <a:cubicBezTo>
                    <a:pt x="51" y="82"/>
                    <a:pt x="44" y="77"/>
                    <a:pt x="41" y="78"/>
                  </a:cubicBezTo>
                  <a:cubicBezTo>
                    <a:pt x="38" y="78"/>
                    <a:pt x="31" y="78"/>
                    <a:pt x="30" y="81"/>
                  </a:cubicBezTo>
                  <a:cubicBezTo>
                    <a:pt x="28" y="84"/>
                    <a:pt x="27" y="90"/>
                    <a:pt x="26" y="94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4" y="89"/>
                    <a:pt x="13" y="88"/>
                    <a:pt x="11" y="8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63" name="Freeform 166"/>
            <p:cNvSpPr>
              <a:spLocks/>
            </p:cNvSpPr>
            <p:nvPr/>
          </p:nvSpPr>
          <p:spPr bwMode="auto">
            <a:xfrm>
              <a:off x="5754798" y="4392622"/>
              <a:ext cx="250854" cy="199527"/>
            </a:xfrm>
            <a:custGeom>
              <a:avLst/>
              <a:gdLst>
                <a:gd name="T0" fmla="*/ 19539 w 90"/>
                <a:gd name="T1" fmla="*/ 5754 h 75"/>
                <a:gd name="T2" fmla="*/ 32348 w 90"/>
                <a:gd name="T3" fmla="*/ 1495 h 75"/>
                <a:gd name="T4" fmla="*/ 67252 w 90"/>
                <a:gd name="T5" fmla="*/ 1 h 75"/>
                <a:gd name="T6" fmla="*/ 97646 w 90"/>
                <a:gd name="T7" fmla="*/ 2153 h 75"/>
                <a:gd name="T8" fmla="*/ 125438 w 90"/>
                <a:gd name="T9" fmla="*/ 1495 h 75"/>
                <a:gd name="T10" fmla="*/ 164926 w 90"/>
                <a:gd name="T11" fmla="*/ 3100 h 75"/>
                <a:gd name="T12" fmla="*/ 190685 w 90"/>
                <a:gd name="T13" fmla="*/ 1495 h 75"/>
                <a:gd name="T14" fmla="*/ 226924 w 90"/>
                <a:gd name="T15" fmla="*/ 2153 h 75"/>
                <a:gd name="T16" fmla="*/ 258156 w 90"/>
                <a:gd name="T17" fmla="*/ 1 h 75"/>
                <a:gd name="T18" fmla="*/ 267634 w 90"/>
                <a:gd name="T19" fmla="*/ 2153 h 75"/>
                <a:gd name="T20" fmla="*/ 271066 w 90"/>
                <a:gd name="T21" fmla="*/ 3813 h 75"/>
                <a:gd name="T22" fmla="*/ 281330 w 90"/>
                <a:gd name="T23" fmla="*/ 5250 h 75"/>
                <a:gd name="T24" fmla="*/ 263783 w 90"/>
                <a:gd name="T25" fmla="*/ 6882 h 75"/>
                <a:gd name="T26" fmla="*/ 251719 w 90"/>
                <a:gd name="T27" fmla="*/ 10886 h 75"/>
                <a:gd name="T28" fmla="*/ 228905 w 90"/>
                <a:gd name="T29" fmla="*/ 15011 h 75"/>
                <a:gd name="T30" fmla="*/ 207670 w 90"/>
                <a:gd name="T31" fmla="*/ 19492 h 75"/>
                <a:gd name="T32" fmla="*/ 193793 w 90"/>
                <a:gd name="T33" fmla="*/ 17951 h 75"/>
                <a:gd name="T34" fmla="*/ 178883 w 90"/>
                <a:gd name="T35" fmla="*/ 17951 h 75"/>
                <a:gd name="T36" fmla="*/ 146785 w 90"/>
                <a:gd name="T37" fmla="*/ 21079 h 75"/>
                <a:gd name="T38" fmla="*/ 137068 w 90"/>
                <a:gd name="T39" fmla="*/ 24215 h 75"/>
                <a:gd name="T40" fmla="*/ 108050 w 90"/>
                <a:gd name="T41" fmla="*/ 24804 h 75"/>
                <a:gd name="T42" fmla="*/ 72988 w 90"/>
                <a:gd name="T43" fmla="*/ 24742 h 75"/>
                <a:gd name="T44" fmla="*/ 42023 w 90"/>
                <a:gd name="T45" fmla="*/ 19957 h 75"/>
                <a:gd name="T46" fmla="*/ 3379 w 90"/>
                <a:gd name="T47" fmla="*/ 19492 h 75"/>
                <a:gd name="T48" fmla="*/ 0 w 90"/>
                <a:gd name="T49" fmla="*/ 13055 h 75"/>
                <a:gd name="T50" fmla="*/ 23342 w 90"/>
                <a:gd name="T51" fmla="*/ 9624 h 75"/>
                <a:gd name="T52" fmla="*/ 19539 w 90"/>
                <a:gd name="T53" fmla="*/ 5754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90" h="75">
                  <a:moveTo>
                    <a:pt x="6" y="17"/>
                  </a:moveTo>
                  <a:cubicBezTo>
                    <a:pt x="7" y="13"/>
                    <a:pt x="8" y="7"/>
                    <a:pt x="10" y="4"/>
                  </a:cubicBezTo>
                  <a:cubicBezTo>
                    <a:pt x="11" y="1"/>
                    <a:pt x="18" y="1"/>
                    <a:pt x="21" y="1"/>
                  </a:cubicBezTo>
                  <a:cubicBezTo>
                    <a:pt x="24" y="0"/>
                    <a:pt x="31" y="5"/>
                    <a:pt x="31" y="6"/>
                  </a:cubicBezTo>
                  <a:cubicBezTo>
                    <a:pt x="31" y="8"/>
                    <a:pt x="37" y="3"/>
                    <a:pt x="39" y="4"/>
                  </a:cubicBezTo>
                  <a:cubicBezTo>
                    <a:pt x="41" y="5"/>
                    <a:pt x="50" y="10"/>
                    <a:pt x="52" y="9"/>
                  </a:cubicBezTo>
                  <a:cubicBezTo>
                    <a:pt x="54" y="8"/>
                    <a:pt x="58" y="4"/>
                    <a:pt x="60" y="4"/>
                  </a:cubicBezTo>
                  <a:cubicBezTo>
                    <a:pt x="62" y="4"/>
                    <a:pt x="68" y="6"/>
                    <a:pt x="71" y="6"/>
                  </a:cubicBezTo>
                  <a:cubicBezTo>
                    <a:pt x="74" y="6"/>
                    <a:pt x="80" y="2"/>
                    <a:pt x="81" y="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7" y="12"/>
                    <a:pt x="88" y="15"/>
                  </a:cubicBezTo>
                  <a:cubicBezTo>
                    <a:pt x="90" y="18"/>
                    <a:pt x="85" y="19"/>
                    <a:pt x="83" y="20"/>
                  </a:cubicBezTo>
                  <a:cubicBezTo>
                    <a:pt x="81" y="22"/>
                    <a:pt x="79" y="30"/>
                    <a:pt x="79" y="32"/>
                  </a:cubicBezTo>
                  <a:cubicBezTo>
                    <a:pt x="79" y="35"/>
                    <a:pt x="75" y="40"/>
                    <a:pt x="72" y="44"/>
                  </a:cubicBezTo>
                  <a:cubicBezTo>
                    <a:pt x="69" y="48"/>
                    <a:pt x="67" y="56"/>
                    <a:pt x="65" y="57"/>
                  </a:cubicBezTo>
                  <a:cubicBezTo>
                    <a:pt x="63" y="58"/>
                    <a:pt x="62" y="54"/>
                    <a:pt x="61" y="53"/>
                  </a:cubicBezTo>
                  <a:cubicBezTo>
                    <a:pt x="59" y="53"/>
                    <a:pt x="58" y="53"/>
                    <a:pt x="56" y="53"/>
                  </a:cubicBezTo>
                  <a:cubicBezTo>
                    <a:pt x="54" y="53"/>
                    <a:pt x="47" y="60"/>
                    <a:pt x="46" y="62"/>
                  </a:cubicBezTo>
                  <a:cubicBezTo>
                    <a:pt x="44" y="65"/>
                    <a:pt x="43" y="71"/>
                    <a:pt x="43" y="71"/>
                  </a:cubicBezTo>
                  <a:cubicBezTo>
                    <a:pt x="40" y="72"/>
                    <a:pt x="36" y="73"/>
                    <a:pt x="34" y="73"/>
                  </a:cubicBezTo>
                  <a:cubicBezTo>
                    <a:pt x="32" y="73"/>
                    <a:pt x="25" y="75"/>
                    <a:pt x="23" y="72"/>
                  </a:cubicBezTo>
                  <a:cubicBezTo>
                    <a:pt x="20" y="70"/>
                    <a:pt x="18" y="60"/>
                    <a:pt x="13" y="58"/>
                  </a:cubicBezTo>
                  <a:cubicBezTo>
                    <a:pt x="11" y="57"/>
                    <a:pt x="6" y="57"/>
                    <a:pt x="1" y="5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5" y="32"/>
                    <a:pt x="7" y="28"/>
                  </a:cubicBezTo>
                  <a:cubicBezTo>
                    <a:pt x="9" y="25"/>
                    <a:pt x="6" y="21"/>
                    <a:pt x="6" y="1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64" name="Freeform 167"/>
            <p:cNvSpPr>
              <a:spLocks/>
            </p:cNvSpPr>
            <p:nvPr/>
          </p:nvSpPr>
          <p:spPr bwMode="auto">
            <a:xfrm>
              <a:off x="5707657" y="4422182"/>
              <a:ext cx="72394" cy="123781"/>
            </a:xfrm>
            <a:custGeom>
              <a:avLst/>
              <a:gdLst>
                <a:gd name="T0" fmla="*/ 13982 w 26"/>
                <a:gd name="T1" fmla="*/ 5364 h 47"/>
                <a:gd name="T2" fmla="*/ 0 w 26"/>
                <a:gd name="T3" fmla="*/ 4078 h 47"/>
                <a:gd name="T4" fmla="*/ 3354 w 26"/>
                <a:gd name="T5" fmla="*/ 3366 h 47"/>
                <a:gd name="T6" fmla="*/ 15172 w 26"/>
                <a:gd name="T7" fmla="*/ 2334 h 47"/>
                <a:gd name="T8" fmla="*/ 38244 w 26"/>
                <a:gd name="T9" fmla="*/ 1319 h 47"/>
                <a:gd name="T10" fmla="*/ 38244 w 26"/>
                <a:gd name="T11" fmla="*/ 649 h 47"/>
                <a:gd name="T12" fmla="*/ 52645 w 26"/>
                <a:gd name="T13" fmla="*/ 0 h 47"/>
                <a:gd name="T14" fmla="*/ 71911 w 26"/>
                <a:gd name="T15" fmla="*/ 1880 h 47"/>
                <a:gd name="T16" fmla="*/ 75425 w 26"/>
                <a:gd name="T17" fmla="*/ 4798 h 47"/>
                <a:gd name="T18" fmla="*/ 52645 w 26"/>
                <a:gd name="T19" fmla="*/ 7763 h 47"/>
                <a:gd name="T20" fmla="*/ 57360 w 26"/>
                <a:gd name="T21" fmla="*/ 13433 h 47"/>
                <a:gd name="T22" fmla="*/ 28324 w 26"/>
                <a:gd name="T23" fmla="*/ 13739 h 47"/>
                <a:gd name="T24" fmla="*/ 23124 w 26"/>
                <a:gd name="T25" fmla="*/ 12294 h 47"/>
                <a:gd name="T26" fmla="*/ 23124 w 26"/>
                <a:gd name="T27" fmla="*/ 7647 h 47"/>
                <a:gd name="T28" fmla="*/ 13982 w 26"/>
                <a:gd name="T29" fmla="*/ 5364 h 4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47">
                  <a:moveTo>
                    <a:pt x="4" y="18"/>
                  </a:moveTo>
                  <a:cubicBezTo>
                    <a:pt x="4" y="18"/>
                    <a:pt x="0" y="17"/>
                    <a:pt x="0" y="14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2" y="10"/>
                    <a:pt x="4" y="9"/>
                    <a:pt x="5" y="8"/>
                  </a:cubicBezTo>
                  <a:cubicBezTo>
                    <a:pt x="7" y="7"/>
                    <a:pt x="13" y="7"/>
                    <a:pt x="12" y="4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10"/>
                    <a:pt x="26" y="14"/>
                    <a:pt x="24" y="17"/>
                  </a:cubicBezTo>
                  <a:cubicBezTo>
                    <a:pt x="22" y="21"/>
                    <a:pt x="17" y="27"/>
                    <a:pt x="17" y="2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5" y="47"/>
                    <a:pt x="11" y="47"/>
                    <a:pt x="9" y="47"/>
                  </a:cubicBezTo>
                  <a:cubicBezTo>
                    <a:pt x="8" y="45"/>
                    <a:pt x="7" y="45"/>
                    <a:pt x="7" y="42"/>
                  </a:cubicBezTo>
                  <a:cubicBezTo>
                    <a:pt x="7" y="39"/>
                    <a:pt x="9" y="28"/>
                    <a:pt x="7" y="26"/>
                  </a:cubicBezTo>
                  <a:cubicBezTo>
                    <a:pt x="6" y="23"/>
                    <a:pt x="4" y="18"/>
                    <a:pt x="4" y="1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65" name="Freeform 168"/>
            <p:cNvSpPr>
              <a:spLocks/>
            </p:cNvSpPr>
            <p:nvPr/>
          </p:nvSpPr>
          <p:spPr bwMode="auto">
            <a:xfrm>
              <a:off x="5684087" y="4449894"/>
              <a:ext cx="48824" cy="103459"/>
            </a:xfrm>
            <a:custGeom>
              <a:avLst/>
              <a:gdLst>
                <a:gd name="T0" fmla="*/ 15641 w 17"/>
                <a:gd name="T1" fmla="*/ 3198 h 39"/>
                <a:gd name="T2" fmla="*/ 5375 w 17"/>
                <a:gd name="T3" fmla="*/ 1007 h 39"/>
                <a:gd name="T4" fmla="*/ 5375 w 17"/>
                <a:gd name="T5" fmla="*/ 0 h 39"/>
                <a:gd name="T6" fmla="*/ 15641 w 17"/>
                <a:gd name="T7" fmla="*/ 0 h 39"/>
                <a:gd name="T8" fmla="*/ 45516 w 17"/>
                <a:gd name="T9" fmla="*/ 1 h 39"/>
                <a:gd name="T10" fmla="*/ 42280 w 17"/>
                <a:gd name="T11" fmla="*/ 1007 h 39"/>
                <a:gd name="T12" fmla="*/ 60107 w 17"/>
                <a:gd name="T13" fmla="*/ 2227 h 39"/>
                <a:gd name="T14" fmla="*/ 77645 w 17"/>
                <a:gd name="T15" fmla="*/ 5060 h 39"/>
                <a:gd name="T16" fmla="*/ 77645 w 17"/>
                <a:gd name="T17" fmla="*/ 10278 h 39"/>
                <a:gd name="T18" fmla="*/ 86853 w 17"/>
                <a:gd name="T19" fmla="*/ 11905 h 39"/>
                <a:gd name="T20" fmla="*/ 50914 w 17"/>
                <a:gd name="T21" fmla="*/ 12672 h 39"/>
                <a:gd name="T22" fmla="*/ 50914 w 17"/>
                <a:gd name="T23" fmla="*/ 12672 h 39"/>
                <a:gd name="T24" fmla="*/ 35235 w 17"/>
                <a:gd name="T25" fmla="*/ 10433 h 39"/>
                <a:gd name="T26" fmla="*/ 35235 w 17"/>
                <a:gd name="T27" fmla="*/ 6594 h 39"/>
                <a:gd name="T28" fmla="*/ 15641 w 17"/>
                <a:gd name="T29" fmla="*/ 3198 h 3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" h="39">
                  <a:moveTo>
                    <a:pt x="3" y="10"/>
                  </a:moveTo>
                  <a:cubicBezTo>
                    <a:pt x="1" y="7"/>
                    <a:pt x="0" y="4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0"/>
                    <a:pt x="9" y="1"/>
                    <a:pt x="9" y="1"/>
                  </a:cubicBezTo>
                  <a:cubicBezTo>
                    <a:pt x="8" y="1"/>
                    <a:pt x="8" y="2"/>
                    <a:pt x="8" y="3"/>
                  </a:cubicBezTo>
                  <a:cubicBezTo>
                    <a:pt x="8" y="6"/>
                    <a:pt x="12" y="7"/>
                    <a:pt x="12" y="7"/>
                  </a:cubicBezTo>
                  <a:cubicBezTo>
                    <a:pt x="12" y="7"/>
                    <a:pt x="14" y="12"/>
                    <a:pt x="15" y="15"/>
                  </a:cubicBezTo>
                  <a:cubicBezTo>
                    <a:pt x="17" y="17"/>
                    <a:pt x="15" y="28"/>
                    <a:pt x="15" y="31"/>
                  </a:cubicBezTo>
                  <a:cubicBezTo>
                    <a:pt x="15" y="34"/>
                    <a:pt x="16" y="34"/>
                    <a:pt x="17" y="36"/>
                  </a:cubicBezTo>
                  <a:cubicBezTo>
                    <a:pt x="13" y="37"/>
                    <a:pt x="12" y="38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39"/>
                    <a:pt x="8" y="35"/>
                    <a:pt x="7" y="32"/>
                  </a:cubicBezTo>
                  <a:cubicBezTo>
                    <a:pt x="6" y="30"/>
                    <a:pt x="7" y="23"/>
                    <a:pt x="7" y="20"/>
                  </a:cubicBezTo>
                  <a:cubicBezTo>
                    <a:pt x="7" y="17"/>
                    <a:pt x="5" y="12"/>
                    <a:pt x="3" y="1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66" name="Freeform 169"/>
            <p:cNvSpPr>
              <a:spLocks/>
            </p:cNvSpPr>
            <p:nvPr/>
          </p:nvSpPr>
          <p:spPr bwMode="auto">
            <a:xfrm>
              <a:off x="5623478" y="4449894"/>
              <a:ext cx="89230" cy="129323"/>
            </a:xfrm>
            <a:custGeom>
              <a:avLst/>
              <a:gdLst>
                <a:gd name="T0" fmla="*/ 14163 w 32"/>
                <a:gd name="T1" fmla="*/ 0 h 48"/>
                <a:gd name="T2" fmla="*/ 64347 w 32"/>
                <a:gd name="T3" fmla="*/ 0 h 48"/>
                <a:gd name="T4" fmla="*/ 73344 w 32"/>
                <a:gd name="T5" fmla="*/ 0 h 48"/>
                <a:gd name="T6" fmla="*/ 73344 w 32"/>
                <a:gd name="T7" fmla="*/ 1234 h 48"/>
                <a:gd name="T8" fmla="*/ 79714 w 32"/>
                <a:gd name="T9" fmla="*/ 4379 h 48"/>
                <a:gd name="T10" fmla="*/ 93707 w 32"/>
                <a:gd name="T11" fmla="*/ 8263 h 48"/>
                <a:gd name="T12" fmla="*/ 93707 w 32"/>
                <a:gd name="T13" fmla="*/ 13581 h 48"/>
                <a:gd name="T14" fmla="*/ 103198 w 32"/>
                <a:gd name="T15" fmla="*/ 16333 h 48"/>
                <a:gd name="T16" fmla="*/ 103198 w 32"/>
                <a:gd name="T17" fmla="*/ 16333 h 48"/>
                <a:gd name="T18" fmla="*/ 96786 w 32"/>
                <a:gd name="T19" fmla="*/ 16740 h 48"/>
                <a:gd name="T20" fmla="*/ 32454 w 32"/>
                <a:gd name="T21" fmla="*/ 20045 h 48"/>
                <a:gd name="T22" fmla="*/ 9310 w 32"/>
                <a:gd name="T23" fmla="*/ 19806 h 48"/>
                <a:gd name="T24" fmla="*/ 14163 w 32"/>
                <a:gd name="T25" fmla="*/ 16740 h 48"/>
                <a:gd name="T26" fmla="*/ 3394 w 32"/>
                <a:gd name="T27" fmla="*/ 13745 h 48"/>
                <a:gd name="T28" fmla="*/ 19595 w 32"/>
                <a:gd name="T29" fmla="*/ 8142 h 48"/>
                <a:gd name="T30" fmla="*/ 9310 w 32"/>
                <a:gd name="T31" fmla="*/ 4621 h 48"/>
                <a:gd name="T32" fmla="*/ 9310 w 32"/>
                <a:gd name="T33" fmla="*/ 4621 h 48"/>
                <a:gd name="T34" fmla="*/ 14163 w 32"/>
                <a:gd name="T35" fmla="*/ 0 h 4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48">
                  <a:moveTo>
                    <a:pt x="4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3" y="0"/>
                    <a:pt x="23" y="0"/>
                    <a:pt x="23" y="3"/>
                  </a:cubicBezTo>
                  <a:cubicBezTo>
                    <a:pt x="22" y="4"/>
                    <a:pt x="23" y="7"/>
                    <a:pt x="25" y="10"/>
                  </a:cubicBezTo>
                  <a:cubicBezTo>
                    <a:pt x="27" y="12"/>
                    <a:pt x="29" y="17"/>
                    <a:pt x="29" y="20"/>
                  </a:cubicBezTo>
                  <a:cubicBezTo>
                    <a:pt x="29" y="23"/>
                    <a:pt x="28" y="30"/>
                    <a:pt x="29" y="32"/>
                  </a:cubicBezTo>
                  <a:cubicBezTo>
                    <a:pt x="30" y="35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40"/>
                    <a:pt x="31" y="40"/>
                    <a:pt x="30" y="40"/>
                  </a:cubicBezTo>
                  <a:cubicBezTo>
                    <a:pt x="28" y="41"/>
                    <a:pt x="12" y="48"/>
                    <a:pt x="10" y="48"/>
                  </a:cubicBezTo>
                  <a:cubicBezTo>
                    <a:pt x="9" y="48"/>
                    <a:pt x="6" y="48"/>
                    <a:pt x="3" y="47"/>
                  </a:cubicBezTo>
                  <a:cubicBezTo>
                    <a:pt x="3" y="46"/>
                    <a:pt x="4" y="41"/>
                    <a:pt x="4" y="40"/>
                  </a:cubicBezTo>
                  <a:cubicBezTo>
                    <a:pt x="4" y="38"/>
                    <a:pt x="2" y="36"/>
                    <a:pt x="1" y="33"/>
                  </a:cubicBezTo>
                  <a:cubicBezTo>
                    <a:pt x="0" y="29"/>
                    <a:pt x="5" y="22"/>
                    <a:pt x="6" y="19"/>
                  </a:cubicBezTo>
                  <a:cubicBezTo>
                    <a:pt x="6" y="17"/>
                    <a:pt x="5" y="13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67" name="Group 170"/>
            <p:cNvGrpSpPr>
              <a:grpSpLocks/>
            </p:cNvGrpSpPr>
            <p:nvPr/>
          </p:nvGrpSpPr>
          <p:grpSpPr bwMode="auto">
            <a:xfrm>
              <a:off x="5588123" y="3548325"/>
              <a:ext cx="311463" cy="242019"/>
              <a:chOff x="2641" y="1694"/>
              <a:chExt cx="226" cy="186"/>
            </a:xfrm>
            <a:solidFill>
              <a:srgbClr val="EBEBE3"/>
            </a:solidFill>
          </p:grpSpPr>
          <p:sp>
            <p:nvSpPr>
              <p:cNvPr id="577" name="Freeform 171"/>
              <p:cNvSpPr>
                <a:spLocks/>
              </p:cNvSpPr>
              <p:nvPr/>
            </p:nvSpPr>
            <p:spPr bwMode="auto">
              <a:xfrm>
                <a:off x="2851" y="1856"/>
                <a:ext cx="16" cy="24"/>
              </a:xfrm>
              <a:custGeom>
                <a:avLst/>
                <a:gdLst>
                  <a:gd name="T0" fmla="*/ 262144 w 8"/>
                  <a:gd name="T1" fmla="*/ 720896 h 12"/>
                  <a:gd name="T2" fmla="*/ 0 w 8"/>
                  <a:gd name="T3" fmla="*/ 262144 h 12"/>
                  <a:gd name="T4" fmla="*/ 327680 w 8"/>
                  <a:gd name="T5" fmla="*/ 0 h 12"/>
                  <a:gd name="T6" fmla="*/ 458752 w 8"/>
                  <a:gd name="T7" fmla="*/ 262144 h 12"/>
                  <a:gd name="T8" fmla="*/ 262144 w 8"/>
                  <a:gd name="T9" fmla="*/ 720896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4" y="11"/>
                    </a:moveTo>
                    <a:cubicBezTo>
                      <a:pt x="2" y="11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8" y="1"/>
                      <a:pt x="7" y="4"/>
                    </a:cubicBezTo>
                    <a:cubicBezTo>
                      <a:pt x="6" y="6"/>
                      <a:pt x="6" y="12"/>
                      <a:pt x="4" y="1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8" name="Freeform 172"/>
              <p:cNvSpPr>
                <a:spLocks/>
              </p:cNvSpPr>
              <p:nvPr/>
            </p:nvSpPr>
            <p:spPr bwMode="auto">
              <a:xfrm>
                <a:off x="2641" y="1694"/>
                <a:ext cx="204" cy="168"/>
              </a:xfrm>
              <a:custGeom>
                <a:avLst/>
                <a:gdLst>
                  <a:gd name="T0" fmla="*/ 148203 w 101"/>
                  <a:gd name="T1" fmla="*/ 1991322 h 83"/>
                  <a:gd name="T2" fmla="*/ 1070406 w 101"/>
                  <a:gd name="T3" fmla="*/ 1838572 h 83"/>
                  <a:gd name="T4" fmla="*/ 1369476 w 101"/>
                  <a:gd name="T5" fmla="*/ 2076474 h 83"/>
                  <a:gd name="T6" fmla="*/ 2084121 w 101"/>
                  <a:gd name="T7" fmla="*/ 1991322 h 83"/>
                  <a:gd name="T8" fmla="*/ 1677728 w 101"/>
                  <a:gd name="T9" fmla="*/ 1102416 h 83"/>
                  <a:gd name="T10" fmla="*/ 2236191 w 101"/>
                  <a:gd name="T11" fmla="*/ 1025877 h 83"/>
                  <a:gd name="T12" fmla="*/ 2466566 w 101"/>
                  <a:gd name="T13" fmla="*/ 1339187 h 83"/>
                  <a:gd name="T14" fmla="*/ 3083676 w 101"/>
                  <a:gd name="T15" fmla="*/ 1339187 h 83"/>
                  <a:gd name="T16" fmla="*/ 3231994 w 101"/>
                  <a:gd name="T17" fmla="*/ 1025877 h 83"/>
                  <a:gd name="T18" fmla="*/ 3910121 w 101"/>
                  <a:gd name="T19" fmla="*/ 775573 h 83"/>
                  <a:gd name="T20" fmla="*/ 3983488 w 101"/>
                  <a:gd name="T21" fmla="*/ 231065 h 83"/>
                  <a:gd name="T22" fmla="*/ 4516663 w 101"/>
                  <a:gd name="T23" fmla="*/ 0 h 83"/>
                  <a:gd name="T24" fmla="*/ 5203592 w 101"/>
                  <a:gd name="T25" fmla="*/ 775573 h 83"/>
                  <a:gd name="T26" fmla="*/ 5736240 w 101"/>
                  <a:gd name="T27" fmla="*/ 775573 h 83"/>
                  <a:gd name="T28" fmla="*/ 5845418 w 101"/>
                  <a:gd name="T29" fmla="*/ 1025877 h 83"/>
                  <a:gd name="T30" fmla="*/ 6301958 w 101"/>
                  <a:gd name="T31" fmla="*/ 1261354 h 83"/>
                  <a:gd name="T32" fmla="*/ 6676078 w 101"/>
                  <a:gd name="T33" fmla="*/ 1261354 h 83"/>
                  <a:gd name="T34" fmla="*/ 6844459 w 101"/>
                  <a:gd name="T35" fmla="*/ 1494684 h 83"/>
                  <a:gd name="T36" fmla="*/ 7671574 w 101"/>
                  <a:gd name="T37" fmla="*/ 1838572 h 83"/>
                  <a:gd name="T38" fmla="*/ 7376557 w 101"/>
                  <a:gd name="T39" fmla="*/ 2710644 h 83"/>
                  <a:gd name="T40" fmla="*/ 7376557 w 101"/>
                  <a:gd name="T41" fmla="*/ 2785236 h 83"/>
                  <a:gd name="T42" fmla="*/ 6844459 w 101"/>
                  <a:gd name="T43" fmla="*/ 3102747 h 83"/>
                  <a:gd name="T44" fmla="*/ 6454437 w 101"/>
                  <a:gd name="T45" fmla="*/ 3647389 h 83"/>
                  <a:gd name="T46" fmla="*/ 6920153 w 101"/>
                  <a:gd name="T47" fmla="*/ 3721447 h 83"/>
                  <a:gd name="T48" fmla="*/ 7066075 w 101"/>
                  <a:gd name="T49" fmla="*/ 4124161 h 83"/>
                  <a:gd name="T50" fmla="*/ 7066075 w 101"/>
                  <a:gd name="T51" fmla="*/ 4202984 h 83"/>
                  <a:gd name="T52" fmla="*/ 6920153 w 101"/>
                  <a:gd name="T53" fmla="*/ 4672714 h 83"/>
                  <a:gd name="T54" fmla="*/ 6994116 w 101"/>
                  <a:gd name="T55" fmla="*/ 5167725 h 83"/>
                  <a:gd name="T56" fmla="*/ 7450652 w 101"/>
                  <a:gd name="T57" fmla="*/ 5254433 h 83"/>
                  <a:gd name="T58" fmla="*/ 7522611 w 101"/>
                  <a:gd name="T59" fmla="*/ 5560243 h 83"/>
                  <a:gd name="T60" fmla="*/ 6920153 w 101"/>
                  <a:gd name="T61" fmla="*/ 6048356 h 83"/>
                  <a:gd name="T62" fmla="*/ 6454437 w 101"/>
                  <a:gd name="T63" fmla="*/ 6205616 h 83"/>
                  <a:gd name="T64" fmla="*/ 5203592 w 101"/>
                  <a:gd name="T65" fmla="*/ 5888123 h 83"/>
                  <a:gd name="T66" fmla="*/ 4738288 w 101"/>
                  <a:gd name="T67" fmla="*/ 6506838 h 83"/>
                  <a:gd name="T68" fmla="*/ 4439878 w 101"/>
                  <a:gd name="T69" fmla="*/ 6588889 h 83"/>
                  <a:gd name="T70" fmla="*/ 3540212 w 101"/>
                  <a:gd name="T71" fmla="*/ 6355821 h 83"/>
                  <a:gd name="T72" fmla="*/ 2932274 w 101"/>
                  <a:gd name="T73" fmla="*/ 6355821 h 83"/>
                  <a:gd name="T74" fmla="*/ 2010161 w 101"/>
                  <a:gd name="T75" fmla="*/ 5888123 h 83"/>
                  <a:gd name="T76" fmla="*/ 2084121 w 101"/>
                  <a:gd name="T77" fmla="*/ 5731128 h 83"/>
                  <a:gd name="T78" fmla="*/ 2236191 w 101"/>
                  <a:gd name="T79" fmla="*/ 4124161 h 83"/>
                  <a:gd name="T80" fmla="*/ 1752752 w 101"/>
                  <a:gd name="T81" fmla="*/ 3328780 h 83"/>
                  <a:gd name="T82" fmla="*/ 1143446 w 101"/>
                  <a:gd name="T83" fmla="*/ 2785236 h 83"/>
                  <a:gd name="T84" fmla="*/ 299341 w 101"/>
                  <a:gd name="T85" fmla="*/ 2553102 h 83"/>
                  <a:gd name="T86" fmla="*/ 148203 w 101"/>
                  <a:gd name="T87" fmla="*/ 1991322 h 8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01" h="83">
                    <a:moveTo>
                      <a:pt x="2" y="25"/>
                    </a:moveTo>
                    <a:cubicBezTo>
                      <a:pt x="3" y="24"/>
                      <a:pt x="12" y="23"/>
                      <a:pt x="14" y="23"/>
                    </a:cubicBezTo>
                    <a:cubicBezTo>
                      <a:pt x="16" y="23"/>
                      <a:pt x="17" y="26"/>
                      <a:pt x="18" y="26"/>
                    </a:cubicBezTo>
                    <a:cubicBezTo>
                      <a:pt x="19" y="26"/>
                      <a:pt x="25" y="25"/>
                      <a:pt x="27" y="25"/>
                    </a:cubicBezTo>
                    <a:cubicBezTo>
                      <a:pt x="28" y="24"/>
                      <a:pt x="22" y="16"/>
                      <a:pt x="22" y="14"/>
                    </a:cubicBezTo>
                    <a:cubicBezTo>
                      <a:pt x="23" y="13"/>
                      <a:pt x="29" y="13"/>
                      <a:pt x="29" y="13"/>
                    </a:cubicBezTo>
                    <a:cubicBezTo>
                      <a:pt x="29" y="13"/>
                      <a:pt x="29" y="17"/>
                      <a:pt x="32" y="17"/>
                    </a:cubicBezTo>
                    <a:cubicBezTo>
                      <a:pt x="34" y="17"/>
                      <a:pt x="39" y="19"/>
                      <a:pt x="40" y="17"/>
                    </a:cubicBezTo>
                    <a:cubicBezTo>
                      <a:pt x="41" y="16"/>
                      <a:pt x="40" y="13"/>
                      <a:pt x="42" y="13"/>
                    </a:cubicBezTo>
                    <a:cubicBezTo>
                      <a:pt x="44" y="13"/>
                      <a:pt x="50" y="12"/>
                      <a:pt x="51" y="10"/>
                    </a:cubicBezTo>
                    <a:cubicBezTo>
                      <a:pt x="52" y="9"/>
                      <a:pt x="51" y="3"/>
                      <a:pt x="52" y="3"/>
                    </a:cubicBezTo>
                    <a:cubicBezTo>
                      <a:pt x="53" y="2"/>
                      <a:pt x="56" y="1"/>
                      <a:pt x="59" y="0"/>
                    </a:cubicBezTo>
                    <a:cubicBezTo>
                      <a:pt x="59" y="1"/>
                      <a:pt x="66" y="9"/>
                      <a:pt x="68" y="10"/>
                    </a:cubicBezTo>
                    <a:cubicBezTo>
                      <a:pt x="70" y="11"/>
                      <a:pt x="74" y="9"/>
                      <a:pt x="75" y="10"/>
                    </a:cubicBezTo>
                    <a:cubicBezTo>
                      <a:pt x="76" y="10"/>
                      <a:pt x="76" y="12"/>
                      <a:pt x="76" y="13"/>
                    </a:cubicBezTo>
                    <a:cubicBezTo>
                      <a:pt x="77" y="14"/>
                      <a:pt x="79" y="16"/>
                      <a:pt x="82" y="16"/>
                    </a:cubicBezTo>
                    <a:cubicBezTo>
                      <a:pt x="87" y="16"/>
                      <a:pt x="87" y="16"/>
                      <a:pt x="87" y="16"/>
                    </a:cubicBezTo>
                    <a:cubicBezTo>
                      <a:pt x="87" y="17"/>
                      <a:pt x="88" y="18"/>
                      <a:pt x="89" y="19"/>
                    </a:cubicBezTo>
                    <a:cubicBezTo>
                      <a:pt x="91" y="20"/>
                      <a:pt x="101" y="21"/>
                      <a:pt x="100" y="23"/>
                    </a:cubicBezTo>
                    <a:cubicBezTo>
                      <a:pt x="99" y="24"/>
                      <a:pt x="97" y="31"/>
                      <a:pt x="96" y="34"/>
                    </a:cubicBezTo>
                    <a:cubicBezTo>
                      <a:pt x="96" y="34"/>
                      <a:pt x="96" y="35"/>
                      <a:pt x="96" y="35"/>
                    </a:cubicBezTo>
                    <a:cubicBezTo>
                      <a:pt x="95" y="36"/>
                      <a:pt x="91" y="38"/>
                      <a:pt x="89" y="39"/>
                    </a:cubicBezTo>
                    <a:cubicBezTo>
                      <a:pt x="87" y="40"/>
                      <a:pt x="84" y="45"/>
                      <a:pt x="84" y="46"/>
                    </a:cubicBezTo>
                    <a:cubicBezTo>
                      <a:pt x="84" y="48"/>
                      <a:pt x="89" y="47"/>
                      <a:pt x="90" y="47"/>
                    </a:cubicBezTo>
                    <a:cubicBezTo>
                      <a:pt x="92" y="48"/>
                      <a:pt x="92" y="49"/>
                      <a:pt x="92" y="52"/>
                    </a:cubicBezTo>
                    <a:cubicBezTo>
                      <a:pt x="92" y="52"/>
                      <a:pt x="92" y="52"/>
                      <a:pt x="92" y="53"/>
                    </a:cubicBezTo>
                    <a:cubicBezTo>
                      <a:pt x="93" y="55"/>
                      <a:pt x="92" y="57"/>
                      <a:pt x="90" y="59"/>
                    </a:cubicBezTo>
                    <a:cubicBezTo>
                      <a:pt x="88" y="60"/>
                      <a:pt x="91" y="63"/>
                      <a:pt x="91" y="65"/>
                    </a:cubicBezTo>
                    <a:cubicBezTo>
                      <a:pt x="91" y="67"/>
                      <a:pt x="95" y="65"/>
                      <a:pt x="97" y="66"/>
                    </a:cubicBezTo>
                    <a:cubicBezTo>
                      <a:pt x="98" y="67"/>
                      <a:pt x="98" y="69"/>
                      <a:pt x="98" y="70"/>
                    </a:cubicBezTo>
                    <a:cubicBezTo>
                      <a:pt x="95" y="71"/>
                      <a:pt x="92" y="74"/>
                      <a:pt x="90" y="76"/>
                    </a:cubicBezTo>
                    <a:cubicBezTo>
                      <a:pt x="87" y="78"/>
                      <a:pt x="88" y="78"/>
                      <a:pt x="84" y="78"/>
                    </a:cubicBezTo>
                    <a:cubicBezTo>
                      <a:pt x="79" y="77"/>
                      <a:pt x="71" y="73"/>
                      <a:pt x="68" y="74"/>
                    </a:cubicBezTo>
                    <a:cubicBezTo>
                      <a:pt x="64" y="75"/>
                      <a:pt x="61" y="79"/>
                      <a:pt x="62" y="82"/>
                    </a:cubicBezTo>
                    <a:cubicBezTo>
                      <a:pt x="62" y="82"/>
                      <a:pt x="60" y="83"/>
                      <a:pt x="58" y="83"/>
                    </a:cubicBezTo>
                    <a:cubicBezTo>
                      <a:pt x="56" y="83"/>
                      <a:pt x="50" y="81"/>
                      <a:pt x="46" y="80"/>
                    </a:cubicBezTo>
                    <a:cubicBezTo>
                      <a:pt x="42" y="80"/>
                      <a:pt x="41" y="81"/>
                      <a:pt x="38" y="80"/>
                    </a:cubicBezTo>
                    <a:cubicBezTo>
                      <a:pt x="35" y="79"/>
                      <a:pt x="26" y="74"/>
                      <a:pt x="26" y="74"/>
                    </a:cubicBezTo>
                    <a:cubicBezTo>
                      <a:pt x="27" y="73"/>
                      <a:pt x="27" y="72"/>
                      <a:pt x="27" y="72"/>
                    </a:cubicBezTo>
                    <a:cubicBezTo>
                      <a:pt x="27" y="70"/>
                      <a:pt x="29" y="54"/>
                      <a:pt x="29" y="52"/>
                    </a:cubicBezTo>
                    <a:cubicBezTo>
                      <a:pt x="28" y="49"/>
                      <a:pt x="24" y="44"/>
                      <a:pt x="23" y="42"/>
                    </a:cubicBezTo>
                    <a:cubicBezTo>
                      <a:pt x="21" y="41"/>
                      <a:pt x="17" y="36"/>
                      <a:pt x="15" y="35"/>
                    </a:cubicBezTo>
                    <a:cubicBezTo>
                      <a:pt x="12" y="34"/>
                      <a:pt x="6" y="33"/>
                      <a:pt x="4" y="32"/>
                    </a:cubicBezTo>
                    <a:cubicBezTo>
                      <a:pt x="2" y="30"/>
                      <a:pt x="0" y="26"/>
                      <a:pt x="2" y="2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68" name="Freeform 173"/>
            <p:cNvSpPr>
              <a:spLocks/>
            </p:cNvSpPr>
            <p:nvPr/>
          </p:nvSpPr>
          <p:spPr bwMode="auto">
            <a:xfrm>
              <a:off x="5572971" y="4368605"/>
              <a:ext cx="170042" cy="112696"/>
            </a:xfrm>
            <a:custGeom>
              <a:avLst/>
              <a:gdLst>
                <a:gd name="T0" fmla="*/ 0 w 61"/>
                <a:gd name="T1" fmla="*/ 9866 h 43"/>
                <a:gd name="T2" fmla="*/ 9274 w 61"/>
                <a:gd name="T3" fmla="*/ 7263 h 43"/>
                <a:gd name="T4" fmla="*/ 28974 w 61"/>
                <a:gd name="T5" fmla="*/ 5748 h 43"/>
                <a:gd name="T6" fmla="*/ 25424 w 61"/>
                <a:gd name="T7" fmla="*/ 4462 h 43"/>
                <a:gd name="T8" fmla="*/ 44177 w 61"/>
                <a:gd name="T9" fmla="*/ 3172 h 43"/>
                <a:gd name="T10" fmla="*/ 58313 w 61"/>
                <a:gd name="T11" fmla="*/ 4052 h 43"/>
                <a:gd name="T12" fmla="*/ 79431 w 61"/>
                <a:gd name="T13" fmla="*/ 1884 h 43"/>
                <a:gd name="T14" fmla="*/ 125594 w 61"/>
                <a:gd name="T15" fmla="*/ 0 h 43"/>
                <a:gd name="T16" fmla="*/ 146924 w 61"/>
                <a:gd name="T17" fmla="*/ 0 h 43"/>
                <a:gd name="T18" fmla="*/ 143850 w 61"/>
                <a:gd name="T19" fmla="*/ 1717 h 43"/>
                <a:gd name="T20" fmla="*/ 156068 w 61"/>
                <a:gd name="T21" fmla="*/ 3172 h 43"/>
                <a:gd name="T22" fmla="*/ 179166 w 61"/>
                <a:gd name="T23" fmla="*/ 5120 h 43"/>
                <a:gd name="T24" fmla="*/ 191075 w 61"/>
                <a:gd name="T25" fmla="*/ 6330 h 43"/>
                <a:gd name="T26" fmla="*/ 191075 w 61"/>
                <a:gd name="T27" fmla="*/ 6711 h 43"/>
                <a:gd name="T28" fmla="*/ 170188 w 61"/>
                <a:gd name="T29" fmla="*/ 7727 h 43"/>
                <a:gd name="T30" fmla="*/ 156068 w 61"/>
                <a:gd name="T31" fmla="*/ 8980 h 43"/>
                <a:gd name="T32" fmla="*/ 137204 w 61"/>
                <a:gd name="T33" fmla="*/ 8581 h 43"/>
                <a:gd name="T34" fmla="*/ 131517 w 61"/>
                <a:gd name="T35" fmla="*/ 8581 h 43"/>
                <a:gd name="T36" fmla="*/ 121111 w 61"/>
                <a:gd name="T37" fmla="*/ 8581 h 43"/>
                <a:gd name="T38" fmla="*/ 69698 w 61"/>
                <a:gd name="T39" fmla="*/ 8581 h 43"/>
                <a:gd name="T40" fmla="*/ 67334 w 61"/>
                <a:gd name="T41" fmla="*/ 11567 h 43"/>
                <a:gd name="T42" fmla="*/ 67334 w 61"/>
                <a:gd name="T43" fmla="*/ 11567 h 43"/>
                <a:gd name="T44" fmla="*/ 58313 w 61"/>
                <a:gd name="T45" fmla="*/ 11435 h 43"/>
                <a:gd name="T46" fmla="*/ 28974 w 61"/>
                <a:gd name="T47" fmla="*/ 11567 h 43"/>
                <a:gd name="T48" fmla="*/ 0 w 61"/>
                <a:gd name="T49" fmla="*/ 9866 h 4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43">
                  <a:moveTo>
                    <a:pt x="0" y="37"/>
                  </a:moveTo>
                  <a:cubicBezTo>
                    <a:pt x="0" y="37"/>
                    <a:pt x="1" y="29"/>
                    <a:pt x="3" y="27"/>
                  </a:cubicBezTo>
                  <a:cubicBezTo>
                    <a:pt x="5" y="25"/>
                    <a:pt x="8" y="22"/>
                    <a:pt x="9" y="21"/>
                  </a:cubicBezTo>
                  <a:cubicBezTo>
                    <a:pt x="11" y="20"/>
                    <a:pt x="7" y="17"/>
                    <a:pt x="8" y="16"/>
                  </a:cubicBezTo>
                  <a:cubicBezTo>
                    <a:pt x="9" y="15"/>
                    <a:pt x="14" y="12"/>
                    <a:pt x="14" y="12"/>
                  </a:cubicBezTo>
                  <a:cubicBezTo>
                    <a:pt x="14" y="12"/>
                    <a:pt x="17" y="16"/>
                    <a:pt x="18" y="15"/>
                  </a:cubicBezTo>
                  <a:cubicBezTo>
                    <a:pt x="19" y="15"/>
                    <a:pt x="23" y="9"/>
                    <a:pt x="25" y="7"/>
                  </a:cubicBezTo>
                  <a:cubicBezTo>
                    <a:pt x="27" y="5"/>
                    <a:pt x="36" y="0"/>
                    <a:pt x="39" y="0"/>
                  </a:cubicBezTo>
                  <a:cubicBezTo>
                    <a:pt x="40" y="0"/>
                    <a:pt x="43" y="0"/>
                    <a:pt x="46" y="0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8"/>
                    <a:pt x="47" y="10"/>
                    <a:pt x="49" y="12"/>
                  </a:cubicBezTo>
                  <a:cubicBezTo>
                    <a:pt x="50" y="14"/>
                    <a:pt x="54" y="17"/>
                    <a:pt x="56" y="19"/>
                  </a:cubicBezTo>
                  <a:cubicBezTo>
                    <a:pt x="58" y="21"/>
                    <a:pt x="59" y="22"/>
                    <a:pt x="60" y="23"/>
                  </a:cubicBezTo>
                  <a:cubicBezTo>
                    <a:pt x="60" y="24"/>
                    <a:pt x="60" y="24"/>
                    <a:pt x="60" y="25"/>
                  </a:cubicBezTo>
                  <a:cubicBezTo>
                    <a:pt x="61" y="28"/>
                    <a:pt x="55" y="28"/>
                    <a:pt x="53" y="29"/>
                  </a:cubicBezTo>
                  <a:cubicBezTo>
                    <a:pt x="52" y="30"/>
                    <a:pt x="50" y="31"/>
                    <a:pt x="49" y="33"/>
                  </a:cubicBezTo>
                  <a:cubicBezTo>
                    <a:pt x="49" y="33"/>
                    <a:pt x="45" y="32"/>
                    <a:pt x="43" y="32"/>
                  </a:cubicBezTo>
                  <a:cubicBezTo>
                    <a:pt x="42" y="32"/>
                    <a:pt x="41" y="32"/>
                    <a:pt x="41" y="32"/>
                  </a:cubicBezTo>
                  <a:cubicBezTo>
                    <a:pt x="39" y="32"/>
                    <a:pt x="38" y="32"/>
                    <a:pt x="3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2"/>
                    <a:pt x="19" y="42"/>
                    <a:pt x="18" y="42"/>
                  </a:cubicBezTo>
                  <a:cubicBezTo>
                    <a:pt x="15" y="41"/>
                    <a:pt x="12" y="43"/>
                    <a:pt x="9" y="43"/>
                  </a:cubicBezTo>
                  <a:cubicBezTo>
                    <a:pt x="7" y="43"/>
                    <a:pt x="2" y="37"/>
                    <a:pt x="0" y="3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69" name="Freeform 174"/>
            <p:cNvSpPr>
              <a:spLocks/>
            </p:cNvSpPr>
            <p:nvPr/>
          </p:nvSpPr>
          <p:spPr bwMode="auto">
            <a:xfrm>
              <a:off x="5508995" y="3893804"/>
              <a:ext cx="436048" cy="391665"/>
            </a:xfrm>
            <a:custGeom>
              <a:avLst/>
              <a:gdLst>
                <a:gd name="T0" fmla="*/ 96942 w 156"/>
                <a:gd name="T1" fmla="*/ 29124 h 149"/>
                <a:gd name="T2" fmla="*/ 0 w 156"/>
                <a:gd name="T3" fmla="*/ 23797 h 149"/>
                <a:gd name="T4" fmla="*/ 0 w 156"/>
                <a:gd name="T5" fmla="*/ 22839 h 149"/>
                <a:gd name="T6" fmla="*/ 3520 w 156"/>
                <a:gd name="T7" fmla="*/ 20053 h 149"/>
                <a:gd name="T8" fmla="*/ 44404 w 156"/>
                <a:gd name="T9" fmla="*/ 17844 h 149"/>
                <a:gd name="T10" fmla="*/ 85955 w 156"/>
                <a:gd name="T11" fmla="*/ 17230 h 149"/>
                <a:gd name="T12" fmla="*/ 96942 w 156"/>
                <a:gd name="T13" fmla="*/ 15462 h 149"/>
                <a:gd name="T14" fmla="*/ 126857 w 156"/>
                <a:gd name="T15" fmla="*/ 14624 h 149"/>
                <a:gd name="T16" fmla="*/ 130345 w 156"/>
                <a:gd name="T17" fmla="*/ 12699 h 149"/>
                <a:gd name="T18" fmla="*/ 190865 w 156"/>
                <a:gd name="T19" fmla="*/ 11873 h 149"/>
                <a:gd name="T20" fmla="*/ 192072 w 156"/>
                <a:gd name="T21" fmla="*/ 10442 h 149"/>
                <a:gd name="T22" fmla="*/ 176198 w 156"/>
                <a:gd name="T23" fmla="*/ 7929 h 149"/>
                <a:gd name="T24" fmla="*/ 170691 w 156"/>
                <a:gd name="T25" fmla="*/ 4688 h 149"/>
                <a:gd name="T26" fmla="*/ 170691 w 156"/>
                <a:gd name="T27" fmla="*/ 4688 h 149"/>
                <a:gd name="T28" fmla="*/ 182902 w 156"/>
                <a:gd name="T29" fmla="*/ 4577 h 149"/>
                <a:gd name="T30" fmla="*/ 207197 w 156"/>
                <a:gd name="T31" fmla="*/ 3217 h 149"/>
                <a:gd name="T32" fmla="*/ 246981 w 156"/>
                <a:gd name="T33" fmla="*/ 1360 h 149"/>
                <a:gd name="T34" fmla="*/ 283391 w 156"/>
                <a:gd name="T35" fmla="*/ 1259 h 149"/>
                <a:gd name="T36" fmla="*/ 313023 w 156"/>
                <a:gd name="T37" fmla="*/ 1 h 149"/>
                <a:gd name="T38" fmla="*/ 340102 w 156"/>
                <a:gd name="T39" fmla="*/ 1 h 149"/>
                <a:gd name="T40" fmla="*/ 359289 w 156"/>
                <a:gd name="T41" fmla="*/ 1259 h 149"/>
                <a:gd name="T42" fmla="*/ 382905 w 156"/>
                <a:gd name="T43" fmla="*/ 0 h 149"/>
                <a:gd name="T44" fmla="*/ 410052 w 156"/>
                <a:gd name="T45" fmla="*/ 0 h 149"/>
                <a:gd name="T46" fmla="*/ 435748 w 156"/>
                <a:gd name="T47" fmla="*/ 0 h 149"/>
                <a:gd name="T48" fmla="*/ 434311 w 156"/>
                <a:gd name="T49" fmla="*/ 2548 h 149"/>
                <a:gd name="T50" fmla="*/ 428064 w 156"/>
                <a:gd name="T51" fmla="*/ 6195 h 149"/>
                <a:gd name="T52" fmla="*/ 410052 w 156"/>
                <a:gd name="T53" fmla="*/ 8814 h 149"/>
                <a:gd name="T54" fmla="*/ 428984 w 156"/>
                <a:gd name="T55" fmla="*/ 10442 h 149"/>
                <a:gd name="T56" fmla="*/ 446534 w 156"/>
                <a:gd name="T57" fmla="*/ 12541 h 149"/>
                <a:gd name="T58" fmla="*/ 464483 w 156"/>
                <a:gd name="T59" fmla="*/ 16451 h 149"/>
                <a:gd name="T60" fmla="*/ 465430 w 156"/>
                <a:gd name="T61" fmla="*/ 17400 h 149"/>
                <a:gd name="T62" fmla="*/ 474244 w 156"/>
                <a:gd name="T63" fmla="*/ 24288 h 149"/>
                <a:gd name="T64" fmla="*/ 459718 w 156"/>
                <a:gd name="T65" fmla="*/ 26180 h 149"/>
                <a:gd name="T66" fmla="*/ 479778 w 156"/>
                <a:gd name="T67" fmla="*/ 29401 h 149"/>
                <a:gd name="T68" fmla="*/ 510690 w 156"/>
                <a:gd name="T69" fmla="*/ 29959 h 149"/>
                <a:gd name="T70" fmla="*/ 519698 w 156"/>
                <a:gd name="T71" fmla="*/ 32025 h 149"/>
                <a:gd name="T72" fmla="*/ 407796 w 156"/>
                <a:gd name="T73" fmla="*/ 37969 h 149"/>
                <a:gd name="T74" fmla="*/ 368549 w 156"/>
                <a:gd name="T75" fmla="*/ 41203 h 149"/>
                <a:gd name="T76" fmla="*/ 328938 w 156"/>
                <a:gd name="T77" fmla="*/ 41832 h 149"/>
                <a:gd name="T78" fmla="*/ 303664 w 156"/>
                <a:gd name="T79" fmla="*/ 42123 h 149"/>
                <a:gd name="T80" fmla="*/ 292534 w 156"/>
                <a:gd name="T81" fmla="*/ 40031 h 149"/>
                <a:gd name="T82" fmla="*/ 252581 w 156"/>
                <a:gd name="T83" fmla="*/ 38443 h 149"/>
                <a:gd name="T84" fmla="*/ 246981 w 156"/>
                <a:gd name="T85" fmla="*/ 37249 h 149"/>
                <a:gd name="T86" fmla="*/ 96942 w 156"/>
                <a:gd name="T87" fmla="*/ 29124 h 14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6" h="149">
                  <a:moveTo>
                    <a:pt x="29" y="103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0" y="64"/>
                    <a:pt x="13" y="63"/>
                  </a:cubicBezTo>
                  <a:cubicBezTo>
                    <a:pt x="16" y="63"/>
                    <a:pt x="25" y="63"/>
                    <a:pt x="26" y="61"/>
                  </a:cubicBezTo>
                  <a:cubicBezTo>
                    <a:pt x="28" y="60"/>
                    <a:pt x="27" y="55"/>
                    <a:pt x="29" y="55"/>
                  </a:cubicBezTo>
                  <a:cubicBezTo>
                    <a:pt x="32" y="55"/>
                    <a:pt x="36" y="53"/>
                    <a:pt x="38" y="52"/>
                  </a:cubicBezTo>
                  <a:cubicBezTo>
                    <a:pt x="40" y="52"/>
                    <a:pt x="37" y="47"/>
                    <a:pt x="39" y="45"/>
                  </a:cubicBezTo>
                  <a:cubicBezTo>
                    <a:pt x="41" y="44"/>
                    <a:pt x="57" y="42"/>
                    <a:pt x="57" y="42"/>
                  </a:cubicBezTo>
                  <a:cubicBezTo>
                    <a:pt x="57" y="42"/>
                    <a:pt x="58" y="38"/>
                    <a:pt x="58" y="37"/>
                  </a:cubicBezTo>
                  <a:cubicBezTo>
                    <a:pt x="58" y="35"/>
                    <a:pt x="53" y="32"/>
                    <a:pt x="53" y="28"/>
                  </a:cubicBezTo>
                  <a:cubicBezTo>
                    <a:pt x="53" y="25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2" y="17"/>
                    <a:pt x="53" y="16"/>
                    <a:pt x="55" y="16"/>
                  </a:cubicBezTo>
                  <a:cubicBezTo>
                    <a:pt x="58" y="16"/>
                    <a:pt x="59" y="13"/>
                    <a:pt x="62" y="11"/>
                  </a:cubicBezTo>
                  <a:cubicBezTo>
                    <a:pt x="65" y="9"/>
                    <a:pt x="70" y="6"/>
                    <a:pt x="74" y="5"/>
                  </a:cubicBezTo>
                  <a:cubicBezTo>
                    <a:pt x="78" y="5"/>
                    <a:pt x="82" y="4"/>
                    <a:pt x="85" y="4"/>
                  </a:cubicBezTo>
                  <a:cubicBezTo>
                    <a:pt x="89" y="4"/>
                    <a:pt x="93" y="1"/>
                    <a:pt x="94" y="1"/>
                  </a:cubicBezTo>
                  <a:cubicBezTo>
                    <a:pt x="96" y="1"/>
                    <a:pt x="101" y="1"/>
                    <a:pt x="102" y="1"/>
                  </a:cubicBezTo>
                  <a:cubicBezTo>
                    <a:pt x="103" y="1"/>
                    <a:pt x="103" y="4"/>
                    <a:pt x="108" y="4"/>
                  </a:cubicBezTo>
                  <a:cubicBezTo>
                    <a:pt x="112" y="4"/>
                    <a:pt x="113" y="1"/>
                    <a:pt x="115" y="0"/>
                  </a:cubicBezTo>
                  <a:cubicBezTo>
                    <a:pt x="117" y="0"/>
                    <a:pt x="121" y="0"/>
                    <a:pt x="123" y="0"/>
                  </a:cubicBezTo>
                  <a:cubicBezTo>
                    <a:pt x="125" y="1"/>
                    <a:pt x="130" y="1"/>
                    <a:pt x="131" y="0"/>
                  </a:cubicBezTo>
                  <a:cubicBezTo>
                    <a:pt x="131" y="0"/>
                    <a:pt x="130" y="7"/>
                    <a:pt x="130" y="9"/>
                  </a:cubicBezTo>
                  <a:cubicBezTo>
                    <a:pt x="130" y="11"/>
                    <a:pt x="129" y="21"/>
                    <a:pt x="128" y="22"/>
                  </a:cubicBezTo>
                  <a:cubicBezTo>
                    <a:pt x="126" y="24"/>
                    <a:pt x="121" y="28"/>
                    <a:pt x="123" y="31"/>
                  </a:cubicBezTo>
                  <a:cubicBezTo>
                    <a:pt x="125" y="33"/>
                    <a:pt x="128" y="36"/>
                    <a:pt x="129" y="37"/>
                  </a:cubicBezTo>
                  <a:cubicBezTo>
                    <a:pt x="129" y="38"/>
                    <a:pt x="134" y="42"/>
                    <a:pt x="134" y="44"/>
                  </a:cubicBezTo>
                  <a:cubicBezTo>
                    <a:pt x="135" y="45"/>
                    <a:pt x="137" y="53"/>
                    <a:pt x="139" y="58"/>
                  </a:cubicBezTo>
                  <a:cubicBezTo>
                    <a:pt x="139" y="60"/>
                    <a:pt x="140" y="61"/>
                    <a:pt x="140" y="62"/>
                  </a:cubicBezTo>
                  <a:cubicBezTo>
                    <a:pt x="141" y="67"/>
                    <a:pt x="142" y="84"/>
                    <a:pt x="142" y="86"/>
                  </a:cubicBezTo>
                  <a:cubicBezTo>
                    <a:pt x="142" y="88"/>
                    <a:pt x="136" y="91"/>
                    <a:pt x="138" y="93"/>
                  </a:cubicBezTo>
                  <a:cubicBezTo>
                    <a:pt x="141" y="96"/>
                    <a:pt x="143" y="103"/>
                    <a:pt x="144" y="104"/>
                  </a:cubicBezTo>
                  <a:cubicBezTo>
                    <a:pt x="146" y="104"/>
                    <a:pt x="152" y="105"/>
                    <a:pt x="153" y="106"/>
                  </a:cubicBezTo>
                  <a:cubicBezTo>
                    <a:pt x="156" y="114"/>
                    <a:pt x="156" y="114"/>
                    <a:pt x="156" y="114"/>
                  </a:cubicBezTo>
                  <a:cubicBezTo>
                    <a:pt x="149" y="118"/>
                    <a:pt x="123" y="133"/>
                    <a:pt x="122" y="135"/>
                  </a:cubicBezTo>
                  <a:cubicBezTo>
                    <a:pt x="120" y="137"/>
                    <a:pt x="111" y="146"/>
                    <a:pt x="111" y="146"/>
                  </a:cubicBezTo>
                  <a:cubicBezTo>
                    <a:pt x="99" y="148"/>
                    <a:pt x="99" y="148"/>
                    <a:pt x="99" y="148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1" y="143"/>
                    <a:pt x="88" y="142"/>
                  </a:cubicBezTo>
                  <a:cubicBezTo>
                    <a:pt x="86" y="141"/>
                    <a:pt x="77" y="138"/>
                    <a:pt x="76" y="136"/>
                  </a:cubicBezTo>
                  <a:cubicBezTo>
                    <a:pt x="75" y="135"/>
                    <a:pt x="74" y="132"/>
                    <a:pt x="74" y="132"/>
                  </a:cubicBezTo>
                  <a:cubicBezTo>
                    <a:pt x="29" y="103"/>
                    <a:pt x="29" y="103"/>
                    <a:pt x="29" y="10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70" name="Freeform 175"/>
            <p:cNvSpPr>
              <a:spLocks/>
            </p:cNvSpPr>
            <p:nvPr/>
          </p:nvSpPr>
          <p:spPr bwMode="auto">
            <a:xfrm>
              <a:off x="5508995" y="4464674"/>
              <a:ext cx="131320" cy="121933"/>
            </a:xfrm>
            <a:custGeom>
              <a:avLst/>
              <a:gdLst>
                <a:gd name="T0" fmla="*/ 14448 w 47"/>
                <a:gd name="T1" fmla="*/ 5762 h 46"/>
                <a:gd name="T2" fmla="*/ 19980 w 47"/>
                <a:gd name="T3" fmla="*/ 3551 h 46"/>
                <a:gd name="T4" fmla="*/ 14448 w 47"/>
                <a:gd name="T5" fmla="*/ 1 h 46"/>
                <a:gd name="T6" fmla="*/ 44208 w 47"/>
                <a:gd name="T7" fmla="*/ 1 h 46"/>
                <a:gd name="T8" fmla="*/ 76123 w 47"/>
                <a:gd name="T9" fmla="*/ 0 h 46"/>
                <a:gd name="T10" fmla="*/ 105703 w 47"/>
                <a:gd name="T11" fmla="*/ 2068 h 46"/>
                <a:gd name="T12" fmla="*/ 136261 w 47"/>
                <a:gd name="T13" fmla="*/ 1540 h 46"/>
                <a:gd name="T14" fmla="*/ 145611 w 47"/>
                <a:gd name="T15" fmla="*/ 2068 h 46"/>
                <a:gd name="T16" fmla="*/ 154765 w 47"/>
                <a:gd name="T17" fmla="*/ 4550 h 46"/>
                <a:gd name="T18" fmla="*/ 139582 w 47"/>
                <a:gd name="T19" fmla="*/ 8949 h 46"/>
                <a:gd name="T20" fmla="*/ 149443 w 47"/>
                <a:gd name="T21" fmla="*/ 11236 h 46"/>
                <a:gd name="T22" fmla="*/ 145611 w 47"/>
                <a:gd name="T23" fmla="*/ 13438 h 46"/>
                <a:gd name="T24" fmla="*/ 109597 w 47"/>
                <a:gd name="T25" fmla="*/ 12840 h 46"/>
                <a:gd name="T26" fmla="*/ 26638 w 47"/>
                <a:gd name="T27" fmla="*/ 14872 h 46"/>
                <a:gd name="T28" fmla="*/ 23978 w 47"/>
                <a:gd name="T29" fmla="*/ 14872 h 46"/>
                <a:gd name="T30" fmla="*/ 33158 w 47"/>
                <a:gd name="T31" fmla="*/ 11803 h 46"/>
                <a:gd name="T32" fmla="*/ 9672 w 47"/>
                <a:gd name="T33" fmla="*/ 9777 h 46"/>
                <a:gd name="T34" fmla="*/ 3512 w 47"/>
                <a:gd name="T35" fmla="*/ 7224 h 46"/>
                <a:gd name="T36" fmla="*/ 14448 w 47"/>
                <a:gd name="T37" fmla="*/ 5762 h 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7" h="46">
                  <a:moveTo>
                    <a:pt x="4" y="18"/>
                  </a:moveTo>
                  <a:cubicBezTo>
                    <a:pt x="5" y="18"/>
                    <a:pt x="7" y="13"/>
                    <a:pt x="6" y="11"/>
                  </a:cubicBezTo>
                  <a:cubicBezTo>
                    <a:pt x="4" y="10"/>
                    <a:pt x="4" y="3"/>
                    <a:pt x="4" y="1"/>
                  </a:cubicBezTo>
                  <a:cubicBezTo>
                    <a:pt x="9" y="1"/>
                    <a:pt x="13" y="1"/>
                    <a:pt x="13" y="1"/>
                  </a:cubicBezTo>
                  <a:cubicBezTo>
                    <a:pt x="15" y="1"/>
                    <a:pt x="21" y="0"/>
                    <a:pt x="23" y="0"/>
                  </a:cubicBezTo>
                  <a:cubicBezTo>
                    <a:pt x="25" y="0"/>
                    <a:pt x="30" y="6"/>
                    <a:pt x="32" y="6"/>
                  </a:cubicBezTo>
                  <a:cubicBezTo>
                    <a:pt x="35" y="6"/>
                    <a:pt x="38" y="4"/>
                    <a:pt x="41" y="5"/>
                  </a:cubicBezTo>
                  <a:cubicBezTo>
                    <a:pt x="42" y="5"/>
                    <a:pt x="43" y="5"/>
                    <a:pt x="44" y="6"/>
                  </a:cubicBezTo>
                  <a:cubicBezTo>
                    <a:pt x="46" y="8"/>
                    <a:pt x="47" y="12"/>
                    <a:pt x="47" y="14"/>
                  </a:cubicBezTo>
                  <a:cubicBezTo>
                    <a:pt x="46" y="17"/>
                    <a:pt x="41" y="24"/>
                    <a:pt x="42" y="28"/>
                  </a:cubicBezTo>
                  <a:cubicBezTo>
                    <a:pt x="43" y="31"/>
                    <a:pt x="45" y="33"/>
                    <a:pt x="45" y="35"/>
                  </a:cubicBezTo>
                  <a:cubicBezTo>
                    <a:pt x="45" y="36"/>
                    <a:pt x="44" y="41"/>
                    <a:pt x="44" y="42"/>
                  </a:cubicBezTo>
                  <a:cubicBezTo>
                    <a:pt x="40" y="41"/>
                    <a:pt x="36" y="40"/>
                    <a:pt x="33" y="40"/>
                  </a:cubicBezTo>
                  <a:cubicBezTo>
                    <a:pt x="28" y="40"/>
                    <a:pt x="12" y="46"/>
                    <a:pt x="8" y="46"/>
                  </a:cubicBezTo>
                  <a:cubicBezTo>
                    <a:pt x="8" y="46"/>
                    <a:pt x="8" y="46"/>
                    <a:pt x="7" y="46"/>
                  </a:cubicBezTo>
                  <a:cubicBezTo>
                    <a:pt x="7" y="46"/>
                    <a:pt x="9" y="38"/>
                    <a:pt x="10" y="36"/>
                  </a:cubicBezTo>
                  <a:cubicBezTo>
                    <a:pt x="10" y="34"/>
                    <a:pt x="5" y="31"/>
                    <a:pt x="3" y="30"/>
                  </a:cubicBezTo>
                  <a:cubicBezTo>
                    <a:pt x="0" y="28"/>
                    <a:pt x="2" y="24"/>
                    <a:pt x="1" y="22"/>
                  </a:cubicBezTo>
                  <a:cubicBezTo>
                    <a:pt x="1" y="21"/>
                    <a:pt x="2" y="18"/>
                    <a:pt x="4" y="1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71" name="Freeform 176"/>
            <p:cNvSpPr>
              <a:spLocks/>
            </p:cNvSpPr>
            <p:nvPr/>
          </p:nvSpPr>
          <p:spPr bwMode="auto">
            <a:xfrm>
              <a:off x="5490475" y="3779260"/>
              <a:ext cx="70711" cy="118239"/>
            </a:xfrm>
            <a:custGeom>
              <a:avLst/>
              <a:gdLst>
                <a:gd name="T0" fmla="*/ 2560 w 26"/>
                <a:gd name="T1" fmla="*/ 7522 h 45"/>
                <a:gd name="T2" fmla="*/ 17432 w 26"/>
                <a:gd name="T3" fmla="*/ 1791 h 45"/>
                <a:gd name="T4" fmla="*/ 13341 w 26"/>
                <a:gd name="T5" fmla="*/ 0 h 45"/>
                <a:gd name="T6" fmla="*/ 42942 w 26"/>
                <a:gd name="T7" fmla="*/ 0 h 45"/>
                <a:gd name="T8" fmla="*/ 56236 w 26"/>
                <a:gd name="T9" fmla="*/ 1259 h 45"/>
                <a:gd name="T10" fmla="*/ 42942 w 26"/>
                <a:gd name="T11" fmla="*/ 5151 h 45"/>
                <a:gd name="T12" fmla="*/ 38860 w 26"/>
                <a:gd name="T13" fmla="*/ 6655 h 45"/>
                <a:gd name="T14" fmla="*/ 41365 w 26"/>
                <a:gd name="T15" fmla="*/ 8973 h 45"/>
                <a:gd name="T16" fmla="*/ 36303 w 26"/>
                <a:gd name="T17" fmla="*/ 10419 h 45"/>
                <a:gd name="T18" fmla="*/ 34813 w 26"/>
                <a:gd name="T19" fmla="*/ 12048 h 45"/>
                <a:gd name="T20" fmla="*/ 34813 w 26"/>
                <a:gd name="T21" fmla="*/ 12048 h 45"/>
                <a:gd name="T22" fmla="*/ 30692 w 26"/>
                <a:gd name="T23" fmla="*/ 12454 h 45"/>
                <a:gd name="T24" fmla="*/ 13341 w 26"/>
                <a:gd name="T25" fmla="*/ 12454 h 45"/>
                <a:gd name="T26" fmla="*/ 13341 w 26"/>
                <a:gd name="T27" fmla="*/ 10822 h 45"/>
                <a:gd name="T28" fmla="*/ 13341 w 26"/>
                <a:gd name="T29" fmla="*/ 8973 h 45"/>
                <a:gd name="T30" fmla="*/ 6680 w 26"/>
                <a:gd name="T31" fmla="*/ 8471 h 45"/>
                <a:gd name="T32" fmla="*/ 2560 w 26"/>
                <a:gd name="T33" fmla="*/ 7522 h 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6" h="45">
                  <a:moveTo>
                    <a:pt x="1" y="27"/>
                  </a:moveTo>
                  <a:cubicBezTo>
                    <a:pt x="2" y="25"/>
                    <a:pt x="8" y="11"/>
                    <a:pt x="8" y="6"/>
                  </a:cubicBezTo>
                  <a:cubicBezTo>
                    <a:pt x="7" y="4"/>
                    <a:pt x="7" y="2"/>
                    <a:pt x="6" y="0"/>
                  </a:cubicBezTo>
                  <a:cubicBezTo>
                    <a:pt x="6" y="0"/>
                    <a:pt x="17" y="0"/>
                    <a:pt x="20" y="0"/>
                  </a:cubicBezTo>
                  <a:cubicBezTo>
                    <a:pt x="23" y="0"/>
                    <a:pt x="26" y="2"/>
                    <a:pt x="26" y="4"/>
                  </a:cubicBezTo>
                  <a:cubicBezTo>
                    <a:pt x="25" y="6"/>
                    <a:pt x="21" y="17"/>
                    <a:pt x="20" y="18"/>
                  </a:cubicBezTo>
                  <a:cubicBezTo>
                    <a:pt x="19" y="19"/>
                    <a:pt x="16" y="21"/>
                    <a:pt x="18" y="24"/>
                  </a:cubicBezTo>
                  <a:cubicBezTo>
                    <a:pt x="20" y="26"/>
                    <a:pt x="19" y="30"/>
                    <a:pt x="19" y="32"/>
                  </a:cubicBezTo>
                  <a:cubicBezTo>
                    <a:pt x="19" y="34"/>
                    <a:pt x="19" y="35"/>
                    <a:pt x="17" y="37"/>
                  </a:cubicBezTo>
                  <a:cubicBezTo>
                    <a:pt x="14" y="40"/>
                    <a:pt x="15" y="41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5" y="44"/>
                    <a:pt x="14" y="44"/>
                  </a:cubicBezTo>
                  <a:cubicBezTo>
                    <a:pt x="12" y="45"/>
                    <a:pt x="8" y="44"/>
                    <a:pt x="6" y="44"/>
                  </a:cubicBezTo>
                  <a:cubicBezTo>
                    <a:pt x="3" y="44"/>
                    <a:pt x="6" y="42"/>
                    <a:pt x="6" y="39"/>
                  </a:cubicBezTo>
                  <a:cubicBezTo>
                    <a:pt x="7" y="36"/>
                    <a:pt x="8" y="34"/>
                    <a:pt x="6" y="32"/>
                  </a:cubicBezTo>
                  <a:cubicBezTo>
                    <a:pt x="5" y="30"/>
                    <a:pt x="5" y="31"/>
                    <a:pt x="3" y="30"/>
                  </a:cubicBezTo>
                  <a:cubicBezTo>
                    <a:pt x="1" y="29"/>
                    <a:pt x="0" y="29"/>
                    <a:pt x="1" y="2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72" name="Group 177"/>
            <p:cNvGrpSpPr>
              <a:grpSpLocks/>
            </p:cNvGrpSpPr>
            <p:nvPr/>
          </p:nvGrpSpPr>
          <p:grpSpPr bwMode="auto">
            <a:xfrm>
              <a:off x="5492159" y="3734921"/>
              <a:ext cx="279475" cy="179205"/>
              <a:chOff x="2572" y="1838"/>
              <a:chExt cx="202" cy="137"/>
            </a:xfrm>
            <a:solidFill>
              <a:srgbClr val="EBEBE3"/>
            </a:solidFill>
          </p:grpSpPr>
          <p:sp>
            <p:nvSpPr>
              <p:cNvPr id="575" name="Freeform 178"/>
              <p:cNvSpPr>
                <a:spLocks/>
              </p:cNvSpPr>
              <p:nvPr/>
            </p:nvSpPr>
            <p:spPr bwMode="auto">
              <a:xfrm>
                <a:off x="2752" y="1909"/>
                <a:ext cx="22" cy="12"/>
              </a:xfrm>
              <a:custGeom>
                <a:avLst/>
                <a:gdLst>
                  <a:gd name="T0" fmla="*/ 393216 w 11"/>
                  <a:gd name="T1" fmla="*/ 393216 h 6"/>
                  <a:gd name="T2" fmla="*/ 65536 w 11"/>
                  <a:gd name="T3" fmla="*/ 262144 h 6"/>
                  <a:gd name="T4" fmla="*/ 196608 w 11"/>
                  <a:gd name="T5" fmla="*/ 65536 h 6"/>
                  <a:gd name="T6" fmla="*/ 458752 w 11"/>
                  <a:gd name="T7" fmla="*/ 0 h 6"/>
                  <a:gd name="T8" fmla="*/ 655360 w 11"/>
                  <a:gd name="T9" fmla="*/ 131072 h 6"/>
                  <a:gd name="T10" fmla="*/ 393216 w 11"/>
                  <a:gd name="T11" fmla="*/ 39321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" h="6">
                    <a:moveTo>
                      <a:pt x="6" y="6"/>
                    </a:moveTo>
                    <a:cubicBezTo>
                      <a:pt x="4" y="6"/>
                      <a:pt x="2" y="4"/>
                      <a:pt x="1" y="4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3" y="1"/>
                      <a:pt x="5" y="0"/>
                      <a:pt x="7" y="0"/>
                    </a:cubicBezTo>
                    <a:cubicBezTo>
                      <a:pt x="8" y="0"/>
                      <a:pt x="10" y="0"/>
                      <a:pt x="10" y="2"/>
                    </a:cubicBezTo>
                    <a:cubicBezTo>
                      <a:pt x="11" y="4"/>
                      <a:pt x="8" y="6"/>
                      <a:pt x="6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6" name="Freeform 179"/>
              <p:cNvSpPr>
                <a:spLocks/>
              </p:cNvSpPr>
              <p:nvPr/>
            </p:nvSpPr>
            <p:spPr bwMode="auto">
              <a:xfrm>
                <a:off x="2572" y="1838"/>
                <a:ext cx="200" cy="137"/>
              </a:xfrm>
              <a:custGeom>
                <a:avLst/>
                <a:gdLst>
                  <a:gd name="T0" fmla="*/ 375018 w 99"/>
                  <a:gd name="T1" fmla="*/ 1251975 h 68"/>
                  <a:gd name="T2" fmla="*/ 375018 w 99"/>
                  <a:gd name="T3" fmla="*/ 947558 h 68"/>
                  <a:gd name="T4" fmla="*/ 73487 w 99"/>
                  <a:gd name="T5" fmla="*/ 505911 h 68"/>
                  <a:gd name="T6" fmla="*/ 605893 w 99"/>
                  <a:gd name="T7" fmla="*/ 286699 h 68"/>
                  <a:gd name="T8" fmla="*/ 905806 w 99"/>
                  <a:gd name="T9" fmla="*/ 0 h 68"/>
                  <a:gd name="T10" fmla="*/ 1454853 w 99"/>
                  <a:gd name="T11" fmla="*/ 142303 h 68"/>
                  <a:gd name="T12" fmla="*/ 2314115 w 99"/>
                  <a:gd name="T13" fmla="*/ 142303 h 68"/>
                  <a:gd name="T14" fmla="*/ 3474844 w 99"/>
                  <a:gd name="T15" fmla="*/ 214995 h 68"/>
                  <a:gd name="T16" fmla="*/ 4453018 w 99"/>
                  <a:gd name="T17" fmla="*/ 286699 h 68"/>
                  <a:gd name="T18" fmla="*/ 4602588 w 99"/>
                  <a:gd name="T19" fmla="*/ 214995 h 68"/>
                  <a:gd name="T20" fmla="*/ 5526669 w 99"/>
                  <a:gd name="T21" fmla="*/ 656967 h 68"/>
                  <a:gd name="T22" fmla="*/ 6168382 w 99"/>
                  <a:gd name="T23" fmla="*/ 656967 h 68"/>
                  <a:gd name="T24" fmla="*/ 7094044 w 99"/>
                  <a:gd name="T25" fmla="*/ 872674 h 68"/>
                  <a:gd name="T26" fmla="*/ 7392408 w 99"/>
                  <a:gd name="T27" fmla="*/ 801234 h 68"/>
                  <a:gd name="T28" fmla="*/ 7468263 w 99"/>
                  <a:gd name="T29" fmla="*/ 1251975 h 68"/>
                  <a:gd name="T30" fmla="*/ 6789051 w 99"/>
                  <a:gd name="T31" fmla="*/ 1687010 h 68"/>
                  <a:gd name="T32" fmla="*/ 6011154 w 99"/>
                  <a:gd name="T33" fmla="*/ 1981810 h 68"/>
                  <a:gd name="T34" fmla="*/ 5380594 w 99"/>
                  <a:gd name="T35" fmla="*/ 2957181 h 68"/>
                  <a:gd name="T36" fmla="*/ 5674863 w 99"/>
                  <a:gd name="T37" fmla="*/ 3398829 h 68"/>
                  <a:gd name="T38" fmla="*/ 5154099 w 99"/>
                  <a:gd name="T39" fmla="*/ 4064468 h 68"/>
                  <a:gd name="T40" fmla="*/ 4602588 w 99"/>
                  <a:gd name="T41" fmla="*/ 4359791 h 68"/>
                  <a:gd name="T42" fmla="*/ 4226459 w 99"/>
                  <a:gd name="T43" fmla="*/ 4723595 h 68"/>
                  <a:gd name="T44" fmla="*/ 3091978 w 99"/>
                  <a:gd name="T45" fmla="*/ 4723595 h 68"/>
                  <a:gd name="T46" fmla="*/ 2472780 w 99"/>
                  <a:gd name="T47" fmla="*/ 4795183 h 68"/>
                  <a:gd name="T48" fmla="*/ 2241905 w 99"/>
                  <a:gd name="T49" fmla="*/ 5008003 h 68"/>
                  <a:gd name="T50" fmla="*/ 2166269 w 99"/>
                  <a:gd name="T51" fmla="*/ 5008003 h 68"/>
                  <a:gd name="T52" fmla="*/ 1829911 w 99"/>
                  <a:gd name="T53" fmla="*/ 4650820 h 68"/>
                  <a:gd name="T54" fmla="*/ 1603620 w 99"/>
                  <a:gd name="T55" fmla="*/ 4359791 h 68"/>
                  <a:gd name="T56" fmla="*/ 1145487 w 99"/>
                  <a:gd name="T57" fmla="*/ 4432548 h 68"/>
                  <a:gd name="T58" fmla="*/ 1224026 w 99"/>
                  <a:gd name="T59" fmla="*/ 3992764 h 68"/>
                  <a:gd name="T60" fmla="*/ 1371949 w 99"/>
                  <a:gd name="T61" fmla="*/ 3613857 h 68"/>
                  <a:gd name="T62" fmla="*/ 1298725 w 99"/>
                  <a:gd name="T63" fmla="*/ 3027476 h 68"/>
                  <a:gd name="T64" fmla="*/ 1454853 w 99"/>
                  <a:gd name="T65" fmla="*/ 2595135 h 68"/>
                  <a:gd name="T66" fmla="*/ 1939749 w 99"/>
                  <a:gd name="T67" fmla="*/ 1542678 h 68"/>
                  <a:gd name="T68" fmla="*/ 1454853 w 99"/>
                  <a:gd name="T69" fmla="*/ 1251975 h 68"/>
                  <a:gd name="T70" fmla="*/ 375018 w 99"/>
                  <a:gd name="T71" fmla="*/ 1251975 h 6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9" h="68">
                    <a:moveTo>
                      <a:pt x="5" y="17"/>
                    </a:moveTo>
                    <a:cubicBezTo>
                      <a:pt x="5" y="15"/>
                      <a:pt x="5" y="14"/>
                      <a:pt x="5" y="13"/>
                    </a:cubicBezTo>
                    <a:cubicBezTo>
                      <a:pt x="4" y="11"/>
                      <a:pt x="0" y="9"/>
                      <a:pt x="1" y="7"/>
                    </a:cubicBezTo>
                    <a:cubicBezTo>
                      <a:pt x="3" y="5"/>
                      <a:pt x="6" y="4"/>
                      <a:pt x="8" y="4"/>
                    </a:cubicBezTo>
                    <a:cubicBezTo>
                      <a:pt x="9" y="4"/>
                      <a:pt x="9" y="0"/>
                      <a:pt x="12" y="0"/>
                    </a:cubicBezTo>
                    <a:cubicBezTo>
                      <a:pt x="15" y="0"/>
                      <a:pt x="18" y="2"/>
                      <a:pt x="19" y="2"/>
                    </a:cubicBezTo>
                    <a:cubicBezTo>
                      <a:pt x="21" y="2"/>
                      <a:pt x="27" y="2"/>
                      <a:pt x="30" y="2"/>
                    </a:cubicBezTo>
                    <a:cubicBezTo>
                      <a:pt x="33" y="2"/>
                      <a:pt x="41" y="3"/>
                      <a:pt x="45" y="3"/>
                    </a:cubicBezTo>
                    <a:cubicBezTo>
                      <a:pt x="49" y="3"/>
                      <a:pt x="56" y="5"/>
                      <a:pt x="58" y="4"/>
                    </a:cubicBezTo>
                    <a:cubicBezTo>
                      <a:pt x="59" y="4"/>
                      <a:pt x="60" y="3"/>
                      <a:pt x="60" y="3"/>
                    </a:cubicBezTo>
                    <a:cubicBezTo>
                      <a:pt x="60" y="3"/>
                      <a:pt x="69" y="8"/>
                      <a:pt x="72" y="9"/>
                    </a:cubicBezTo>
                    <a:cubicBezTo>
                      <a:pt x="75" y="10"/>
                      <a:pt x="76" y="9"/>
                      <a:pt x="80" y="9"/>
                    </a:cubicBezTo>
                    <a:cubicBezTo>
                      <a:pt x="84" y="10"/>
                      <a:pt x="90" y="12"/>
                      <a:pt x="92" y="12"/>
                    </a:cubicBezTo>
                    <a:cubicBezTo>
                      <a:pt x="94" y="12"/>
                      <a:pt x="96" y="11"/>
                      <a:pt x="96" y="11"/>
                    </a:cubicBezTo>
                    <a:cubicBezTo>
                      <a:pt x="96" y="14"/>
                      <a:pt x="99" y="16"/>
                      <a:pt x="97" y="17"/>
                    </a:cubicBezTo>
                    <a:cubicBezTo>
                      <a:pt x="96" y="19"/>
                      <a:pt x="90" y="22"/>
                      <a:pt x="88" y="23"/>
                    </a:cubicBezTo>
                    <a:cubicBezTo>
                      <a:pt x="86" y="23"/>
                      <a:pt x="80" y="25"/>
                      <a:pt x="78" y="27"/>
                    </a:cubicBezTo>
                    <a:cubicBezTo>
                      <a:pt x="77" y="29"/>
                      <a:pt x="69" y="38"/>
                      <a:pt x="70" y="40"/>
                    </a:cubicBezTo>
                    <a:cubicBezTo>
                      <a:pt x="70" y="42"/>
                      <a:pt x="74" y="44"/>
                      <a:pt x="74" y="46"/>
                    </a:cubicBezTo>
                    <a:cubicBezTo>
                      <a:pt x="74" y="48"/>
                      <a:pt x="67" y="52"/>
                      <a:pt x="67" y="55"/>
                    </a:cubicBezTo>
                    <a:cubicBezTo>
                      <a:pt x="67" y="57"/>
                      <a:pt x="63" y="58"/>
                      <a:pt x="60" y="59"/>
                    </a:cubicBezTo>
                    <a:cubicBezTo>
                      <a:pt x="58" y="60"/>
                      <a:pt x="58" y="64"/>
                      <a:pt x="55" y="64"/>
                    </a:cubicBezTo>
                    <a:cubicBezTo>
                      <a:pt x="52" y="64"/>
                      <a:pt x="42" y="63"/>
                      <a:pt x="40" y="64"/>
                    </a:cubicBezTo>
                    <a:cubicBezTo>
                      <a:pt x="37" y="65"/>
                      <a:pt x="33" y="64"/>
                      <a:pt x="32" y="65"/>
                    </a:cubicBezTo>
                    <a:cubicBezTo>
                      <a:pt x="31" y="66"/>
                      <a:pt x="31" y="68"/>
                      <a:pt x="29" y="68"/>
                    </a:cubicBezTo>
                    <a:cubicBezTo>
                      <a:pt x="29" y="68"/>
                      <a:pt x="29" y="68"/>
                      <a:pt x="28" y="68"/>
                    </a:cubicBezTo>
                    <a:cubicBezTo>
                      <a:pt x="26" y="68"/>
                      <a:pt x="25" y="66"/>
                      <a:pt x="24" y="63"/>
                    </a:cubicBezTo>
                    <a:cubicBezTo>
                      <a:pt x="23" y="60"/>
                      <a:pt x="24" y="59"/>
                      <a:pt x="21" y="59"/>
                    </a:cubicBezTo>
                    <a:cubicBezTo>
                      <a:pt x="18" y="58"/>
                      <a:pt x="17" y="59"/>
                      <a:pt x="15" y="60"/>
                    </a:cubicBezTo>
                    <a:cubicBezTo>
                      <a:pt x="14" y="58"/>
                      <a:pt x="13" y="57"/>
                      <a:pt x="16" y="54"/>
                    </a:cubicBezTo>
                    <a:cubicBezTo>
                      <a:pt x="18" y="52"/>
                      <a:pt x="18" y="51"/>
                      <a:pt x="18" y="49"/>
                    </a:cubicBezTo>
                    <a:cubicBezTo>
                      <a:pt x="18" y="47"/>
                      <a:pt x="19" y="43"/>
                      <a:pt x="17" y="41"/>
                    </a:cubicBezTo>
                    <a:cubicBezTo>
                      <a:pt x="15" y="38"/>
                      <a:pt x="18" y="36"/>
                      <a:pt x="19" y="35"/>
                    </a:cubicBezTo>
                    <a:cubicBezTo>
                      <a:pt x="20" y="34"/>
                      <a:pt x="24" y="23"/>
                      <a:pt x="25" y="21"/>
                    </a:cubicBezTo>
                    <a:cubicBezTo>
                      <a:pt x="25" y="19"/>
                      <a:pt x="22" y="17"/>
                      <a:pt x="19" y="17"/>
                    </a:cubicBezTo>
                    <a:cubicBezTo>
                      <a:pt x="16" y="17"/>
                      <a:pt x="5" y="17"/>
                      <a:pt x="5" y="1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73" name="Freeform 180"/>
            <p:cNvSpPr>
              <a:spLocks/>
            </p:cNvSpPr>
            <p:nvPr/>
          </p:nvSpPr>
          <p:spPr bwMode="auto">
            <a:xfrm>
              <a:off x="5446702" y="4501623"/>
              <a:ext cx="90914" cy="84984"/>
            </a:xfrm>
            <a:custGeom>
              <a:avLst/>
              <a:gdLst>
                <a:gd name="T0" fmla="*/ 30328 w 32"/>
                <a:gd name="T1" fmla="*/ 2258 h 32"/>
                <a:gd name="T2" fmla="*/ 36744 w 32"/>
                <a:gd name="T3" fmla="*/ 1 h 32"/>
                <a:gd name="T4" fmla="*/ 62006 w 32"/>
                <a:gd name="T5" fmla="*/ 713 h 32"/>
                <a:gd name="T6" fmla="*/ 64263 w 32"/>
                <a:gd name="T7" fmla="*/ 2744 h 32"/>
                <a:gd name="T8" fmla="*/ 99762 w 32"/>
                <a:gd name="T9" fmla="*/ 2744 h 32"/>
                <a:gd name="T10" fmla="*/ 108444 w 32"/>
                <a:gd name="T11" fmla="*/ 5329 h 32"/>
                <a:gd name="T12" fmla="*/ 138689 w 32"/>
                <a:gd name="T13" fmla="*/ 7420 h 32"/>
                <a:gd name="T14" fmla="*/ 125877 w 32"/>
                <a:gd name="T15" fmla="*/ 10666 h 32"/>
                <a:gd name="T16" fmla="*/ 44204 w 32"/>
                <a:gd name="T17" fmla="*/ 6707 h 32"/>
                <a:gd name="T18" fmla="*/ 0 w 32"/>
                <a:gd name="T19" fmla="*/ 4374 h 32"/>
                <a:gd name="T20" fmla="*/ 30328 w 32"/>
                <a:gd name="T21" fmla="*/ 2258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2" h="32">
                  <a:moveTo>
                    <a:pt x="7" y="7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9" y="1"/>
                    <a:pt x="14" y="0"/>
                    <a:pt x="14" y="2"/>
                  </a:cubicBezTo>
                  <a:cubicBezTo>
                    <a:pt x="14" y="3"/>
                    <a:pt x="14" y="8"/>
                    <a:pt x="15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0"/>
                    <a:pt x="22" y="14"/>
                    <a:pt x="25" y="16"/>
                  </a:cubicBezTo>
                  <a:cubicBezTo>
                    <a:pt x="27" y="17"/>
                    <a:pt x="32" y="20"/>
                    <a:pt x="32" y="22"/>
                  </a:cubicBezTo>
                  <a:cubicBezTo>
                    <a:pt x="31" y="24"/>
                    <a:pt x="29" y="32"/>
                    <a:pt x="29" y="32"/>
                  </a:cubicBezTo>
                  <a:cubicBezTo>
                    <a:pt x="25" y="30"/>
                    <a:pt x="14" y="24"/>
                    <a:pt x="10" y="20"/>
                  </a:cubicBezTo>
                  <a:cubicBezTo>
                    <a:pt x="8" y="17"/>
                    <a:pt x="4" y="15"/>
                    <a:pt x="0" y="13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74" name="Freeform 181"/>
            <p:cNvSpPr>
              <a:spLocks/>
            </p:cNvSpPr>
            <p:nvPr/>
          </p:nvSpPr>
          <p:spPr bwMode="auto">
            <a:xfrm>
              <a:off x="5433233" y="4165383"/>
              <a:ext cx="351869" cy="302986"/>
            </a:xfrm>
            <a:custGeom>
              <a:avLst/>
              <a:gdLst>
                <a:gd name="T0" fmla="*/ 36101 w 126"/>
                <a:gd name="T1" fmla="*/ 22605 h 115"/>
                <a:gd name="T2" fmla="*/ 168413 w 126"/>
                <a:gd name="T3" fmla="*/ 22036 h 115"/>
                <a:gd name="T4" fmla="*/ 173910 w 126"/>
                <a:gd name="T5" fmla="*/ 19910 h 115"/>
                <a:gd name="T6" fmla="*/ 140962 w 126"/>
                <a:gd name="T7" fmla="*/ 1 h 115"/>
                <a:gd name="T8" fmla="*/ 183550 w 126"/>
                <a:gd name="T9" fmla="*/ 0 h 115"/>
                <a:gd name="T10" fmla="*/ 183550 w 126"/>
                <a:gd name="T11" fmla="*/ 0 h 115"/>
                <a:gd name="T12" fmla="*/ 333191 w 126"/>
                <a:gd name="T13" fmla="*/ 8351 h 115"/>
                <a:gd name="T14" fmla="*/ 338693 w 126"/>
                <a:gd name="T15" fmla="*/ 9666 h 115"/>
                <a:gd name="T16" fmla="*/ 378250 w 126"/>
                <a:gd name="T17" fmla="*/ 11516 h 115"/>
                <a:gd name="T18" fmla="*/ 387841 w 126"/>
                <a:gd name="T19" fmla="*/ 13485 h 115"/>
                <a:gd name="T20" fmla="*/ 414175 w 126"/>
                <a:gd name="T21" fmla="*/ 13069 h 115"/>
                <a:gd name="T22" fmla="*/ 409565 w 126"/>
                <a:gd name="T23" fmla="*/ 18475 h 115"/>
                <a:gd name="T24" fmla="*/ 397292 w 126"/>
                <a:gd name="T25" fmla="*/ 22036 h 115"/>
                <a:gd name="T26" fmla="*/ 333924 w 126"/>
                <a:gd name="T27" fmla="*/ 22719 h 115"/>
                <a:gd name="T28" fmla="*/ 315303 w 126"/>
                <a:gd name="T29" fmla="*/ 22605 h 115"/>
                <a:gd name="T30" fmla="*/ 291807 w 126"/>
                <a:gd name="T31" fmla="*/ 22605 h 115"/>
                <a:gd name="T32" fmla="*/ 246089 w 126"/>
                <a:gd name="T33" fmla="*/ 24580 h 115"/>
                <a:gd name="T34" fmla="*/ 223069 w 126"/>
                <a:gd name="T35" fmla="*/ 26935 h 115"/>
                <a:gd name="T36" fmla="*/ 209989 w 126"/>
                <a:gd name="T37" fmla="*/ 26055 h 115"/>
                <a:gd name="T38" fmla="*/ 190087 w 126"/>
                <a:gd name="T39" fmla="*/ 27260 h 115"/>
                <a:gd name="T40" fmla="*/ 194264 w 126"/>
                <a:gd name="T41" fmla="*/ 28743 h 115"/>
                <a:gd name="T42" fmla="*/ 173910 w 126"/>
                <a:gd name="T43" fmla="*/ 30357 h 115"/>
                <a:gd name="T44" fmla="*/ 164758 w 126"/>
                <a:gd name="T45" fmla="*/ 33400 h 115"/>
                <a:gd name="T46" fmla="*/ 130215 w 126"/>
                <a:gd name="T47" fmla="*/ 33674 h 115"/>
                <a:gd name="T48" fmla="*/ 101531 w 126"/>
                <a:gd name="T49" fmla="*/ 33674 h 115"/>
                <a:gd name="T50" fmla="*/ 89442 w 126"/>
                <a:gd name="T51" fmla="*/ 30754 h 115"/>
                <a:gd name="T52" fmla="*/ 75595 w 126"/>
                <a:gd name="T53" fmla="*/ 28743 h 115"/>
                <a:gd name="T54" fmla="*/ 43323 w 126"/>
                <a:gd name="T55" fmla="*/ 29788 h 115"/>
                <a:gd name="T56" fmla="*/ 19885 w 126"/>
                <a:gd name="T57" fmla="*/ 28743 h 115"/>
                <a:gd name="T58" fmla="*/ 14330 w 126"/>
                <a:gd name="T59" fmla="*/ 26347 h 115"/>
                <a:gd name="T60" fmla="*/ 0 w 126"/>
                <a:gd name="T61" fmla="*/ 23736 h 115"/>
                <a:gd name="T62" fmla="*/ 15746 w 126"/>
                <a:gd name="T63" fmla="*/ 21742 h 115"/>
                <a:gd name="T64" fmla="*/ 36101 w 126"/>
                <a:gd name="T65" fmla="*/ 22605 h 11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6" h="115">
                  <a:moveTo>
                    <a:pt x="11" y="77"/>
                  </a:moveTo>
                  <a:cubicBezTo>
                    <a:pt x="12" y="77"/>
                    <a:pt x="51" y="75"/>
                    <a:pt x="51" y="75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2" y="32"/>
                    <a:pt x="103" y="33"/>
                  </a:cubicBezTo>
                  <a:cubicBezTo>
                    <a:pt x="104" y="35"/>
                    <a:pt x="113" y="38"/>
                    <a:pt x="115" y="39"/>
                  </a:cubicBezTo>
                  <a:cubicBezTo>
                    <a:pt x="118" y="40"/>
                    <a:pt x="118" y="46"/>
                    <a:pt x="118" y="46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5" y="63"/>
                    <a:pt x="125" y="63"/>
                    <a:pt x="125" y="63"/>
                  </a:cubicBezTo>
                  <a:cubicBezTo>
                    <a:pt x="125" y="65"/>
                    <a:pt x="123" y="75"/>
                    <a:pt x="121" y="75"/>
                  </a:cubicBezTo>
                  <a:cubicBezTo>
                    <a:pt x="119" y="75"/>
                    <a:pt x="103" y="78"/>
                    <a:pt x="102" y="78"/>
                  </a:cubicBezTo>
                  <a:cubicBezTo>
                    <a:pt x="101" y="78"/>
                    <a:pt x="98" y="77"/>
                    <a:pt x="96" y="77"/>
                  </a:cubicBezTo>
                  <a:cubicBezTo>
                    <a:pt x="93" y="77"/>
                    <a:pt x="90" y="77"/>
                    <a:pt x="89" y="77"/>
                  </a:cubicBezTo>
                  <a:cubicBezTo>
                    <a:pt x="86" y="77"/>
                    <a:pt x="77" y="82"/>
                    <a:pt x="75" y="84"/>
                  </a:cubicBezTo>
                  <a:cubicBezTo>
                    <a:pt x="73" y="86"/>
                    <a:pt x="69" y="92"/>
                    <a:pt x="68" y="92"/>
                  </a:cubicBezTo>
                  <a:cubicBezTo>
                    <a:pt x="67" y="93"/>
                    <a:pt x="64" y="89"/>
                    <a:pt x="64" y="89"/>
                  </a:cubicBezTo>
                  <a:cubicBezTo>
                    <a:pt x="64" y="89"/>
                    <a:pt x="59" y="92"/>
                    <a:pt x="58" y="93"/>
                  </a:cubicBezTo>
                  <a:cubicBezTo>
                    <a:pt x="57" y="94"/>
                    <a:pt x="61" y="97"/>
                    <a:pt x="59" y="98"/>
                  </a:cubicBezTo>
                  <a:cubicBezTo>
                    <a:pt x="58" y="99"/>
                    <a:pt x="55" y="102"/>
                    <a:pt x="53" y="104"/>
                  </a:cubicBezTo>
                  <a:cubicBezTo>
                    <a:pt x="51" y="106"/>
                    <a:pt x="50" y="114"/>
                    <a:pt x="50" y="114"/>
                  </a:cubicBezTo>
                  <a:cubicBezTo>
                    <a:pt x="48" y="114"/>
                    <a:pt x="42" y="115"/>
                    <a:pt x="40" y="115"/>
                  </a:cubicBezTo>
                  <a:cubicBezTo>
                    <a:pt x="40" y="115"/>
                    <a:pt x="36" y="115"/>
                    <a:pt x="31" y="115"/>
                  </a:cubicBezTo>
                  <a:cubicBezTo>
                    <a:pt x="32" y="114"/>
                    <a:pt x="28" y="107"/>
                    <a:pt x="27" y="105"/>
                  </a:cubicBezTo>
                  <a:cubicBezTo>
                    <a:pt x="26" y="103"/>
                    <a:pt x="24" y="98"/>
                    <a:pt x="23" y="98"/>
                  </a:cubicBezTo>
                  <a:cubicBezTo>
                    <a:pt x="21" y="98"/>
                    <a:pt x="16" y="102"/>
                    <a:pt x="13" y="102"/>
                  </a:cubicBezTo>
                  <a:cubicBezTo>
                    <a:pt x="9" y="103"/>
                    <a:pt x="7" y="99"/>
                    <a:pt x="6" y="98"/>
                  </a:cubicBezTo>
                  <a:cubicBezTo>
                    <a:pt x="6" y="98"/>
                    <a:pt x="5" y="92"/>
                    <a:pt x="4" y="90"/>
                  </a:cubicBezTo>
                  <a:cubicBezTo>
                    <a:pt x="2" y="88"/>
                    <a:pt x="0" y="81"/>
                    <a:pt x="0" y="81"/>
                  </a:cubicBezTo>
                  <a:cubicBezTo>
                    <a:pt x="3" y="80"/>
                    <a:pt x="3" y="74"/>
                    <a:pt x="5" y="74"/>
                  </a:cubicBezTo>
                  <a:cubicBezTo>
                    <a:pt x="8" y="74"/>
                    <a:pt x="9" y="77"/>
                    <a:pt x="11" y="7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75" name="Freeform 182"/>
            <p:cNvSpPr>
              <a:spLocks/>
            </p:cNvSpPr>
            <p:nvPr/>
          </p:nvSpPr>
          <p:spPr bwMode="auto">
            <a:xfrm>
              <a:off x="5411347" y="3925211"/>
              <a:ext cx="259272" cy="184748"/>
            </a:xfrm>
            <a:custGeom>
              <a:avLst/>
              <a:gdLst>
                <a:gd name="T0" fmla="*/ 5602 w 93"/>
                <a:gd name="T1" fmla="*/ 19716 h 70"/>
                <a:gd name="T2" fmla="*/ 32383 w 93"/>
                <a:gd name="T3" fmla="*/ 19239 h 70"/>
                <a:gd name="T4" fmla="*/ 79484 w 93"/>
                <a:gd name="T5" fmla="*/ 16143 h 70"/>
                <a:gd name="T6" fmla="*/ 92070 w 93"/>
                <a:gd name="T7" fmla="*/ 13313 h 70"/>
                <a:gd name="T8" fmla="*/ 79484 w 93"/>
                <a:gd name="T9" fmla="*/ 12787 h 70"/>
                <a:gd name="T10" fmla="*/ 82917 w 93"/>
                <a:gd name="T11" fmla="*/ 10761 h 70"/>
                <a:gd name="T12" fmla="*/ 115490 w 93"/>
                <a:gd name="T13" fmla="*/ 6523 h 70"/>
                <a:gd name="T14" fmla="*/ 161973 w 93"/>
                <a:gd name="T15" fmla="*/ 3537 h 70"/>
                <a:gd name="T16" fmla="*/ 179364 w 93"/>
                <a:gd name="T17" fmla="*/ 680 h 70"/>
                <a:gd name="T18" fmla="*/ 188662 w 93"/>
                <a:gd name="T19" fmla="*/ 0 h 70"/>
                <a:gd name="T20" fmla="*/ 194979 w 93"/>
                <a:gd name="T21" fmla="*/ 0 h 70"/>
                <a:gd name="T22" fmla="*/ 204719 w 93"/>
                <a:gd name="T23" fmla="*/ 971 h 70"/>
                <a:gd name="T24" fmla="*/ 232813 w 93"/>
                <a:gd name="T25" fmla="*/ 1387 h 70"/>
                <a:gd name="T26" fmla="*/ 248912 w 93"/>
                <a:gd name="T27" fmla="*/ 680 h 70"/>
                <a:gd name="T28" fmla="*/ 262595 w 93"/>
                <a:gd name="T29" fmla="*/ 1981 h 70"/>
                <a:gd name="T30" fmla="*/ 273627 w 93"/>
                <a:gd name="T31" fmla="*/ 1456 h 70"/>
                <a:gd name="T32" fmla="*/ 273627 w 93"/>
                <a:gd name="T33" fmla="*/ 1456 h 70"/>
                <a:gd name="T34" fmla="*/ 282431 w 93"/>
                <a:gd name="T35" fmla="*/ 4857 h 70"/>
                <a:gd name="T36" fmla="*/ 297011 w 93"/>
                <a:gd name="T37" fmla="*/ 7533 h 70"/>
                <a:gd name="T38" fmla="*/ 293572 w 93"/>
                <a:gd name="T39" fmla="*/ 8951 h 70"/>
                <a:gd name="T40" fmla="*/ 237963 w 93"/>
                <a:gd name="T41" fmla="*/ 9913 h 70"/>
                <a:gd name="T42" fmla="*/ 232813 w 93"/>
                <a:gd name="T43" fmla="*/ 11981 h 70"/>
                <a:gd name="T44" fmla="*/ 204719 w 93"/>
                <a:gd name="T45" fmla="*/ 12787 h 70"/>
                <a:gd name="T46" fmla="*/ 194979 w 93"/>
                <a:gd name="T47" fmla="*/ 14733 h 70"/>
                <a:gd name="T48" fmla="*/ 152460 w 93"/>
                <a:gd name="T49" fmla="*/ 15373 h 70"/>
                <a:gd name="T50" fmla="*/ 115490 w 93"/>
                <a:gd name="T51" fmla="*/ 17676 h 70"/>
                <a:gd name="T52" fmla="*/ 111958 w 93"/>
                <a:gd name="T53" fmla="*/ 20747 h 70"/>
                <a:gd name="T54" fmla="*/ 0 w 93"/>
                <a:gd name="T55" fmla="*/ 21047 h 70"/>
                <a:gd name="T56" fmla="*/ 5602 w 93"/>
                <a:gd name="T57" fmla="*/ 19716 h 7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3" h="70">
                  <a:moveTo>
                    <a:pt x="2" y="66"/>
                  </a:moveTo>
                  <a:cubicBezTo>
                    <a:pt x="3" y="64"/>
                    <a:pt x="7" y="65"/>
                    <a:pt x="10" y="64"/>
                  </a:cubicBezTo>
                  <a:cubicBezTo>
                    <a:pt x="12" y="63"/>
                    <a:pt x="23" y="57"/>
                    <a:pt x="25" y="53"/>
                  </a:cubicBezTo>
                  <a:cubicBezTo>
                    <a:pt x="27" y="49"/>
                    <a:pt x="29" y="45"/>
                    <a:pt x="29" y="44"/>
                  </a:cubicBezTo>
                  <a:cubicBezTo>
                    <a:pt x="29" y="42"/>
                    <a:pt x="25" y="45"/>
                    <a:pt x="25" y="43"/>
                  </a:cubicBezTo>
                  <a:cubicBezTo>
                    <a:pt x="25" y="41"/>
                    <a:pt x="25" y="40"/>
                    <a:pt x="26" y="36"/>
                  </a:cubicBezTo>
                  <a:cubicBezTo>
                    <a:pt x="28" y="32"/>
                    <a:pt x="32" y="25"/>
                    <a:pt x="36" y="22"/>
                  </a:cubicBezTo>
                  <a:cubicBezTo>
                    <a:pt x="40" y="19"/>
                    <a:pt x="49" y="15"/>
                    <a:pt x="51" y="12"/>
                  </a:cubicBezTo>
                  <a:cubicBezTo>
                    <a:pt x="55" y="9"/>
                    <a:pt x="56" y="3"/>
                    <a:pt x="56" y="2"/>
                  </a:cubicBezTo>
                  <a:cubicBezTo>
                    <a:pt x="56" y="1"/>
                    <a:pt x="58" y="0"/>
                    <a:pt x="59" y="0"/>
                  </a:cubicBezTo>
                  <a:cubicBezTo>
                    <a:pt x="60" y="0"/>
                    <a:pt x="60" y="0"/>
                    <a:pt x="61" y="0"/>
                  </a:cubicBezTo>
                  <a:cubicBezTo>
                    <a:pt x="62" y="0"/>
                    <a:pt x="61" y="2"/>
                    <a:pt x="64" y="3"/>
                  </a:cubicBezTo>
                  <a:cubicBezTo>
                    <a:pt x="66" y="4"/>
                    <a:pt x="70" y="4"/>
                    <a:pt x="73" y="4"/>
                  </a:cubicBezTo>
                  <a:cubicBezTo>
                    <a:pt x="75" y="4"/>
                    <a:pt x="77" y="2"/>
                    <a:pt x="78" y="2"/>
                  </a:cubicBezTo>
                  <a:cubicBezTo>
                    <a:pt x="79" y="1"/>
                    <a:pt x="80" y="6"/>
                    <a:pt x="82" y="6"/>
                  </a:cubicBezTo>
                  <a:cubicBezTo>
                    <a:pt x="83" y="6"/>
                    <a:pt x="84" y="5"/>
                    <a:pt x="86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6" y="5"/>
                    <a:pt x="88" y="13"/>
                    <a:pt x="88" y="16"/>
                  </a:cubicBezTo>
                  <a:cubicBezTo>
                    <a:pt x="88" y="20"/>
                    <a:pt x="93" y="23"/>
                    <a:pt x="93" y="25"/>
                  </a:cubicBezTo>
                  <a:cubicBezTo>
                    <a:pt x="93" y="26"/>
                    <a:pt x="92" y="30"/>
                    <a:pt x="92" y="30"/>
                  </a:cubicBezTo>
                  <a:cubicBezTo>
                    <a:pt x="92" y="30"/>
                    <a:pt x="76" y="32"/>
                    <a:pt x="74" y="33"/>
                  </a:cubicBezTo>
                  <a:cubicBezTo>
                    <a:pt x="72" y="35"/>
                    <a:pt x="75" y="40"/>
                    <a:pt x="73" y="40"/>
                  </a:cubicBezTo>
                  <a:cubicBezTo>
                    <a:pt x="71" y="41"/>
                    <a:pt x="67" y="43"/>
                    <a:pt x="64" y="43"/>
                  </a:cubicBezTo>
                  <a:cubicBezTo>
                    <a:pt x="62" y="43"/>
                    <a:pt x="63" y="48"/>
                    <a:pt x="61" y="49"/>
                  </a:cubicBezTo>
                  <a:cubicBezTo>
                    <a:pt x="60" y="51"/>
                    <a:pt x="51" y="51"/>
                    <a:pt x="48" y="51"/>
                  </a:cubicBezTo>
                  <a:cubicBezTo>
                    <a:pt x="45" y="52"/>
                    <a:pt x="36" y="59"/>
                    <a:pt x="36" y="5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" y="68"/>
                    <a:pt x="1" y="67"/>
                    <a:pt x="2" y="6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76" name="Freeform 183"/>
            <p:cNvSpPr>
              <a:spLocks/>
            </p:cNvSpPr>
            <p:nvPr/>
          </p:nvSpPr>
          <p:spPr bwMode="auto">
            <a:xfrm>
              <a:off x="5407980" y="4472064"/>
              <a:ext cx="62293" cy="64662"/>
            </a:xfrm>
            <a:custGeom>
              <a:avLst/>
              <a:gdLst>
                <a:gd name="T0" fmla="*/ 17365 w 22"/>
                <a:gd name="T1" fmla="*/ 7411 h 24"/>
                <a:gd name="T2" fmla="*/ 6650 w 22"/>
                <a:gd name="T3" fmla="*/ 5082 h 24"/>
                <a:gd name="T4" fmla="*/ 0 w 22"/>
                <a:gd name="T5" fmla="*/ 3003 h 24"/>
                <a:gd name="T6" fmla="*/ 24962 w 22"/>
                <a:gd name="T7" fmla="*/ 1800 h 24"/>
                <a:gd name="T8" fmla="*/ 49118 w 22"/>
                <a:gd name="T9" fmla="*/ 0 h 24"/>
                <a:gd name="T10" fmla="*/ 78302 w 22"/>
                <a:gd name="T11" fmla="*/ 1234 h 24"/>
                <a:gd name="T12" fmla="*/ 89474 w 22"/>
                <a:gd name="T13" fmla="*/ 5082 h 24"/>
                <a:gd name="T14" fmla="*/ 85704 w 22"/>
                <a:gd name="T15" fmla="*/ 7411 h 24"/>
                <a:gd name="T16" fmla="*/ 57922 w 22"/>
                <a:gd name="T17" fmla="*/ 10006 h 24"/>
                <a:gd name="T18" fmla="*/ 41982 w 22"/>
                <a:gd name="T19" fmla="*/ 9313 h 24"/>
                <a:gd name="T20" fmla="*/ 17365 w 22"/>
                <a:gd name="T21" fmla="*/ 7411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" h="24">
                  <a:moveTo>
                    <a:pt x="4" y="18"/>
                  </a:moveTo>
                  <a:cubicBezTo>
                    <a:pt x="4" y="17"/>
                    <a:pt x="3" y="14"/>
                    <a:pt x="2" y="12"/>
                  </a:cubicBezTo>
                  <a:cubicBezTo>
                    <a:pt x="2" y="12"/>
                    <a:pt x="1" y="10"/>
                    <a:pt x="0" y="7"/>
                  </a:cubicBezTo>
                  <a:cubicBezTo>
                    <a:pt x="0" y="7"/>
                    <a:pt x="4" y="6"/>
                    <a:pt x="6" y="4"/>
                  </a:cubicBezTo>
                  <a:cubicBezTo>
                    <a:pt x="7" y="3"/>
                    <a:pt x="7" y="0"/>
                    <a:pt x="12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4"/>
                    <a:pt x="21" y="11"/>
                    <a:pt x="22" y="12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3"/>
                    <a:pt x="11" y="22"/>
                    <a:pt x="10" y="22"/>
                  </a:cubicBezTo>
                  <a:cubicBezTo>
                    <a:pt x="7" y="20"/>
                    <a:pt x="6" y="20"/>
                    <a:pt x="4" y="1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77" name="Freeform 184"/>
            <p:cNvSpPr>
              <a:spLocks/>
            </p:cNvSpPr>
            <p:nvPr/>
          </p:nvSpPr>
          <p:spPr bwMode="auto">
            <a:xfrm>
              <a:off x="5375991" y="4416639"/>
              <a:ext cx="153206" cy="105306"/>
            </a:xfrm>
            <a:custGeom>
              <a:avLst/>
              <a:gdLst>
                <a:gd name="T0" fmla="*/ 25141 w 55"/>
                <a:gd name="T1" fmla="*/ 6636 h 40"/>
                <a:gd name="T2" fmla="*/ 0 w 55"/>
                <a:gd name="T3" fmla="*/ 4074 h 40"/>
                <a:gd name="T4" fmla="*/ 15195 w 55"/>
                <a:gd name="T5" fmla="*/ 2670 h 40"/>
                <a:gd name="T6" fmla="*/ 31941 w 55"/>
                <a:gd name="T7" fmla="*/ 2293 h 40"/>
                <a:gd name="T8" fmla="*/ 38460 w 55"/>
                <a:gd name="T9" fmla="*/ 1 h 40"/>
                <a:gd name="T10" fmla="*/ 85032 w 55"/>
                <a:gd name="T11" fmla="*/ 648 h 40"/>
                <a:gd name="T12" fmla="*/ 107335 w 55"/>
                <a:gd name="T13" fmla="*/ 1874 h 40"/>
                <a:gd name="T14" fmla="*/ 139442 w 55"/>
                <a:gd name="T15" fmla="*/ 648 h 40"/>
                <a:gd name="T16" fmla="*/ 151073 w 55"/>
                <a:gd name="T17" fmla="*/ 2670 h 40"/>
                <a:gd name="T18" fmla="*/ 163931 w 55"/>
                <a:gd name="T19" fmla="*/ 5422 h 40"/>
                <a:gd name="T20" fmla="*/ 169103 w 55"/>
                <a:gd name="T21" fmla="*/ 8272 h 40"/>
                <a:gd name="T22" fmla="*/ 163931 w 55"/>
                <a:gd name="T23" fmla="*/ 10388 h 40"/>
                <a:gd name="T24" fmla="*/ 154333 w 55"/>
                <a:gd name="T25" fmla="*/ 11514 h 40"/>
                <a:gd name="T26" fmla="*/ 129912 w 55"/>
                <a:gd name="T27" fmla="*/ 11514 h 40"/>
                <a:gd name="T28" fmla="*/ 125458 w 55"/>
                <a:gd name="T29" fmla="*/ 9690 h 40"/>
                <a:gd name="T30" fmla="*/ 107335 w 55"/>
                <a:gd name="T31" fmla="*/ 9456 h 40"/>
                <a:gd name="T32" fmla="*/ 96816 w 55"/>
                <a:gd name="T33" fmla="*/ 6800 h 40"/>
                <a:gd name="T34" fmla="*/ 75826 w 55"/>
                <a:gd name="T35" fmla="*/ 6112 h 40"/>
                <a:gd name="T36" fmla="*/ 57816 w 55"/>
                <a:gd name="T37" fmla="*/ 7290 h 40"/>
                <a:gd name="T38" fmla="*/ 38460 w 55"/>
                <a:gd name="T39" fmla="*/ 8080 h 40"/>
                <a:gd name="T40" fmla="*/ 25141 w 55"/>
                <a:gd name="T41" fmla="*/ 6636 h 4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5" h="40">
                  <a:moveTo>
                    <a:pt x="8" y="23"/>
                  </a:moveTo>
                  <a:cubicBezTo>
                    <a:pt x="7" y="21"/>
                    <a:pt x="2" y="16"/>
                    <a:pt x="0" y="14"/>
                  </a:cubicBezTo>
                  <a:cubicBezTo>
                    <a:pt x="0" y="14"/>
                    <a:pt x="3" y="9"/>
                    <a:pt x="5" y="9"/>
                  </a:cubicBezTo>
                  <a:cubicBezTo>
                    <a:pt x="6" y="8"/>
                    <a:pt x="9" y="9"/>
                    <a:pt x="10" y="8"/>
                  </a:cubicBezTo>
                  <a:cubicBezTo>
                    <a:pt x="11" y="7"/>
                    <a:pt x="9" y="1"/>
                    <a:pt x="12" y="1"/>
                  </a:cubicBezTo>
                  <a:cubicBezTo>
                    <a:pt x="14" y="0"/>
                    <a:pt x="26" y="1"/>
                    <a:pt x="27" y="2"/>
                  </a:cubicBezTo>
                  <a:cubicBezTo>
                    <a:pt x="28" y="3"/>
                    <a:pt x="30" y="7"/>
                    <a:pt x="34" y="6"/>
                  </a:cubicBezTo>
                  <a:cubicBezTo>
                    <a:pt x="37" y="6"/>
                    <a:pt x="42" y="2"/>
                    <a:pt x="44" y="2"/>
                  </a:cubicBezTo>
                  <a:cubicBezTo>
                    <a:pt x="45" y="2"/>
                    <a:pt x="47" y="7"/>
                    <a:pt x="48" y="9"/>
                  </a:cubicBezTo>
                  <a:cubicBezTo>
                    <a:pt x="49" y="11"/>
                    <a:pt x="53" y="18"/>
                    <a:pt x="52" y="19"/>
                  </a:cubicBezTo>
                  <a:cubicBezTo>
                    <a:pt x="52" y="21"/>
                    <a:pt x="52" y="28"/>
                    <a:pt x="54" y="29"/>
                  </a:cubicBezTo>
                  <a:cubicBezTo>
                    <a:pt x="55" y="31"/>
                    <a:pt x="53" y="36"/>
                    <a:pt x="52" y="36"/>
                  </a:cubicBezTo>
                  <a:cubicBezTo>
                    <a:pt x="50" y="36"/>
                    <a:pt x="49" y="39"/>
                    <a:pt x="49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0" y="40"/>
                    <a:pt x="40" y="35"/>
                    <a:pt x="40" y="34"/>
                  </a:cubicBezTo>
                  <a:cubicBezTo>
                    <a:pt x="40" y="32"/>
                    <a:pt x="35" y="33"/>
                    <a:pt x="34" y="33"/>
                  </a:cubicBezTo>
                  <a:cubicBezTo>
                    <a:pt x="33" y="32"/>
                    <a:pt x="31" y="25"/>
                    <a:pt x="31" y="24"/>
                  </a:cubicBezTo>
                  <a:cubicBezTo>
                    <a:pt x="31" y="22"/>
                    <a:pt x="30" y="21"/>
                    <a:pt x="24" y="21"/>
                  </a:cubicBezTo>
                  <a:cubicBezTo>
                    <a:pt x="19" y="21"/>
                    <a:pt x="19" y="24"/>
                    <a:pt x="18" y="25"/>
                  </a:cubicBezTo>
                  <a:cubicBezTo>
                    <a:pt x="16" y="27"/>
                    <a:pt x="12" y="28"/>
                    <a:pt x="12" y="28"/>
                  </a:cubicBezTo>
                  <a:cubicBezTo>
                    <a:pt x="11" y="26"/>
                    <a:pt x="9" y="23"/>
                    <a:pt x="8" y="2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78" name="Freeform 185"/>
            <p:cNvSpPr>
              <a:spLocks/>
            </p:cNvSpPr>
            <p:nvPr/>
          </p:nvSpPr>
          <p:spPr bwMode="auto">
            <a:xfrm>
              <a:off x="5330535" y="4106263"/>
              <a:ext cx="178460" cy="131171"/>
            </a:xfrm>
            <a:custGeom>
              <a:avLst/>
              <a:gdLst>
                <a:gd name="T0" fmla="*/ 52781 w 64"/>
                <a:gd name="T1" fmla="*/ 6408 h 50"/>
                <a:gd name="T2" fmla="*/ 59178 w 64"/>
                <a:gd name="T3" fmla="*/ 3178 h 50"/>
                <a:gd name="T4" fmla="*/ 83086 w 64"/>
                <a:gd name="T5" fmla="*/ 1896 h 50"/>
                <a:gd name="T6" fmla="*/ 93707 w 64"/>
                <a:gd name="T7" fmla="*/ 1 h 50"/>
                <a:gd name="T8" fmla="*/ 206319 w 64"/>
                <a:gd name="T9" fmla="*/ 0 h 50"/>
                <a:gd name="T10" fmla="*/ 206319 w 64"/>
                <a:gd name="T11" fmla="*/ 879 h 50"/>
                <a:gd name="T12" fmla="*/ 206319 w 64"/>
                <a:gd name="T13" fmla="*/ 3573 h 50"/>
                <a:gd name="T14" fmla="*/ 121476 w 64"/>
                <a:gd name="T15" fmla="*/ 3573 h 50"/>
                <a:gd name="T16" fmla="*/ 121476 w 64"/>
                <a:gd name="T17" fmla="*/ 9099 h 50"/>
                <a:gd name="T18" fmla="*/ 98014 w 64"/>
                <a:gd name="T19" fmla="*/ 9606 h 50"/>
                <a:gd name="T20" fmla="*/ 98014 w 64"/>
                <a:gd name="T21" fmla="*/ 13641 h 50"/>
                <a:gd name="T22" fmla="*/ 0 w 64"/>
                <a:gd name="T23" fmla="*/ 13425 h 50"/>
                <a:gd name="T24" fmla="*/ 23457 w 64"/>
                <a:gd name="T25" fmla="*/ 9606 h 50"/>
                <a:gd name="T26" fmla="*/ 52781 w 64"/>
                <a:gd name="T27" fmla="*/ 6408 h 5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4" h="50">
                  <a:moveTo>
                    <a:pt x="16" y="23"/>
                  </a:moveTo>
                  <a:cubicBezTo>
                    <a:pt x="18" y="22"/>
                    <a:pt x="18" y="13"/>
                    <a:pt x="19" y="11"/>
                  </a:cubicBezTo>
                  <a:cubicBezTo>
                    <a:pt x="21" y="9"/>
                    <a:pt x="24" y="8"/>
                    <a:pt x="26" y="7"/>
                  </a:cubicBezTo>
                  <a:cubicBezTo>
                    <a:pt x="27" y="7"/>
                    <a:pt x="28" y="3"/>
                    <a:pt x="29" y="1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4" y="33"/>
                    <a:pt x="31" y="35"/>
                  </a:cubicBezTo>
                  <a:cubicBezTo>
                    <a:pt x="28" y="37"/>
                    <a:pt x="31" y="50"/>
                    <a:pt x="31" y="5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4"/>
                    <a:pt x="5" y="37"/>
                    <a:pt x="7" y="35"/>
                  </a:cubicBezTo>
                  <a:cubicBezTo>
                    <a:pt x="8" y="32"/>
                    <a:pt x="14" y="25"/>
                    <a:pt x="16" y="2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79" name="Freeform 186"/>
            <p:cNvSpPr>
              <a:spLocks/>
            </p:cNvSpPr>
            <p:nvPr/>
          </p:nvSpPr>
          <p:spPr bwMode="auto">
            <a:xfrm>
              <a:off x="5338953" y="4416639"/>
              <a:ext cx="69027" cy="36950"/>
            </a:xfrm>
            <a:custGeom>
              <a:avLst/>
              <a:gdLst>
                <a:gd name="T0" fmla="*/ 11270 w 25"/>
                <a:gd name="T1" fmla="*/ 2380 h 14"/>
                <a:gd name="T2" fmla="*/ 0 w 25"/>
                <a:gd name="T3" fmla="*/ 971 h 14"/>
                <a:gd name="T4" fmla="*/ 30312 w 25"/>
                <a:gd name="T5" fmla="*/ 0 h 14"/>
                <a:gd name="T6" fmla="*/ 68122 w 25"/>
                <a:gd name="T7" fmla="*/ 1 h 14"/>
                <a:gd name="T8" fmla="*/ 63151 w 25"/>
                <a:gd name="T9" fmla="*/ 2380 h 14"/>
                <a:gd name="T10" fmla="*/ 49712 w 25"/>
                <a:gd name="T11" fmla="*/ 2830 h 14"/>
                <a:gd name="T12" fmla="*/ 34902 w 25"/>
                <a:gd name="T13" fmla="*/ 4244 h 14"/>
                <a:gd name="T14" fmla="*/ 33661 w 25"/>
                <a:gd name="T15" fmla="*/ 4244 h 14"/>
                <a:gd name="T16" fmla="*/ 26811 w 25"/>
                <a:gd name="T17" fmla="*/ 2380 h 14"/>
                <a:gd name="T18" fmla="*/ 11270 w 25"/>
                <a:gd name="T19" fmla="*/ 2380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5" h="14">
                  <a:moveTo>
                    <a:pt x="4" y="8"/>
                  </a:moveTo>
                  <a:cubicBezTo>
                    <a:pt x="3" y="8"/>
                    <a:pt x="1" y="5"/>
                    <a:pt x="0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2" y="1"/>
                    <a:pt x="24" y="7"/>
                    <a:pt x="23" y="8"/>
                  </a:cubicBezTo>
                  <a:cubicBezTo>
                    <a:pt x="22" y="9"/>
                    <a:pt x="19" y="8"/>
                    <a:pt x="18" y="9"/>
                  </a:cubicBezTo>
                  <a:cubicBezTo>
                    <a:pt x="16" y="9"/>
                    <a:pt x="13" y="14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1" y="12"/>
                    <a:pt x="9" y="10"/>
                    <a:pt x="10" y="8"/>
                  </a:cubicBezTo>
                  <a:cubicBezTo>
                    <a:pt x="10" y="6"/>
                    <a:pt x="6" y="8"/>
                    <a:pt x="4" y="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0" name="Freeform 187"/>
            <p:cNvSpPr>
              <a:spLocks/>
            </p:cNvSpPr>
            <p:nvPr/>
          </p:nvSpPr>
          <p:spPr bwMode="auto">
            <a:xfrm>
              <a:off x="5322117" y="4337198"/>
              <a:ext cx="127952" cy="88679"/>
            </a:xfrm>
            <a:custGeom>
              <a:avLst/>
              <a:gdLst>
                <a:gd name="T0" fmla="*/ 43014 w 46"/>
                <a:gd name="T1" fmla="*/ 6438 h 34"/>
                <a:gd name="T2" fmla="*/ 19081 w 46"/>
                <a:gd name="T3" fmla="*/ 5514 h 34"/>
                <a:gd name="T4" fmla="*/ 8852 w 46"/>
                <a:gd name="T5" fmla="*/ 4285 h 34"/>
                <a:gd name="T6" fmla="*/ 0 w 46"/>
                <a:gd name="T7" fmla="*/ 3675 h 34"/>
                <a:gd name="T8" fmla="*/ 22762 w 46"/>
                <a:gd name="T9" fmla="*/ 1005 h 34"/>
                <a:gd name="T10" fmla="*/ 24163 w 46"/>
                <a:gd name="T11" fmla="*/ 0 h 34"/>
                <a:gd name="T12" fmla="*/ 43014 w 46"/>
                <a:gd name="T13" fmla="*/ 1 h 34"/>
                <a:gd name="T14" fmla="*/ 71067 w 46"/>
                <a:gd name="T15" fmla="*/ 1 h 34"/>
                <a:gd name="T16" fmla="*/ 122937 w 46"/>
                <a:gd name="T17" fmla="*/ 3992 h 34"/>
                <a:gd name="T18" fmla="*/ 136384 w 46"/>
                <a:gd name="T19" fmla="*/ 6059 h 34"/>
                <a:gd name="T20" fmla="*/ 142175 w 46"/>
                <a:gd name="T21" fmla="*/ 8201 h 34"/>
                <a:gd name="T22" fmla="*/ 95208 w 46"/>
                <a:gd name="T23" fmla="*/ 7957 h 34"/>
                <a:gd name="T24" fmla="*/ 52085 w 46"/>
                <a:gd name="T25" fmla="*/ 7784 h 34"/>
                <a:gd name="T26" fmla="*/ 19081 w 46"/>
                <a:gd name="T27" fmla="*/ 8540 h 34"/>
                <a:gd name="T28" fmla="*/ 14625 w 46"/>
                <a:gd name="T29" fmla="*/ 7324 h 34"/>
                <a:gd name="T30" fmla="*/ 43014 w 46"/>
                <a:gd name="T31" fmla="*/ 6438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6" h="34">
                  <a:moveTo>
                    <a:pt x="14" y="26"/>
                  </a:moveTo>
                  <a:cubicBezTo>
                    <a:pt x="14" y="21"/>
                    <a:pt x="9" y="24"/>
                    <a:pt x="6" y="22"/>
                  </a:cubicBezTo>
                  <a:cubicBezTo>
                    <a:pt x="3" y="20"/>
                    <a:pt x="3" y="17"/>
                    <a:pt x="3" y="17"/>
                  </a:cubicBezTo>
                  <a:cubicBezTo>
                    <a:pt x="3" y="16"/>
                    <a:pt x="0" y="16"/>
                    <a:pt x="0" y="15"/>
                  </a:cubicBezTo>
                  <a:cubicBezTo>
                    <a:pt x="0" y="13"/>
                    <a:pt x="6" y="8"/>
                    <a:pt x="7" y="4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13" y="2"/>
                    <a:pt x="14" y="1"/>
                  </a:cubicBezTo>
                  <a:cubicBezTo>
                    <a:pt x="16" y="1"/>
                    <a:pt x="21" y="0"/>
                    <a:pt x="23" y="1"/>
                  </a:cubicBezTo>
                  <a:cubicBezTo>
                    <a:pt x="26" y="2"/>
                    <a:pt x="37" y="17"/>
                    <a:pt x="40" y="16"/>
                  </a:cubicBezTo>
                  <a:cubicBezTo>
                    <a:pt x="40" y="16"/>
                    <a:pt x="42" y="23"/>
                    <a:pt x="44" y="25"/>
                  </a:cubicBezTo>
                  <a:cubicBezTo>
                    <a:pt x="45" y="27"/>
                    <a:pt x="46" y="33"/>
                    <a:pt x="46" y="33"/>
                  </a:cubicBezTo>
                  <a:cubicBezTo>
                    <a:pt x="45" y="32"/>
                    <a:pt x="33" y="31"/>
                    <a:pt x="31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3"/>
                    <a:pt x="5" y="31"/>
                    <a:pt x="5" y="30"/>
                  </a:cubicBezTo>
                  <a:cubicBezTo>
                    <a:pt x="5" y="27"/>
                    <a:pt x="15" y="27"/>
                    <a:pt x="14" y="2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1" name="Freeform 188"/>
            <p:cNvSpPr>
              <a:spLocks/>
            </p:cNvSpPr>
            <p:nvPr/>
          </p:nvSpPr>
          <p:spPr bwMode="auto">
            <a:xfrm>
              <a:off x="5327167" y="4113653"/>
              <a:ext cx="264323" cy="267884"/>
            </a:xfrm>
            <a:custGeom>
              <a:avLst/>
              <a:gdLst>
                <a:gd name="T0" fmla="*/ 17624 w 94"/>
                <a:gd name="T1" fmla="*/ 16655 h 101"/>
                <a:gd name="T2" fmla="*/ 0 w 94"/>
                <a:gd name="T3" fmla="*/ 17189 h 101"/>
                <a:gd name="T4" fmla="*/ 0 w 94"/>
                <a:gd name="T5" fmla="*/ 15862 h 101"/>
                <a:gd name="T6" fmla="*/ 3783 w 94"/>
                <a:gd name="T7" fmla="*/ 14949 h 101"/>
                <a:gd name="T8" fmla="*/ 117446 w 94"/>
                <a:gd name="T9" fmla="*/ 15173 h 101"/>
                <a:gd name="T10" fmla="*/ 117446 w 94"/>
                <a:gd name="T11" fmla="*/ 10413 h 101"/>
                <a:gd name="T12" fmla="*/ 143202 w 94"/>
                <a:gd name="T13" fmla="*/ 9813 h 101"/>
                <a:gd name="T14" fmla="*/ 143202 w 94"/>
                <a:gd name="T15" fmla="*/ 3194 h 101"/>
                <a:gd name="T16" fmla="*/ 239178 w 94"/>
                <a:gd name="T17" fmla="*/ 3194 h 101"/>
                <a:gd name="T18" fmla="*/ 239178 w 94"/>
                <a:gd name="T19" fmla="*/ 0 h 101"/>
                <a:gd name="T20" fmla="*/ 345153 w 94"/>
                <a:gd name="T21" fmla="*/ 6133 h 101"/>
                <a:gd name="T22" fmla="*/ 295922 w 94"/>
                <a:gd name="T23" fmla="*/ 6582 h 101"/>
                <a:gd name="T24" fmla="*/ 333789 w 94"/>
                <a:gd name="T25" fmla="*/ 28321 h 101"/>
                <a:gd name="T26" fmla="*/ 327629 w 94"/>
                <a:gd name="T27" fmla="*/ 30753 h 101"/>
                <a:gd name="T28" fmla="*/ 180052 w 94"/>
                <a:gd name="T29" fmla="*/ 31273 h 101"/>
                <a:gd name="T30" fmla="*/ 157493 w 94"/>
                <a:gd name="T31" fmla="*/ 30391 h 101"/>
                <a:gd name="T32" fmla="*/ 137629 w 94"/>
                <a:gd name="T33" fmla="*/ 32692 h 101"/>
                <a:gd name="T34" fmla="*/ 76541 w 94"/>
                <a:gd name="T35" fmla="*/ 27592 h 101"/>
                <a:gd name="T36" fmla="*/ 43437 w 94"/>
                <a:gd name="T37" fmla="*/ 27592 h 101"/>
                <a:gd name="T38" fmla="*/ 22226 w 94"/>
                <a:gd name="T39" fmla="*/ 27477 h 101"/>
                <a:gd name="T40" fmla="*/ 29436 w 94"/>
                <a:gd name="T41" fmla="*/ 25468 h 101"/>
                <a:gd name="T42" fmla="*/ 17624 w 94"/>
                <a:gd name="T43" fmla="*/ 20926 h 101"/>
                <a:gd name="T44" fmla="*/ 22226 w 94"/>
                <a:gd name="T45" fmla="*/ 18788 h 101"/>
                <a:gd name="T46" fmla="*/ 17624 w 94"/>
                <a:gd name="T47" fmla="*/ 16655 h 10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94" h="101">
                  <a:moveTo>
                    <a:pt x="5" y="51"/>
                  </a:moveTo>
                  <a:cubicBezTo>
                    <a:pt x="5" y="49"/>
                    <a:pt x="0" y="54"/>
                    <a:pt x="0" y="53"/>
                  </a:cubicBezTo>
                  <a:cubicBezTo>
                    <a:pt x="0" y="51"/>
                    <a:pt x="0" y="51"/>
                    <a:pt x="0" y="49"/>
                  </a:cubicBezTo>
                  <a:cubicBezTo>
                    <a:pt x="0" y="48"/>
                    <a:pt x="1" y="47"/>
                    <a:pt x="1" y="46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29" y="34"/>
                    <a:pt x="32" y="32"/>
                  </a:cubicBezTo>
                  <a:cubicBezTo>
                    <a:pt x="35" y="30"/>
                    <a:pt x="39" y="30"/>
                    <a:pt x="39" y="3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89" y="94"/>
                    <a:pt x="89" y="94"/>
                    <a:pt x="89" y="94"/>
                  </a:cubicBezTo>
                  <a:cubicBezTo>
                    <a:pt x="89" y="94"/>
                    <a:pt x="50" y="96"/>
                    <a:pt x="49" y="96"/>
                  </a:cubicBezTo>
                  <a:cubicBezTo>
                    <a:pt x="47" y="96"/>
                    <a:pt x="46" y="93"/>
                    <a:pt x="43" y="93"/>
                  </a:cubicBezTo>
                  <a:cubicBezTo>
                    <a:pt x="41" y="93"/>
                    <a:pt x="41" y="99"/>
                    <a:pt x="38" y="100"/>
                  </a:cubicBezTo>
                  <a:cubicBezTo>
                    <a:pt x="35" y="101"/>
                    <a:pt x="24" y="86"/>
                    <a:pt x="21" y="85"/>
                  </a:cubicBezTo>
                  <a:cubicBezTo>
                    <a:pt x="19" y="84"/>
                    <a:pt x="14" y="85"/>
                    <a:pt x="12" y="85"/>
                  </a:cubicBezTo>
                  <a:cubicBezTo>
                    <a:pt x="11" y="86"/>
                    <a:pt x="6" y="84"/>
                    <a:pt x="6" y="84"/>
                  </a:cubicBezTo>
                  <a:cubicBezTo>
                    <a:pt x="7" y="82"/>
                    <a:pt x="7" y="80"/>
                    <a:pt x="8" y="78"/>
                  </a:cubicBezTo>
                  <a:cubicBezTo>
                    <a:pt x="10" y="74"/>
                    <a:pt x="5" y="67"/>
                    <a:pt x="5" y="64"/>
                  </a:cubicBezTo>
                  <a:cubicBezTo>
                    <a:pt x="5" y="61"/>
                    <a:pt x="3" y="61"/>
                    <a:pt x="6" y="58"/>
                  </a:cubicBezTo>
                  <a:cubicBezTo>
                    <a:pt x="9" y="56"/>
                    <a:pt x="5" y="53"/>
                    <a:pt x="5" y="5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2" name="Freeform 189"/>
            <p:cNvSpPr>
              <a:spLocks/>
            </p:cNvSpPr>
            <p:nvPr/>
          </p:nvSpPr>
          <p:spPr bwMode="auto">
            <a:xfrm>
              <a:off x="5295179" y="2757605"/>
              <a:ext cx="31988" cy="24017"/>
            </a:xfrm>
            <a:custGeom>
              <a:avLst/>
              <a:gdLst>
                <a:gd name="T0" fmla="*/ 2049 w 12"/>
                <a:gd name="T1" fmla="*/ 2393 h 9"/>
                <a:gd name="T2" fmla="*/ 2049 w 12"/>
                <a:gd name="T3" fmla="*/ 1 h 9"/>
                <a:gd name="T4" fmla="*/ 9880 w 12"/>
                <a:gd name="T5" fmla="*/ 0 h 9"/>
                <a:gd name="T6" fmla="*/ 16937 w 12"/>
                <a:gd name="T7" fmla="*/ 1657 h 9"/>
                <a:gd name="T8" fmla="*/ 12876 w 12"/>
                <a:gd name="T9" fmla="*/ 3194 h 9"/>
                <a:gd name="T10" fmla="*/ 2049 w 12"/>
                <a:gd name="T11" fmla="*/ 239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9">
                  <a:moveTo>
                    <a:pt x="1" y="7"/>
                  </a:moveTo>
                  <a:cubicBezTo>
                    <a:pt x="1" y="6"/>
                    <a:pt x="0" y="1"/>
                    <a:pt x="1" y="1"/>
                  </a:cubicBezTo>
                  <a:cubicBezTo>
                    <a:pt x="2" y="1"/>
                    <a:pt x="6" y="0"/>
                    <a:pt x="6" y="0"/>
                  </a:cubicBezTo>
                  <a:cubicBezTo>
                    <a:pt x="6" y="0"/>
                    <a:pt x="9" y="4"/>
                    <a:pt x="11" y="5"/>
                  </a:cubicBezTo>
                  <a:cubicBezTo>
                    <a:pt x="12" y="5"/>
                    <a:pt x="10" y="9"/>
                    <a:pt x="8" y="9"/>
                  </a:cubicBezTo>
                  <a:cubicBezTo>
                    <a:pt x="7" y="8"/>
                    <a:pt x="1" y="8"/>
                    <a:pt x="1" y="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3" name="Freeform 190"/>
            <p:cNvSpPr>
              <a:spLocks/>
            </p:cNvSpPr>
            <p:nvPr/>
          </p:nvSpPr>
          <p:spPr bwMode="auto">
            <a:xfrm>
              <a:off x="5274976" y="2604265"/>
              <a:ext cx="50508" cy="49882"/>
            </a:xfrm>
            <a:custGeom>
              <a:avLst/>
              <a:gdLst>
                <a:gd name="T0" fmla="*/ 6147 w 18"/>
                <a:gd name="T1" fmla="*/ 4637 h 19"/>
                <a:gd name="T2" fmla="*/ 10245 w 18"/>
                <a:gd name="T3" fmla="*/ 3263 h 19"/>
                <a:gd name="T4" fmla="*/ 21542 w 18"/>
                <a:gd name="T5" fmla="*/ 3195 h 19"/>
                <a:gd name="T6" fmla="*/ 32255 w 18"/>
                <a:gd name="T7" fmla="*/ 1779 h 19"/>
                <a:gd name="T8" fmla="*/ 59838 w 18"/>
                <a:gd name="T9" fmla="*/ 1 h 19"/>
                <a:gd name="T10" fmla="*/ 42153 w 18"/>
                <a:gd name="T11" fmla="*/ 2528 h 19"/>
                <a:gd name="T12" fmla="*/ 25292 w 18"/>
                <a:gd name="T13" fmla="*/ 5104 h 19"/>
                <a:gd name="T14" fmla="*/ 6147 w 18"/>
                <a:gd name="T15" fmla="*/ 463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8" h="19">
                  <a:moveTo>
                    <a:pt x="2" y="17"/>
                  </a:moveTo>
                  <a:cubicBezTo>
                    <a:pt x="0" y="17"/>
                    <a:pt x="2" y="13"/>
                    <a:pt x="3" y="12"/>
                  </a:cubicBezTo>
                  <a:cubicBezTo>
                    <a:pt x="3" y="12"/>
                    <a:pt x="5" y="11"/>
                    <a:pt x="6" y="11"/>
                  </a:cubicBezTo>
                  <a:cubicBezTo>
                    <a:pt x="7" y="11"/>
                    <a:pt x="8" y="8"/>
                    <a:pt x="9" y="6"/>
                  </a:cubicBezTo>
                  <a:cubicBezTo>
                    <a:pt x="10" y="4"/>
                    <a:pt x="16" y="0"/>
                    <a:pt x="17" y="1"/>
                  </a:cubicBezTo>
                  <a:cubicBezTo>
                    <a:pt x="18" y="2"/>
                    <a:pt x="14" y="7"/>
                    <a:pt x="12" y="9"/>
                  </a:cubicBezTo>
                  <a:cubicBezTo>
                    <a:pt x="11" y="10"/>
                    <a:pt x="8" y="17"/>
                    <a:pt x="7" y="18"/>
                  </a:cubicBezTo>
                  <a:cubicBezTo>
                    <a:pt x="6" y="19"/>
                    <a:pt x="4" y="17"/>
                    <a:pt x="2" y="1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4" name="Freeform 191"/>
            <p:cNvSpPr>
              <a:spLocks/>
            </p:cNvSpPr>
            <p:nvPr/>
          </p:nvSpPr>
          <p:spPr bwMode="auto">
            <a:xfrm>
              <a:off x="5168911" y="3088304"/>
              <a:ext cx="239069" cy="109001"/>
            </a:xfrm>
            <a:custGeom>
              <a:avLst/>
              <a:gdLst>
                <a:gd name="T0" fmla="*/ 18769 w 86"/>
                <a:gd name="T1" fmla="*/ 2150 h 41"/>
                <a:gd name="T2" fmla="*/ 39620 w 86"/>
                <a:gd name="T3" fmla="*/ 2274 h 41"/>
                <a:gd name="T4" fmla="*/ 45972 w 86"/>
                <a:gd name="T5" fmla="*/ 1 h 41"/>
                <a:gd name="T6" fmla="*/ 79391 w 86"/>
                <a:gd name="T7" fmla="*/ 2764 h 41"/>
                <a:gd name="T8" fmla="*/ 75907 w 86"/>
                <a:gd name="T9" fmla="*/ 4708 h 41"/>
                <a:gd name="T10" fmla="*/ 79391 w 86"/>
                <a:gd name="T11" fmla="*/ 5975 h 41"/>
                <a:gd name="T12" fmla="*/ 92747 w 86"/>
                <a:gd name="T13" fmla="*/ 3977 h 41"/>
                <a:gd name="T14" fmla="*/ 99707 w 86"/>
                <a:gd name="T15" fmla="*/ 3727 h 41"/>
                <a:gd name="T16" fmla="*/ 102985 w 86"/>
                <a:gd name="T17" fmla="*/ 2150 h 41"/>
                <a:gd name="T18" fmla="*/ 121867 w 86"/>
                <a:gd name="T19" fmla="*/ 3272 h 41"/>
                <a:gd name="T20" fmla="*/ 127244 w 86"/>
                <a:gd name="T21" fmla="*/ 1580 h 41"/>
                <a:gd name="T22" fmla="*/ 153140 w 86"/>
                <a:gd name="T23" fmla="*/ 3727 h 41"/>
                <a:gd name="T24" fmla="*/ 158470 w 86"/>
                <a:gd name="T25" fmla="*/ 1580 h 41"/>
                <a:gd name="T26" fmla="*/ 179039 w 86"/>
                <a:gd name="T27" fmla="*/ 2150 h 41"/>
                <a:gd name="T28" fmla="*/ 192491 w 86"/>
                <a:gd name="T29" fmla="*/ 1580 h 41"/>
                <a:gd name="T30" fmla="*/ 187853 w 86"/>
                <a:gd name="T31" fmla="*/ 0 h 41"/>
                <a:gd name="T32" fmla="*/ 206948 w 86"/>
                <a:gd name="T33" fmla="*/ 1 h 41"/>
                <a:gd name="T34" fmla="*/ 223889 w 86"/>
                <a:gd name="T35" fmla="*/ 2150 h 41"/>
                <a:gd name="T36" fmla="*/ 235244 w 86"/>
                <a:gd name="T37" fmla="*/ 2274 h 41"/>
                <a:gd name="T38" fmla="*/ 238443 w 86"/>
                <a:gd name="T39" fmla="*/ 3727 h 41"/>
                <a:gd name="T40" fmla="*/ 257439 w 86"/>
                <a:gd name="T41" fmla="*/ 4452 h 41"/>
                <a:gd name="T42" fmla="*/ 258457 w 86"/>
                <a:gd name="T43" fmla="*/ 6407 h 41"/>
                <a:gd name="T44" fmla="*/ 244024 w 86"/>
                <a:gd name="T45" fmla="*/ 8499 h 41"/>
                <a:gd name="T46" fmla="*/ 210101 w 86"/>
                <a:gd name="T47" fmla="*/ 10079 h 41"/>
                <a:gd name="T48" fmla="*/ 187191 w 86"/>
                <a:gd name="T49" fmla="*/ 12230 h 41"/>
                <a:gd name="T50" fmla="*/ 164632 w 86"/>
                <a:gd name="T51" fmla="*/ 11852 h 41"/>
                <a:gd name="T52" fmla="*/ 144409 w 86"/>
                <a:gd name="T53" fmla="*/ 13859 h 41"/>
                <a:gd name="T54" fmla="*/ 102985 w 86"/>
                <a:gd name="T55" fmla="*/ 12944 h 41"/>
                <a:gd name="T56" fmla="*/ 79391 w 86"/>
                <a:gd name="T57" fmla="*/ 11852 h 41"/>
                <a:gd name="T58" fmla="*/ 45972 w 86"/>
                <a:gd name="T59" fmla="*/ 11852 h 41"/>
                <a:gd name="T60" fmla="*/ 42760 w 86"/>
                <a:gd name="T61" fmla="*/ 10777 h 41"/>
                <a:gd name="T62" fmla="*/ 65419 w 86"/>
                <a:gd name="T63" fmla="*/ 9749 h 41"/>
                <a:gd name="T64" fmla="*/ 51171 w 86"/>
                <a:gd name="T65" fmla="*/ 8236 h 41"/>
                <a:gd name="T66" fmla="*/ 14532 w 86"/>
                <a:gd name="T67" fmla="*/ 8236 h 41"/>
                <a:gd name="T68" fmla="*/ 14532 w 86"/>
                <a:gd name="T69" fmla="*/ 7004 h 41"/>
                <a:gd name="T70" fmla="*/ 42760 w 86"/>
                <a:gd name="T71" fmla="*/ 6407 h 41"/>
                <a:gd name="T72" fmla="*/ 57188 w 86"/>
                <a:gd name="T73" fmla="*/ 5204 h 41"/>
                <a:gd name="T74" fmla="*/ 36572 w 86"/>
                <a:gd name="T75" fmla="*/ 4708 h 41"/>
                <a:gd name="T76" fmla="*/ 13414 w 86"/>
                <a:gd name="T77" fmla="*/ 5363 h 41"/>
                <a:gd name="T78" fmla="*/ 0 w 86"/>
                <a:gd name="T79" fmla="*/ 4708 h 41"/>
                <a:gd name="T80" fmla="*/ 18769 w 86"/>
                <a:gd name="T81" fmla="*/ 2150 h 4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86" h="41">
                  <a:moveTo>
                    <a:pt x="6" y="6"/>
                  </a:moveTo>
                  <a:cubicBezTo>
                    <a:pt x="7" y="5"/>
                    <a:pt x="12" y="7"/>
                    <a:pt x="13" y="7"/>
                  </a:cubicBezTo>
                  <a:cubicBezTo>
                    <a:pt x="14" y="6"/>
                    <a:pt x="7" y="0"/>
                    <a:pt x="15" y="1"/>
                  </a:cubicBezTo>
                  <a:cubicBezTo>
                    <a:pt x="16" y="1"/>
                    <a:pt x="26" y="7"/>
                    <a:pt x="26" y="8"/>
                  </a:cubicBezTo>
                  <a:cubicBezTo>
                    <a:pt x="26" y="9"/>
                    <a:pt x="24" y="12"/>
                    <a:pt x="25" y="14"/>
                  </a:cubicBezTo>
                  <a:cubicBezTo>
                    <a:pt x="26" y="15"/>
                    <a:pt x="25" y="18"/>
                    <a:pt x="26" y="18"/>
                  </a:cubicBezTo>
                  <a:cubicBezTo>
                    <a:pt x="28" y="18"/>
                    <a:pt x="29" y="12"/>
                    <a:pt x="30" y="12"/>
                  </a:cubicBezTo>
                  <a:cubicBezTo>
                    <a:pt x="30" y="12"/>
                    <a:pt x="33" y="12"/>
                    <a:pt x="33" y="11"/>
                  </a:cubicBezTo>
                  <a:cubicBezTo>
                    <a:pt x="33" y="9"/>
                    <a:pt x="32" y="6"/>
                    <a:pt x="34" y="6"/>
                  </a:cubicBezTo>
                  <a:cubicBezTo>
                    <a:pt x="35" y="5"/>
                    <a:pt x="38" y="10"/>
                    <a:pt x="40" y="10"/>
                  </a:cubicBezTo>
                  <a:cubicBezTo>
                    <a:pt x="41" y="10"/>
                    <a:pt x="41" y="5"/>
                    <a:pt x="42" y="5"/>
                  </a:cubicBezTo>
                  <a:cubicBezTo>
                    <a:pt x="44" y="5"/>
                    <a:pt x="48" y="11"/>
                    <a:pt x="50" y="11"/>
                  </a:cubicBezTo>
                  <a:cubicBezTo>
                    <a:pt x="51" y="10"/>
                    <a:pt x="51" y="5"/>
                    <a:pt x="52" y="5"/>
                  </a:cubicBezTo>
                  <a:cubicBezTo>
                    <a:pt x="54" y="5"/>
                    <a:pt x="57" y="6"/>
                    <a:pt x="59" y="6"/>
                  </a:cubicBezTo>
                  <a:cubicBezTo>
                    <a:pt x="61" y="6"/>
                    <a:pt x="62" y="6"/>
                    <a:pt x="63" y="5"/>
                  </a:cubicBezTo>
                  <a:cubicBezTo>
                    <a:pt x="64" y="4"/>
                    <a:pt x="62" y="0"/>
                    <a:pt x="62" y="0"/>
                  </a:cubicBezTo>
                  <a:cubicBezTo>
                    <a:pt x="64" y="0"/>
                    <a:pt x="68" y="0"/>
                    <a:pt x="68" y="1"/>
                  </a:cubicBezTo>
                  <a:cubicBezTo>
                    <a:pt x="69" y="2"/>
                    <a:pt x="71" y="5"/>
                    <a:pt x="73" y="6"/>
                  </a:cubicBezTo>
                  <a:cubicBezTo>
                    <a:pt x="74" y="6"/>
                    <a:pt x="77" y="6"/>
                    <a:pt x="77" y="7"/>
                  </a:cubicBezTo>
                  <a:cubicBezTo>
                    <a:pt x="77" y="8"/>
                    <a:pt x="76" y="10"/>
                    <a:pt x="78" y="11"/>
                  </a:cubicBezTo>
                  <a:cubicBezTo>
                    <a:pt x="79" y="12"/>
                    <a:pt x="84" y="12"/>
                    <a:pt x="84" y="13"/>
                  </a:cubicBezTo>
                  <a:cubicBezTo>
                    <a:pt x="84" y="14"/>
                    <a:pt x="86" y="18"/>
                    <a:pt x="85" y="19"/>
                  </a:cubicBezTo>
                  <a:cubicBezTo>
                    <a:pt x="84" y="20"/>
                    <a:pt x="82" y="24"/>
                    <a:pt x="80" y="25"/>
                  </a:cubicBezTo>
                  <a:cubicBezTo>
                    <a:pt x="77" y="27"/>
                    <a:pt x="70" y="29"/>
                    <a:pt x="69" y="30"/>
                  </a:cubicBezTo>
                  <a:cubicBezTo>
                    <a:pt x="68" y="32"/>
                    <a:pt x="62" y="36"/>
                    <a:pt x="61" y="36"/>
                  </a:cubicBezTo>
                  <a:cubicBezTo>
                    <a:pt x="60" y="36"/>
                    <a:pt x="55" y="34"/>
                    <a:pt x="54" y="35"/>
                  </a:cubicBezTo>
                  <a:cubicBezTo>
                    <a:pt x="52" y="37"/>
                    <a:pt x="50" y="41"/>
                    <a:pt x="47" y="41"/>
                  </a:cubicBezTo>
                  <a:cubicBezTo>
                    <a:pt x="44" y="41"/>
                    <a:pt x="37" y="40"/>
                    <a:pt x="34" y="38"/>
                  </a:cubicBezTo>
                  <a:cubicBezTo>
                    <a:pt x="30" y="37"/>
                    <a:pt x="28" y="35"/>
                    <a:pt x="26" y="35"/>
                  </a:cubicBezTo>
                  <a:cubicBezTo>
                    <a:pt x="24" y="35"/>
                    <a:pt x="16" y="36"/>
                    <a:pt x="15" y="35"/>
                  </a:cubicBezTo>
                  <a:cubicBezTo>
                    <a:pt x="14" y="35"/>
                    <a:pt x="14" y="34"/>
                    <a:pt x="14" y="32"/>
                  </a:cubicBezTo>
                  <a:cubicBezTo>
                    <a:pt x="14" y="30"/>
                    <a:pt x="21" y="30"/>
                    <a:pt x="21" y="29"/>
                  </a:cubicBezTo>
                  <a:cubicBezTo>
                    <a:pt x="21" y="28"/>
                    <a:pt x="19" y="25"/>
                    <a:pt x="17" y="24"/>
                  </a:cubicBezTo>
                  <a:cubicBezTo>
                    <a:pt x="15" y="23"/>
                    <a:pt x="7" y="26"/>
                    <a:pt x="5" y="24"/>
                  </a:cubicBezTo>
                  <a:cubicBezTo>
                    <a:pt x="4" y="22"/>
                    <a:pt x="5" y="21"/>
                    <a:pt x="5" y="21"/>
                  </a:cubicBezTo>
                  <a:cubicBezTo>
                    <a:pt x="5" y="21"/>
                    <a:pt x="13" y="20"/>
                    <a:pt x="14" y="19"/>
                  </a:cubicBezTo>
                  <a:cubicBezTo>
                    <a:pt x="16" y="18"/>
                    <a:pt x="19" y="15"/>
                    <a:pt x="19" y="15"/>
                  </a:cubicBezTo>
                  <a:cubicBezTo>
                    <a:pt x="19" y="14"/>
                    <a:pt x="14" y="14"/>
                    <a:pt x="12" y="14"/>
                  </a:cubicBezTo>
                  <a:cubicBezTo>
                    <a:pt x="10" y="14"/>
                    <a:pt x="6" y="16"/>
                    <a:pt x="4" y="16"/>
                  </a:cubicBezTo>
                  <a:cubicBezTo>
                    <a:pt x="3" y="15"/>
                    <a:pt x="1" y="15"/>
                    <a:pt x="0" y="14"/>
                  </a:cubicBezTo>
                  <a:cubicBezTo>
                    <a:pt x="0" y="13"/>
                    <a:pt x="4" y="8"/>
                    <a:pt x="6" y="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5" name="Freeform 192"/>
            <p:cNvSpPr>
              <a:spLocks/>
            </p:cNvSpPr>
            <p:nvPr/>
          </p:nvSpPr>
          <p:spPr bwMode="auto">
            <a:xfrm>
              <a:off x="4532516" y="4553353"/>
              <a:ext cx="63976" cy="79441"/>
            </a:xfrm>
            <a:custGeom>
              <a:avLst/>
              <a:gdLst>
                <a:gd name="T0" fmla="*/ 8852 w 23"/>
                <a:gd name="T1" fmla="*/ 5719 h 30"/>
                <a:gd name="T2" fmla="*/ 0 w 23"/>
                <a:gd name="T3" fmla="*/ 3645 h 30"/>
                <a:gd name="T4" fmla="*/ 8852 w 23"/>
                <a:gd name="T5" fmla="*/ 2054 h 30"/>
                <a:gd name="T6" fmla="*/ 8852 w 23"/>
                <a:gd name="T7" fmla="*/ 0 h 30"/>
                <a:gd name="T8" fmla="*/ 8852 w 23"/>
                <a:gd name="T9" fmla="*/ 0 h 30"/>
                <a:gd name="T10" fmla="*/ 28092 w 23"/>
                <a:gd name="T11" fmla="*/ 698 h 30"/>
                <a:gd name="T12" fmla="*/ 71067 w 23"/>
                <a:gd name="T13" fmla="*/ 4220 h 30"/>
                <a:gd name="T14" fmla="*/ 56518 w 23"/>
                <a:gd name="T15" fmla="*/ 6702 h 30"/>
                <a:gd name="T16" fmla="*/ 37607 w 23"/>
                <a:gd name="T17" fmla="*/ 9606 h 30"/>
                <a:gd name="T18" fmla="*/ 0 w 23"/>
                <a:gd name="T19" fmla="*/ 8852 h 30"/>
                <a:gd name="T20" fmla="*/ 8852 w 23"/>
                <a:gd name="T21" fmla="*/ 5719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3" h="30">
                  <a:moveTo>
                    <a:pt x="3" y="18"/>
                  </a:moveTo>
                  <a:cubicBezTo>
                    <a:pt x="3" y="16"/>
                    <a:pt x="0" y="14"/>
                    <a:pt x="0" y="12"/>
                  </a:cubicBezTo>
                  <a:cubicBezTo>
                    <a:pt x="0" y="9"/>
                    <a:pt x="3" y="7"/>
                    <a:pt x="3" y="6"/>
                  </a:cubicBezTo>
                  <a:cubicBezTo>
                    <a:pt x="3" y="5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1"/>
                    <a:pt x="7" y="1"/>
                    <a:pt x="9" y="2"/>
                  </a:cubicBezTo>
                  <a:cubicBezTo>
                    <a:pt x="14" y="4"/>
                    <a:pt x="19" y="8"/>
                    <a:pt x="23" y="13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3" y="29"/>
                    <a:pt x="12" y="30"/>
                  </a:cubicBezTo>
                  <a:cubicBezTo>
                    <a:pt x="11" y="30"/>
                    <a:pt x="3" y="29"/>
                    <a:pt x="0" y="28"/>
                  </a:cubicBezTo>
                  <a:cubicBezTo>
                    <a:pt x="0" y="28"/>
                    <a:pt x="3" y="20"/>
                    <a:pt x="3" y="1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6" name="Freeform 193"/>
            <p:cNvSpPr>
              <a:spLocks/>
            </p:cNvSpPr>
            <p:nvPr/>
          </p:nvSpPr>
          <p:spPr bwMode="auto">
            <a:xfrm>
              <a:off x="4524098" y="2958980"/>
              <a:ext cx="62293" cy="38797"/>
            </a:xfrm>
            <a:custGeom>
              <a:avLst/>
              <a:gdLst>
                <a:gd name="T0" fmla="*/ 31633 w 22"/>
                <a:gd name="T1" fmla="*/ 9368 h 14"/>
                <a:gd name="T2" fmla="*/ 3954 w 22"/>
                <a:gd name="T3" fmla="*/ 6926 h 14"/>
                <a:gd name="T4" fmla="*/ 0 w 22"/>
                <a:gd name="T5" fmla="*/ 3596 h 14"/>
                <a:gd name="T6" fmla="*/ 6650 w 22"/>
                <a:gd name="T7" fmla="*/ 0 h 14"/>
                <a:gd name="T8" fmla="*/ 24962 w 22"/>
                <a:gd name="T9" fmla="*/ 1598 h 14"/>
                <a:gd name="T10" fmla="*/ 41982 w 22"/>
                <a:gd name="T11" fmla="*/ 2775 h 14"/>
                <a:gd name="T12" fmla="*/ 65537 w 22"/>
                <a:gd name="T13" fmla="*/ 5165 h 14"/>
                <a:gd name="T14" fmla="*/ 89474 w 22"/>
                <a:gd name="T15" fmla="*/ 5394 h 14"/>
                <a:gd name="T16" fmla="*/ 85704 w 22"/>
                <a:gd name="T17" fmla="*/ 8091 h 14"/>
                <a:gd name="T18" fmla="*/ 31633 w 22"/>
                <a:gd name="T19" fmla="*/ 9368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" h="14">
                  <a:moveTo>
                    <a:pt x="8" y="14"/>
                  </a:moveTo>
                  <a:cubicBezTo>
                    <a:pt x="6" y="14"/>
                    <a:pt x="5" y="10"/>
                    <a:pt x="1" y="10"/>
                  </a:cubicBezTo>
                  <a:cubicBezTo>
                    <a:pt x="0" y="10"/>
                    <a:pt x="0" y="9"/>
                    <a:pt x="0" y="5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5" y="2"/>
                    <a:pt x="6" y="2"/>
                  </a:cubicBezTo>
                  <a:cubicBezTo>
                    <a:pt x="6" y="2"/>
                    <a:pt x="7" y="3"/>
                    <a:pt x="10" y="4"/>
                  </a:cubicBezTo>
                  <a:cubicBezTo>
                    <a:pt x="12" y="5"/>
                    <a:pt x="14" y="6"/>
                    <a:pt x="16" y="7"/>
                  </a:cubicBezTo>
                  <a:cubicBezTo>
                    <a:pt x="18" y="9"/>
                    <a:pt x="22" y="7"/>
                    <a:pt x="22" y="8"/>
                  </a:cubicBezTo>
                  <a:cubicBezTo>
                    <a:pt x="22" y="9"/>
                    <a:pt x="22" y="11"/>
                    <a:pt x="21" y="12"/>
                  </a:cubicBezTo>
                  <a:cubicBezTo>
                    <a:pt x="20" y="12"/>
                    <a:pt x="10" y="14"/>
                    <a:pt x="8" y="1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7" name="Freeform 194"/>
            <p:cNvSpPr>
              <a:spLocks/>
            </p:cNvSpPr>
            <p:nvPr/>
          </p:nvSpPr>
          <p:spPr bwMode="auto">
            <a:xfrm>
              <a:off x="4450020" y="5292343"/>
              <a:ext cx="111117" cy="112696"/>
            </a:xfrm>
            <a:custGeom>
              <a:avLst/>
              <a:gdLst>
                <a:gd name="T0" fmla="*/ 0 w 40"/>
                <a:gd name="T1" fmla="*/ 9520 h 43"/>
                <a:gd name="T2" fmla="*/ 8692 w 40"/>
                <a:gd name="T3" fmla="*/ 3145 h 43"/>
                <a:gd name="T4" fmla="*/ 18688 w 40"/>
                <a:gd name="T5" fmla="*/ 853 h 43"/>
                <a:gd name="T6" fmla="*/ 27652 w 40"/>
                <a:gd name="T7" fmla="*/ 0 h 43"/>
                <a:gd name="T8" fmla="*/ 39046 w 40"/>
                <a:gd name="T9" fmla="*/ 853 h 43"/>
                <a:gd name="T10" fmla="*/ 50878 w 40"/>
                <a:gd name="T11" fmla="*/ 2673 h 43"/>
                <a:gd name="T12" fmla="*/ 73357 w 40"/>
                <a:gd name="T13" fmla="*/ 3145 h 43"/>
                <a:gd name="T14" fmla="*/ 117726 w 40"/>
                <a:gd name="T15" fmla="*/ 6330 h 43"/>
                <a:gd name="T16" fmla="*/ 107509 w 40"/>
                <a:gd name="T17" fmla="*/ 8279 h 43"/>
                <a:gd name="T18" fmla="*/ 117726 w 40"/>
                <a:gd name="T19" fmla="*/ 9056 h 43"/>
                <a:gd name="T20" fmla="*/ 112296 w 40"/>
                <a:gd name="T21" fmla="*/ 9866 h 43"/>
                <a:gd name="T22" fmla="*/ 81964 w 40"/>
                <a:gd name="T23" fmla="*/ 11435 h 43"/>
                <a:gd name="T24" fmla="*/ 65157 w 40"/>
                <a:gd name="T25" fmla="*/ 10825 h 43"/>
                <a:gd name="T26" fmla="*/ 47584 w 40"/>
                <a:gd name="T27" fmla="*/ 11435 h 43"/>
                <a:gd name="T28" fmla="*/ 22032 w 40"/>
                <a:gd name="T29" fmla="*/ 9866 h 43"/>
                <a:gd name="T30" fmla="*/ 0 w 40"/>
                <a:gd name="T31" fmla="*/ 9520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0" h="43">
                  <a:moveTo>
                    <a:pt x="0" y="35"/>
                  </a:moveTo>
                  <a:cubicBezTo>
                    <a:pt x="0" y="35"/>
                    <a:pt x="3" y="14"/>
                    <a:pt x="3" y="11"/>
                  </a:cubicBezTo>
                  <a:cubicBezTo>
                    <a:pt x="3" y="9"/>
                    <a:pt x="4" y="5"/>
                    <a:pt x="6" y="3"/>
                  </a:cubicBezTo>
                  <a:cubicBezTo>
                    <a:pt x="7" y="3"/>
                    <a:pt x="8" y="2"/>
                    <a:pt x="9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7" y="6"/>
                    <a:pt x="16" y="8"/>
                    <a:pt x="17" y="10"/>
                  </a:cubicBezTo>
                  <a:cubicBezTo>
                    <a:pt x="18" y="11"/>
                    <a:pt x="22" y="9"/>
                    <a:pt x="24" y="11"/>
                  </a:cubicBezTo>
                  <a:cubicBezTo>
                    <a:pt x="26" y="13"/>
                    <a:pt x="40" y="21"/>
                    <a:pt x="39" y="23"/>
                  </a:cubicBezTo>
                  <a:cubicBezTo>
                    <a:pt x="38" y="24"/>
                    <a:pt x="35" y="30"/>
                    <a:pt x="36" y="31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8" y="35"/>
                    <a:pt x="37" y="36"/>
                    <a:pt x="37" y="37"/>
                  </a:cubicBezTo>
                  <a:cubicBezTo>
                    <a:pt x="36" y="39"/>
                    <a:pt x="30" y="42"/>
                    <a:pt x="27" y="42"/>
                  </a:cubicBezTo>
                  <a:cubicBezTo>
                    <a:pt x="25" y="43"/>
                    <a:pt x="24" y="40"/>
                    <a:pt x="22" y="40"/>
                  </a:cubicBezTo>
                  <a:cubicBezTo>
                    <a:pt x="20" y="40"/>
                    <a:pt x="18" y="43"/>
                    <a:pt x="16" y="42"/>
                  </a:cubicBezTo>
                  <a:cubicBezTo>
                    <a:pt x="15" y="40"/>
                    <a:pt x="9" y="38"/>
                    <a:pt x="7" y="37"/>
                  </a:cubicBezTo>
                  <a:cubicBezTo>
                    <a:pt x="5" y="37"/>
                    <a:pt x="0" y="34"/>
                    <a:pt x="0" y="35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8" name="Freeform 195"/>
            <p:cNvSpPr>
              <a:spLocks/>
            </p:cNvSpPr>
            <p:nvPr/>
          </p:nvSpPr>
          <p:spPr bwMode="auto">
            <a:xfrm>
              <a:off x="4455071" y="4549658"/>
              <a:ext cx="85863" cy="86831"/>
            </a:xfrm>
            <a:custGeom>
              <a:avLst/>
              <a:gdLst>
                <a:gd name="T0" fmla="*/ 16960 w 31"/>
                <a:gd name="T1" fmla="*/ 10089 h 32"/>
                <a:gd name="T2" fmla="*/ 5098 w 31"/>
                <a:gd name="T3" fmla="*/ 8228 h 32"/>
                <a:gd name="T4" fmla="*/ 3099 w 31"/>
                <a:gd name="T5" fmla="*/ 5163 h 32"/>
                <a:gd name="T6" fmla="*/ 16960 w 31"/>
                <a:gd name="T7" fmla="*/ 3206 h 32"/>
                <a:gd name="T8" fmla="*/ 22700 w 31"/>
                <a:gd name="T9" fmla="*/ 0 h 32"/>
                <a:gd name="T10" fmla="*/ 57382 w 31"/>
                <a:gd name="T11" fmla="*/ 1 h 32"/>
                <a:gd name="T12" fmla="*/ 89178 w 31"/>
                <a:gd name="T13" fmla="*/ 1 h 32"/>
                <a:gd name="T14" fmla="*/ 89178 w 31"/>
                <a:gd name="T15" fmla="*/ 1 h 32"/>
                <a:gd name="T16" fmla="*/ 89178 w 31"/>
                <a:gd name="T17" fmla="*/ 3206 h 32"/>
                <a:gd name="T18" fmla="*/ 81034 w 31"/>
                <a:gd name="T19" fmla="*/ 6016 h 32"/>
                <a:gd name="T20" fmla="*/ 89178 w 31"/>
                <a:gd name="T21" fmla="*/ 8836 h 32"/>
                <a:gd name="T22" fmla="*/ 81034 w 31"/>
                <a:gd name="T23" fmla="*/ 13775 h 32"/>
                <a:gd name="T24" fmla="*/ 76248 w 31"/>
                <a:gd name="T25" fmla="*/ 13775 h 32"/>
                <a:gd name="T26" fmla="*/ 52267 w 31"/>
                <a:gd name="T27" fmla="*/ 12890 h 32"/>
                <a:gd name="T28" fmla="*/ 49256 w 31"/>
                <a:gd name="T29" fmla="*/ 14920 h 32"/>
                <a:gd name="T30" fmla="*/ 31770 w 31"/>
                <a:gd name="T31" fmla="*/ 14920 h 32"/>
                <a:gd name="T32" fmla="*/ 27902 w 31"/>
                <a:gd name="T33" fmla="*/ 14920 h 32"/>
                <a:gd name="T34" fmla="*/ 27902 w 31"/>
                <a:gd name="T35" fmla="*/ 14920 h 32"/>
                <a:gd name="T36" fmla="*/ 16960 w 31"/>
                <a:gd name="T37" fmla="*/ 10089 h 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1" h="32">
                  <a:moveTo>
                    <a:pt x="6" y="21"/>
                  </a:moveTo>
                  <a:cubicBezTo>
                    <a:pt x="6" y="21"/>
                    <a:pt x="2" y="19"/>
                    <a:pt x="2" y="18"/>
                  </a:cubicBezTo>
                  <a:cubicBezTo>
                    <a:pt x="1" y="17"/>
                    <a:pt x="0" y="13"/>
                    <a:pt x="1" y="11"/>
                  </a:cubicBezTo>
                  <a:cubicBezTo>
                    <a:pt x="1" y="8"/>
                    <a:pt x="6" y="9"/>
                    <a:pt x="6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20" y="1"/>
                  </a:cubicBezTo>
                  <a:cubicBezTo>
                    <a:pt x="26" y="1"/>
                    <a:pt x="29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6"/>
                    <a:pt x="31" y="7"/>
                  </a:cubicBezTo>
                  <a:cubicBezTo>
                    <a:pt x="31" y="8"/>
                    <a:pt x="28" y="10"/>
                    <a:pt x="28" y="13"/>
                  </a:cubicBezTo>
                  <a:cubicBezTo>
                    <a:pt x="28" y="15"/>
                    <a:pt x="31" y="17"/>
                    <a:pt x="31" y="19"/>
                  </a:cubicBezTo>
                  <a:cubicBezTo>
                    <a:pt x="31" y="21"/>
                    <a:pt x="28" y="29"/>
                    <a:pt x="28" y="29"/>
                  </a:cubicBezTo>
                  <a:cubicBezTo>
                    <a:pt x="28" y="29"/>
                    <a:pt x="27" y="29"/>
                    <a:pt x="27" y="29"/>
                  </a:cubicBezTo>
                  <a:cubicBezTo>
                    <a:pt x="26" y="28"/>
                    <a:pt x="20" y="27"/>
                    <a:pt x="18" y="27"/>
                  </a:cubicBezTo>
                  <a:cubicBezTo>
                    <a:pt x="16" y="27"/>
                    <a:pt x="18" y="32"/>
                    <a:pt x="17" y="32"/>
                  </a:cubicBezTo>
                  <a:cubicBezTo>
                    <a:pt x="16" y="32"/>
                    <a:pt x="13" y="32"/>
                    <a:pt x="11" y="32"/>
                  </a:cubicBezTo>
                  <a:cubicBezTo>
                    <a:pt x="11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6" y="22"/>
                    <a:pt x="6" y="2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89" name="Freeform 196"/>
            <p:cNvSpPr>
              <a:spLocks/>
            </p:cNvSpPr>
            <p:nvPr/>
          </p:nvSpPr>
          <p:spPr bwMode="auto">
            <a:xfrm>
              <a:off x="4357423" y="5066951"/>
              <a:ext cx="180143" cy="173663"/>
            </a:xfrm>
            <a:custGeom>
              <a:avLst/>
              <a:gdLst>
                <a:gd name="T0" fmla="*/ 49574 w 65"/>
                <a:gd name="T1" fmla="*/ 10951 h 66"/>
                <a:gd name="T2" fmla="*/ 3105 w 65"/>
                <a:gd name="T3" fmla="*/ 6771 h 66"/>
                <a:gd name="T4" fmla="*/ 0 w 65"/>
                <a:gd name="T5" fmla="*/ 6587 h 66"/>
                <a:gd name="T6" fmla="*/ 0 w 65"/>
                <a:gd name="T7" fmla="*/ 6587 h 66"/>
                <a:gd name="T8" fmla="*/ 8413 w 65"/>
                <a:gd name="T9" fmla="*/ 4625 h 66"/>
                <a:gd name="T10" fmla="*/ 21456 w 65"/>
                <a:gd name="T11" fmla="*/ 921 h 66"/>
                <a:gd name="T12" fmla="*/ 54662 w 65"/>
                <a:gd name="T13" fmla="*/ 0 h 66"/>
                <a:gd name="T14" fmla="*/ 86803 w 65"/>
                <a:gd name="T15" fmla="*/ 1 h 66"/>
                <a:gd name="T16" fmla="*/ 104236 w 65"/>
                <a:gd name="T17" fmla="*/ 1369 h 66"/>
                <a:gd name="T18" fmla="*/ 107667 w 65"/>
                <a:gd name="T19" fmla="*/ 6079 h 66"/>
                <a:gd name="T20" fmla="*/ 136168 w 65"/>
                <a:gd name="T21" fmla="*/ 6587 h 66"/>
                <a:gd name="T22" fmla="*/ 153303 w 65"/>
                <a:gd name="T23" fmla="*/ 7264 h 66"/>
                <a:gd name="T24" fmla="*/ 161158 w 65"/>
                <a:gd name="T25" fmla="*/ 10582 h 66"/>
                <a:gd name="T26" fmla="*/ 183242 w 65"/>
                <a:gd name="T27" fmla="*/ 10582 h 66"/>
                <a:gd name="T28" fmla="*/ 180659 w 65"/>
                <a:gd name="T29" fmla="*/ 14735 h 66"/>
                <a:gd name="T30" fmla="*/ 166174 w 65"/>
                <a:gd name="T31" fmla="*/ 17071 h 66"/>
                <a:gd name="T32" fmla="*/ 131098 w 65"/>
                <a:gd name="T33" fmla="*/ 18924 h 66"/>
                <a:gd name="T34" fmla="*/ 89982 w 65"/>
                <a:gd name="T35" fmla="*/ 18357 h 66"/>
                <a:gd name="T36" fmla="*/ 112804 w 65"/>
                <a:gd name="T37" fmla="*/ 14282 h 66"/>
                <a:gd name="T38" fmla="*/ 49574 w 65"/>
                <a:gd name="T39" fmla="*/ 10951 h 6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65" h="66">
                  <a:moveTo>
                    <a:pt x="17" y="38"/>
                  </a:moveTo>
                  <a:cubicBezTo>
                    <a:pt x="15" y="37"/>
                    <a:pt x="1" y="27"/>
                    <a:pt x="1" y="24"/>
                  </a:cubicBezTo>
                  <a:cubicBezTo>
                    <a:pt x="1" y="24"/>
                    <a:pt x="1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5" y="4"/>
                    <a:pt x="7" y="3"/>
                  </a:cubicBezTo>
                  <a:cubicBezTo>
                    <a:pt x="7" y="2"/>
                    <a:pt x="17" y="0"/>
                    <a:pt x="19" y="0"/>
                  </a:cubicBezTo>
                  <a:cubicBezTo>
                    <a:pt x="22" y="0"/>
                    <a:pt x="30" y="1"/>
                    <a:pt x="30" y="1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8"/>
                    <a:pt x="37" y="20"/>
                    <a:pt x="37" y="21"/>
                  </a:cubicBezTo>
                  <a:cubicBezTo>
                    <a:pt x="37" y="23"/>
                    <a:pt x="45" y="23"/>
                    <a:pt x="47" y="23"/>
                  </a:cubicBezTo>
                  <a:cubicBezTo>
                    <a:pt x="49" y="23"/>
                    <a:pt x="53" y="23"/>
                    <a:pt x="53" y="25"/>
                  </a:cubicBezTo>
                  <a:cubicBezTo>
                    <a:pt x="54" y="27"/>
                    <a:pt x="54" y="35"/>
                    <a:pt x="55" y="37"/>
                  </a:cubicBezTo>
                  <a:cubicBezTo>
                    <a:pt x="56" y="39"/>
                    <a:pt x="62" y="35"/>
                    <a:pt x="63" y="37"/>
                  </a:cubicBezTo>
                  <a:cubicBezTo>
                    <a:pt x="65" y="38"/>
                    <a:pt x="62" y="49"/>
                    <a:pt x="62" y="51"/>
                  </a:cubicBezTo>
                  <a:cubicBezTo>
                    <a:pt x="61" y="53"/>
                    <a:pt x="59" y="59"/>
                    <a:pt x="57" y="60"/>
                  </a:cubicBezTo>
                  <a:cubicBezTo>
                    <a:pt x="55" y="61"/>
                    <a:pt x="49" y="66"/>
                    <a:pt x="45" y="66"/>
                  </a:cubicBezTo>
                  <a:cubicBezTo>
                    <a:pt x="41" y="66"/>
                    <a:pt x="33" y="66"/>
                    <a:pt x="31" y="64"/>
                  </a:cubicBezTo>
                  <a:cubicBezTo>
                    <a:pt x="29" y="62"/>
                    <a:pt x="39" y="52"/>
                    <a:pt x="39" y="50"/>
                  </a:cubicBezTo>
                  <a:cubicBezTo>
                    <a:pt x="39" y="49"/>
                    <a:pt x="21" y="40"/>
                    <a:pt x="17" y="38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90" name="Freeform 197"/>
            <p:cNvSpPr>
              <a:spLocks/>
            </p:cNvSpPr>
            <p:nvPr/>
          </p:nvSpPr>
          <p:spPr bwMode="auto">
            <a:xfrm>
              <a:off x="4382677" y="4505318"/>
              <a:ext cx="99331" cy="144103"/>
            </a:xfrm>
            <a:custGeom>
              <a:avLst/>
              <a:gdLst>
                <a:gd name="T0" fmla="*/ 12864 w 36"/>
                <a:gd name="T1" fmla="*/ 6677 h 55"/>
                <a:gd name="T2" fmla="*/ 2922 w 36"/>
                <a:gd name="T3" fmla="*/ 5366 h 55"/>
                <a:gd name="T4" fmla="*/ 16046 w 36"/>
                <a:gd name="T5" fmla="*/ 3126 h 55"/>
                <a:gd name="T6" fmla="*/ 26298 w 36"/>
                <a:gd name="T7" fmla="*/ 1326 h 55"/>
                <a:gd name="T8" fmla="*/ 38309 w 36"/>
                <a:gd name="T9" fmla="*/ 0 h 55"/>
                <a:gd name="T10" fmla="*/ 64603 w 36"/>
                <a:gd name="T11" fmla="*/ 2668 h 55"/>
                <a:gd name="T12" fmla="*/ 92809 w 36"/>
                <a:gd name="T13" fmla="*/ 4886 h 55"/>
                <a:gd name="T14" fmla="*/ 85706 w 36"/>
                <a:gd name="T15" fmla="*/ 6677 h 55"/>
                <a:gd name="T16" fmla="*/ 72416 w 36"/>
                <a:gd name="T17" fmla="*/ 7706 h 55"/>
                <a:gd name="T18" fmla="*/ 75745 w 36"/>
                <a:gd name="T19" fmla="*/ 9598 h 55"/>
                <a:gd name="T20" fmla="*/ 85706 w 36"/>
                <a:gd name="T21" fmla="*/ 10397 h 55"/>
                <a:gd name="T22" fmla="*/ 98015 w 36"/>
                <a:gd name="T23" fmla="*/ 13429 h 55"/>
                <a:gd name="T24" fmla="*/ 98015 w 36"/>
                <a:gd name="T25" fmla="*/ 13429 h 55"/>
                <a:gd name="T26" fmla="*/ 72416 w 36"/>
                <a:gd name="T27" fmla="*/ 13936 h 55"/>
                <a:gd name="T28" fmla="*/ 51653 w 36"/>
                <a:gd name="T29" fmla="*/ 14745 h 55"/>
                <a:gd name="T30" fmla="*/ 33402 w 36"/>
                <a:gd name="T31" fmla="*/ 11711 h 55"/>
                <a:gd name="T32" fmla="*/ 41216 w 36"/>
                <a:gd name="T33" fmla="*/ 9469 h 55"/>
                <a:gd name="T34" fmla="*/ 33402 w 36"/>
                <a:gd name="T35" fmla="*/ 6929 h 55"/>
                <a:gd name="T36" fmla="*/ 26298 w 36"/>
                <a:gd name="T37" fmla="*/ 6287 h 55"/>
                <a:gd name="T38" fmla="*/ 12864 w 36"/>
                <a:gd name="T39" fmla="*/ 6677 h 5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6" h="55">
                  <a:moveTo>
                    <a:pt x="5" y="25"/>
                  </a:moveTo>
                  <a:cubicBezTo>
                    <a:pt x="4" y="23"/>
                    <a:pt x="2" y="21"/>
                    <a:pt x="1" y="20"/>
                  </a:cubicBezTo>
                  <a:cubicBezTo>
                    <a:pt x="0" y="18"/>
                    <a:pt x="4" y="12"/>
                    <a:pt x="6" y="11"/>
                  </a:cubicBezTo>
                  <a:cubicBezTo>
                    <a:pt x="7" y="9"/>
                    <a:pt x="9" y="6"/>
                    <a:pt x="10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2"/>
                    <a:pt x="20" y="5"/>
                    <a:pt x="24" y="10"/>
                  </a:cubicBezTo>
                  <a:cubicBezTo>
                    <a:pt x="28" y="14"/>
                    <a:pt x="32" y="17"/>
                    <a:pt x="34" y="18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7"/>
                    <a:pt x="27" y="26"/>
                    <a:pt x="27" y="29"/>
                  </a:cubicBezTo>
                  <a:cubicBezTo>
                    <a:pt x="26" y="31"/>
                    <a:pt x="27" y="35"/>
                    <a:pt x="28" y="36"/>
                  </a:cubicBezTo>
                  <a:cubicBezTo>
                    <a:pt x="28" y="37"/>
                    <a:pt x="32" y="39"/>
                    <a:pt x="32" y="39"/>
                  </a:cubicBezTo>
                  <a:cubicBezTo>
                    <a:pt x="32" y="4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3" y="50"/>
                    <a:pt x="28" y="52"/>
                    <a:pt x="27" y="52"/>
                  </a:cubicBezTo>
                  <a:cubicBezTo>
                    <a:pt x="26" y="53"/>
                    <a:pt x="21" y="55"/>
                    <a:pt x="19" y="55"/>
                  </a:cubicBezTo>
                  <a:cubicBezTo>
                    <a:pt x="17" y="55"/>
                    <a:pt x="12" y="46"/>
                    <a:pt x="12" y="44"/>
                  </a:cubicBezTo>
                  <a:cubicBezTo>
                    <a:pt x="11" y="43"/>
                    <a:pt x="14" y="36"/>
                    <a:pt x="15" y="35"/>
                  </a:cubicBezTo>
                  <a:cubicBezTo>
                    <a:pt x="16" y="34"/>
                    <a:pt x="13" y="27"/>
                    <a:pt x="12" y="26"/>
                  </a:cubicBezTo>
                  <a:cubicBezTo>
                    <a:pt x="12" y="24"/>
                    <a:pt x="11" y="22"/>
                    <a:pt x="10" y="23"/>
                  </a:cubicBezTo>
                  <a:lnTo>
                    <a:pt x="5" y="25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91" name="Group 198"/>
            <p:cNvGrpSpPr>
              <a:grpSpLocks/>
            </p:cNvGrpSpPr>
            <p:nvPr/>
          </p:nvGrpSpPr>
          <p:grpSpPr bwMode="auto">
            <a:xfrm>
              <a:off x="4392778" y="5802247"/>
              <a:ext cx="75761" cy="36950"/>
              <a:chOff x="1774" y="3431"/>
              <a:chExt cx="55" cy="28"/>
            </a:xfrm>
            <a:solidFill>
              <a:srgbClr val="EBEBE3"/>
            </a:solidFill>
          </p:grpSpPr>
          <p:sp>
            <p:nvSpPr>
              <p:cNvPr id="573" name="Freeform 199"/>
              <p:cNvSpPr>
                <a:spLocks/>
              </p:cNvSpPr>
              <p:nvPr/>
            </p:nvSpPr>
            <p:spPr bwMode="auto">
              <a:xfrm>
                <a:off x="1800" y="3433"/>
                <a:ext cx="29" cy="26"/>
              </a:xfrm>
              <a:custGeom>
                <a:avLst/>
                <a:gdLst>
                  <a:gd name="T0" fmla="*/ 106026 w 14"/>
                  <a:gd name="T1" fmla="*/ 589824 h 13"/>
                  <a:gd name="T2" fmla="*/ 1049119 w 14"/>
                  <a:gd name="T3" fmla="*/ 65536 h 13"/>
                  <a:gd name="T4" fmla="*/ 1498297 w 14"/>
                  <a:gd name="T5" fmla="*/ 131072 h 13"/>
                  <a:gd name="T6" fmla="*/ 1397962 w 14"/>
                  <a:gd name="T7" fmla="*/ 458752 h 13"/>
                  <a:gd name="T8" fmla="*/ 325803 w 14"/>
                  <a:gd name="T9" fmla="*/ 851968 h 13"/>
                  <a:gd name="T10" fmla="*/ 106026 w 14"/>
                  <a:gd name="T11" fmla="*/ 589824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3">
                    <a:moveTo>
                      <a:pt x="1" y="9"/>
                    </a:moveTo>
                    <a:cubicBezTo>
                      <a:pt x="3" y="8"/>
                      <a:pt x="7" y="0"/>
                      <a:pt x="9" y="1"/>
                    </a:cubicBezTo>
                    <a:cubicBezTo>
                      <a:pt x="9" y="1"/>
                      <a:pt x="12" y="1"/>
                      <a:pt x="13" y="2"/>
                    </a:cubicBezTo>
                    <a:cubicBezTo>
                      <a:pt x="14" y="4"/>
                      <a:pt x="13" y="6"/>
                      <a:pt x="12" y="7"/>
                    </a:cubicBezTo>
                    <a:cubicBezTo>
                      <a:pt x="11" y="8"/>
                      <a:pt x="5" y="13"/>
                      <a:pt x="3" y="13"/>
                    </a:cubicBezTo>
                    <a:cubicBezTo>
                      <a:pt x="2" y="13"/>
                      <a:pt x="0" y="10"/>
                      <a:pt x="1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4" name="Freeform 200"/>
              <p:cNvSpPr>
                <a:spLocks/>
              </p:cNvSpPr>
              <p:nvPr/>
            </p:nvSpPr>
            <p:spPr bwMode="auto">
              <a:xfrm>
                <a:off x="1774" y="3431"/>
                <a:ext cx="31" cy="24"/>
              </a:xfrm>
              <a:custGeom>
                <a:avLst/>
                <a:gdLst>
                  <a:gd name="T0" fmla="*/ 649287 w 15"/>
                  <a:gd name="T1" fmla="*/ 589824 h 12"/>
                  <a:gd name="T2" fmla="*/ 211920 w 15"/>
                  <a:gd name="T3" fmla="*/ 720896 h 12"/>
                  <a:gd name="T4" fmla="*/ 0 w 15"/>
                  <a:gd name="T5" fmla="*/ 458752 h 12"/>
                  <a:gd name="T6" fmla="*/ 437968 w 15"/>
                  <a:gd name="T7" fmla="*/ 262144 h 12"/>
                  <a:gd name="T8" fmla="*/ 539714 w 15"/>
                  <a:gd name="T9" fmla="*/ 65536 h 12"/>
                  <a:gd name="T10" fmla="*/ 1553685 w 15"/>
                  <a:gd name="T11" fmla="*/ 131072 h 12"/>
                  <a:gd name="T12" fmla="*/ 649287 w 15"/>
                  <a:gd name="T13" fmla="*/ 589824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5" h="12">
                    <a:moveTo>
                      <a:pt x="6" y="9"/>
                    </a:moveTo>
                    <a:cubicBezTo>
                      <a:pt x="6" y="10"/>
                      <a:pt x="3" y="12"/>
                      <a:pt x="2" y="11"/>
                    </a:cubicBezTo>
                    <a:cubicBezTo>
                      <a:pt x="0" y="10"/>
                      <a:pt x="0" y="8"/>
                      <a:pt x="0" y="7"/>
                    </a:cubicBezTo>
                    <a:cubicBezTo>
                      <a:pt x="0" y="7"/>
                      <a:pt x="3" y="4"/>
                      <a:pt x="4" y="4"/>
                    </a:cubicBezTo>
                    <a:cubicBezTo>
                      <a:pt x="5" y="4"/>
                      <a:pt x="3" y="1"/>
                      <a:pt x="5" y="1"/>
                    </a:cubicBezTo>
                    <a:cubicBezTo>
                      <a:pt x="6" y="0"/>
                      <a:pt x="12" y="1"/>
                      <a:pt x="14" y="2"/>
                    </a:cubicBezTo>
                    <a:cubicBezTo>
                      <a:pt x="15" y="4"/>
                      <a:pt x="7" y="9"/>
                      <a:pt x="6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92" name="Freeform 201"/>
            <p:cNvSpPr>
              <a:spLocks/>
            </p:cNvSpPr>
            <p:nvPr/>
          </p:nvSpPr>
          <p:spPr bwMode="auto">
            <a:xfrm>
              <a:off x="4212635" y="4863729"/>
              <a:ext cx="255905" cy="278969"/>
            </a:xfrm>
            <a:custGeom>
              <a:avLst/>
              <a:gdLst>
                <a:gd name="T0" fmla="*/ 5358 w 92"/>
                <a:gd name="T1" fmla="*/ 3962 h 106"/>
                <a:gd name="T2" fmla="*/ 22762 w 92"/>
                <a:gd name="T3" fmla="*/ 3345 h 106"/>
                <a:gd name="T4" fmla="*/ 79871 w 92"/>
                <a:gd name="T5" fmla="*/ 647 h 106"/>
                <a:gd name="T6" fmla="*/ 99434 w 92"/>
                <a:gd name="T7" fmla="*/ 647 h 106"/>
                <a:gd name="T8" fmla="*/ 95208 w 92"/>
                <a:gd name="T9" fmla="*/ 3345 h 106"/>
                <a:gd name="T10" fmla="*/ 114081 w 92"/>
                <a:gd name="T11" fmla="*/ 6081 h 106"/>
                <a:gd name="T12" fmla="*/ 150951 w 92"/>
                <a:gd name="T13" fmla="*/ 7267 h 106"/>
                <a:gd name="T14" fmla="*/ 180039 w 92"/>
                <a:gd name="T15" fmla="*/ 9343 h 106"/>
                <a:gd name="T16" fmla="*/ 203113 w 92"/>
                <a:gd name="T17" fmla="*/ 8915 h 106"/>
                <a:gd name="T18" fmla="*/ 216838 w 92"/>
                <a:gd name="T19" fmla="*/ 10711 h 106"/>
                <a:gd name="T20" fmla="*/ 218023 w 92"/>
                <a:gd name="T21" fmla="*/ 14922 h 106"/>
                <a:gd name="T22" fmla="*/ 261187 w 92"/>
                <a:gd name="T23" fmla="*/ 15627 h 106"/>
                <a:gd name="T24" fmla="*/ 261187 w 92"/>
                <a:gd name="T25" fmla="*/ 17580 h 106"/>
                <a:gd name="T26" fmla="*/ 280215 w 92"/>
                <a:gd name="T27" fmla="*/ 19761 h 106"/>
                <a:gd name="T28" fmla="*/ 271422 w 92"/>
                <a:gd name="T29" fmla="*/ 23676 h 106"/>
                <a:gd name="T30" fmla="*/ 251616 w 92"/>
                <a:gd name="T31" fmla="*/ 22401 h 106"/>
                <a:gd name="T32" fmla="*/ 218023 w 92"/>
                <a:gd name="T33" fmla="*/ 22261 h 106"/>
                <a:gd name="T34" fmla="*/ 180325 w 92"/>
                <a:gd name="T35" fmla="*/ 22996 h 106"/>
                <a:gd name="T36" fmla="*/ 169604 w 92"/>
                <a:gd name="T37" fmla="*/ 26673 h 106"/>
                <a:gd name="T38" fmla="*/ 160489 w 92"/>
                <a:gd name="T39" fmla="*/ 28627 h 106"/>
                <a:gd name="T40" fmla="*/ 160489 w 92"/>
                <a:gd name="T41" fmla="*/ 28627 h 106"/>
                <a:gd name="T42" fmla="*/ 145730 w 92"/>
                <a:gd name="T43" fmla="*/ 28441 h 106"/>
                <a:gd name="T44" fmla="*/ 119437 w 92"/>
                <a:gd name="T45" fmla="*/ 30281 h 106"/>
                <a:gd name="T46" fmla="*/ 105215 w 92"/>
                <a:gd name="T47" fmla="*/ 28441 h 106"/>
                <a:gd name="T48" fmla="*/ 76682 w 92"/>
                <a:gd name="T49" fmla="*/ 28150 h 106"/>
                <a:gd name="T50" fmla="*/ 57626 w 92"/>
                <a:gd name="T51" fmla="*/ 29926 h 106"/>
                <a:gd name="T52" fmla="*/ 56518 w 92"/>
                <a:gd name="T53" fmla="*/ 30281 h 106"/>
                <a:gd name="T54" fmla="*/ 34208 w 92"/>
                <a:gd name="T55" fmla="*/ 29926 h 106"/>
                <a:gd name="T56" fmla="*/ 24163 w 92"/>
                <a:gd name="T57" fmla="*/ 25043 h 106"/>
                <a:gd name="T58" fmla="*/ 28092 w 92"/>
                <a:gd name="T59" fmla="*/ 22401 h 106"/>
                <a:gd name="T60" fmla="*/ 14625 w 92"/>
                <a:gd name="T61" fmla="*/ 20825 h 106"/>
                <a:gd name="T62" fmla="*/ 0 w 92"/>
                <a:gd name="T63" fmla="*/ 18448 h 106"/>
                <a:gd name="T64" fmla="*/ 14625 w 92"/>
                <a:gd name="T65" fmla="*/ 15725 h 106"/>
                <a:gd name="T66" fmla="*/ 3243 w 92"/>
                <a:gd name="T67" fmla="*/ 13775 h 106"/>
                <a:gd name="T68" fmla="*/ 14625 w 92"/>
                <a:gd name="T69" fmla="*/ 10970 h 106"/>
                <a:gd name="T70" fmla="*/ 13777 w 92"/>
                <a:gd name="T71" fmla="*/ 8040 h 106"/>
                <a:gd name="T72" fmla="*/ 22762 w 92"/>
                <a:gd name="T73" fmla="*/ 6788 h 106"/>
                <a:gd name="T74" fmla="*/ 5358 w 92"/>
                <a:gd name="T75" fmla="*/ 3962 h 10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92" h="106">
                  <a:moveTo>
                    <a:pt x="2" y="14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23" y="2"/>
                    <a:pt x="26" y="2"/>
                  </a:cubicBezTo>
                  <a:cubicBezTo>
                    <a:pt x="29" y="1"/>
                    <a:pt x="31" y="0"/>
                    <a:pt x="32" y="2"/>
                  </a:cubicBezTo>
                  <a:cubicBezTo>
                    <a:pt x="33" y="4"/>
                    <a:pt x="31" y="10"/>
                    <a:pt x="31" y="12"/>
                  </a:cubicBezTo>
                  <a:cubicBezTo>
                    <a:pt x="32" y="14"/>
                    <a:pt x="34" y="20"/>
                    <a:pt x="37" y="21"/>
                  </a:cubicBezTo>
                  <a:cubicBezTo>
                    <a:pt x="39" y="22"/>
                    <a:pt x="47" y="24"/>
                    <a:pt x="49" y="25"/>
                  </a:cubicBezTo>
                  <a:cubicBezTo>
                    <a:pt x="51" y="26"/>
                    <a:pt x="56" y="31"/>
                    <a:pt x="58" y="32"/>
                  </a:cubicBezTo>
                  <a:cubicBezTo>
                    <a:pt x="59" y="32"/>
                    <a:pt x="64" y="30"/>
                    <a:pt x="66" y="31"/>
                  </a:cubicBezTo>
                  <a:cubicBezTo>
                    <a:pt x="68" y="33"/>
                    <a:pt x="71" y="35"/>
                    <a:pt x="70" y="37"/>
                  </a:cubicBezTo>
                  <a:cubicBezTo>
                    <a:pt x="70" y="39"/>
                    <a:pt x="71" y="51"/>
                    <a:pt x="71" y="52"/>
                  </a:cubicBezTo>
                  <a:cubicBezTo>
                    <a:pt x="71" y="53"/>
                    <a:pt x="84" y="54"/>
                    <a:pt x="85" y="54"/>
                  </a:cubicBezTo>
                  <a:cubicBezTo>
                    <a:pt x="87" y="54"/>
                    <a:pt x="85" y="60"/>
                    <a:pt x="85" y="61"/>
                  </a:cubicBezTo>
                  <a:cubicBezTo>
                    <a:pt x="86" y="62"/>
                    <a:pt x="92" y="66"/>
                    <a:pt x="91" y="69"/>
                  </a:cubicBezTo>
                  <a:cubicBezTo>
                    <a:pt x="91" y="71"/>
                    <a:pt x="88" y="79"/>
                    <a:pt x="88" y="82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74" y="77"/>
                    <a:pt x="71" y="77"/>
                  </a:cubicBezTo>
                  <a:cubicBezTo>
                    <a:pt x="69" y="77"/>
                    <a:pt x="59" y="79"/>
                    <a:pt x="59" y="80"/>
                  </a:cubicBezTo>
                  <a:cubicBezTo>
                    <a:pt x="57" y="81"/>
                    <a:pt x="55" y="91"/>
                    <a:pt x="55" y="93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1" y="99"/>
                    <a:pt x="49" y="99"/>
                    <a:pt x="47" y="99"/>
                  </a:cubicBezTo>
                  <a:cubicBezTo>
                    <a:pt x="45" y="99"/>
                    <a:pt x="41" y="105"/>
                    <a:pt x="39" y="105"/>
                  </a:cubicBezTo>
                  <a:cubicBezTo>
                    <a:pt x="38" y="105"/>
                    <a:pt x="37" y="99"/>
                    <a:pt x="34" y="99"/>
                  </a:cubicBezTo>
                  <a:cubicBezTo>
                    <a:pt x="31" y="98"/>
                    <a:pt x="26" y="97"/>
                    <a:pt x="25" y="98"/>
                  </a:cubicBezTo>
                  <a:cubicBezTo>
                    <a:pt x="23" y="100"/>
                    <a:pt x="21" y="103"/>
                    <a:pt x="19" y="104"/>
                  </a:cubicBezTo>
                  <a:cubicBezTo>
                    <a:pt x="19" y="105"/>
                    <a:pt x="18" y="105"/>
                    <a:pt x="18" y="105"/>
                  </a:cubicBezTo>
                  <a:cubicBezTo>
                    <a:pt x="17" y="105"/>
                    <a:pt x="11" y="106"/>
                    <a:pt x="11" y="104"/>
                  </a:cubicBezTo>
                  <a:cubicBezTo>
                    <a:pt x="11" y="103"/>
                    <a:pt x="9" y="90"/>
                    <a:pt x="8" y="87"/>
                  </a:cubicBezTo>
                  <a:cubicBezTo>
                    <a:pt x="7" y="84"/>
                    <a:pt x="9" y="80"/>
                    <a:pt x="9" y="78"/>
                  </a:cubicBezTo>
                  <a:cubicBezTo>
                    <a:pt x="8" y="76"/>
                    <a:pt x="6" y="74"/>
                    <a:pt x="5" y="7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0"/>
                    <a:pt x="4" y="56"/>
                    <a:pt x="5" y="55"/>
                  </a:cubicBezTo>
                  <a:cubicBezTo>
                    <a:pt x="6" y="53"/>
                    <a:pt x="0" y="51"/>
                    <a:pt x="1" y="48"/>
                  </a:cubicBezTo>
                  <a:cubicBezTo>
                    <a:pt x="2" y="45"/>
                    <a:pt x="4" y="40"/>
                    <a:pt x="5" y="38"/>
                  </a:cubicBezTo>
                  <a:cubicBezTo>
                    <a:pt x="6" y="36"/>
                    <a:pt x="3" y="30"/>
                    <a:pt x="4" y="28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6" y="22"/>
                    <a:pt x="4" y="17"/>
                    <a:pt x="2" y="1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93" name="Freeform 202"/>
            <p:cNvSpPr>
              <a:spLocks/>
            </p:cNvSpPr>
            <p:nvPr/>
          </p:nvSpPr>
          <p:spPr bwMode="auto">
            <a:xfrm>
              <a:off x="4138557" y="2391805"/>
              <a:ext cx="1311512" cy="912653"/>
            </a:xfrm>
            <a:custGeom>
              <a:avLst/>
              <a:gdLst>
                <a:gd name="T0" fmla="*/ 122341 w 470"/>
                <a:gd name="T1" fmla="*/ 30777 h 347"/>
                <a:gd name="T2" fmla="*/ 73813 w 470"/>
                <a:gd name="T3" fmla="*/ 24958 h 347"/>
                <a:gd name="T4" fmla="*/ 146406 w 470"/>
                <a:gd name="T5" fmla="*/ 18830 h 347"/>
                <a:gd name="T6" fmla="*/ 281976 w 470"/>
                <a:gd name="T7" fmla="*/ 13573 h 347"/>
                <a:gd name="T8" fmla="*/ 321488 w 470"/>
                <a:gd name="T9" fmla="*/ 9175 h 347"/>
                <a:gd name="T10" fmla="*/ 354198 w 470"/>
                <a:gd name="T11" fmla="*/ 8172 h 347"/>
                <a:gd name="T12" fmla="*/ 473789 w 470"/>
                <a:gd name="T13" fmla="*/ 11238 h 347"/>
                <a:gd name="T14" fmla="*/ 488769 w 470"/>
                <a:gd name="T15" fmla="*/ 6697 h 347"/>
                <a:gd name="T16" fmla="*/ 580658 w 470"/>
                <a:gd name="T17" fmla="*/ 9175 h 347"/>
                <a:gd name="T18" fmla="*/ 691059 w 470"/>
                <a:gd name="T19" fmla="*/ 10259 h 347"/>
                <a:gd name="T20" fmla="*/ 625466 w 470"/>
                <a:gd name="T21" fmla="*/ 5191 h 347"/>
                <a:gd name="T22" fmla="*/ 694493 w 470"/>
                <a:gd name="T23" fmla="*/ 4613 h 347"/>
                <a:gd name="T24" fmla="*/ 768711 w 470"/>
                <a:gd name="T25" fmla="*/ 3304 h 347"/>
                <a:gd name="T26" fmla="*/ 892905 w 470"/>
                <a:gd name="T27" fmla="*/ 1 h 347"/>
                <a:gd name="T28" fmla="*/ 1167728 w 470"/>
                <a:gd name="T29" fmla="*/ 1364 h 347"/>
                <a:gd name="T30" fmla="*/ 1258960 w 470"/>
                <a:gd name="T31" fmla="*/ 6567 h 347"/>
                <a:gd name="T32" fmla="*/ 991617 w 470"/>
                <a:gd name="T33" fmla="*/ 9175 h 347"/>
                <a:gd name="T34" fmla="*/ 1086594 w 470"/>
                <a:gd name="T35" fmla="*/ 10259 h 347"/>
                <a:gd name="T36" fmla="*/ 1145394 w 470"/>
                <a:gd name="T37" fmla="*/ 11238 h 347"/>
                <a:gd name="T38" fmla="*/ 1277470 w 470"/>
                <a:gd name="T39" fmla="*/ 8172 h 347"/>
                <a:gd name="T40" fmla="*/ 1244824 w 470"/>
                <a:gd name="T41" fmla="*/ 14698 h 347"/>
                <a:gd name="T42" fmla="*/ 1407630 w 470"/>
                <a:gd name="T43" fmla="*/ 9534 h 347"/>
                <a:gd name="T44" fmla="*/ 1475981 w 470"/>
                <a:gd name="T45" fmla="*/ 13573 h 347"/>
                <a:gd name="T46" fmla="*/ 1332874 w 470"/>
                <a:gd name="T47" fmla="*/ 15583 h 347"/>
                <a:gd name="T48" fmla="*/ 1310769 w 470"/>
                <a:gd name="T49" fmla="*/ 18595 h 347"/>
                <a:gd name="T50" fmla="*/ 1322051 w 470"/>
                <a:gd name="T51" fmla="*/ 21619 h 347"/>
                <a:gd name="T52" fmla="*/ 1297958 w 470"/>
                <a:gd name="T53" fmla="*/ 28824 h 347"/>
                <a:gd name="T54" fmla="*/ 1330534 w 470"/>
                <a:gd name="T55" fmla="*/ 32426 h 347"/>
                <a:gd name="T56" fmla="*/ 1282014 w 470"/>
                <a:gd name="T57" fmla="*/ 33569 h 347"/>
                <a:gd name="T58" fmla="*/ 1327227 w 470"/>
                <a:gd name="T59" fmla="*/ 39785 h 347"/>
                <a:gd name="T60" fmla="*/ 1340215 w 470"/>
                <a:gd name="T61" fmla="*/ 43535 h 347"/>
                <a:gd name="T62" fmla="*/ 1301560 w 470"/>
                <a:gd name="T63" fmla="*/ 49071 h 347"/>
                <a:gd name="T64" fmla="*/ 1235390 w 470"/>
                <a:gd name="T65" fmla="*/ 50368 h 347"/>
                <a:gd name="T66" fmla="*/ 1197471 w 470"/>
                <a:gd name="T67" fmla="*/ 51498 h 347"/>
                <a:gd name="T68" fmla="*/ 1252741 w 470"/>
                <a:gd name="T69" fmla="*/ 55634 h 347"/>
                <a:gd name="T70" fmla="*/ 1173724 w 470"/>
                <a:gd name="T71" fmla="*/ 57046 h 347"/>
                <a:gd name="T72" fmla="*/ 1238845 w 470"/>
                <a:gd name="T73" fmla="*/ 62645 h 347"/>
                <a:gd name="T74" fmla="*/ 1044805 w 470"/>
                <a:gd name="T75" fmla="*/ 70329 h 347"/>
                <a:gd name="T76" fmla="*/ 908113 w 470"/>
                <a:gd name="T77" fmla="*/ 78230 h 347"/>
                <a:gd name="T78" fmla="*/ 797643 w 470"/>
                <a:gd name="T79" fmla="*/ 81294 h 347"/>
                <a:gd name="T80" fmla="*/ 725819 w 470"/>
                <a:gd name="T81" fmla="*/ 98501 h 347"/>
                <a:gd name="T82" fmla="*/ 562126 w 470"/>
                <a:gd name="T83" fmla="*/ 90166 h 347"/>
                <a:gd name="T84" fmla="*/ 499495 w 470"/>
                <a:gd name="T85" fmla="*/ 79897 h 347"/>
                <a:gd name="T86" fmla="*/ 477141 w 470"/>
                <a:gd name="T87" fmla="*/ 70811 h 347"/>
                <a:gd name="T88" fmla="*/ 541937 w 470"/>
                <a:gd name="T89" fmla="*/ 68954 h 347"/>
                <a:gd name="T90" fmla="*/ 493788 w 470"/>
                <a:gd name="T91" fmla="*/ 61524 h 347"/>
                <a:gd name="T92" fmla="*/ 523057 w 470"/>
                <a:gd name="T93" fmla="*/ 60375 h 347"/>
                <a:gd name="T94" fmla="*/ 488769 w 470"/>
                <a:gd name="T95" fmla="*/ 55634 h 347"/>
                <a:gd name="T96" fmla="*/ 428888 w 470"/>
                <a:gd name="T97" fmla="*/ 53798 h 347"/>
                <a:gd name="T98" fmla="*/ 383827 w 470"/>
                <a:gd name="T99" fmla="*/ 42860 h 347"/>
                <a:gd name="T100" fmla="*/ 270633 w 470"/>
                <a:gd name="T101" fmla="*/ 36872 h 347"/>
                <a:gd name="T102" fmla="*/ 156906 w 470"/>
                <a:gd name="T103" fmla="*/ 38747 h 34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70" h="347">
                  <a:moveTo>
                    <a:pt x="24" y="120"/>
                  </a:moveTo>
                  <a:cubicBezTo>
                    <a:pt x="21" y="120"/>
                    <a:pt x="15" y="119"/>
                    <a:pt x="14" y="118"/>
                  </a:cubicBezTo>
                  <a:cubicBezTo>
                    <a:pt x="12" y="116"/>
                    <a:pt x="13" y="115"/>
                    <a:pt x="15" y="114"/>
                  </a:cubicBezTo>
                  <a:cubicBezTo>
                    <a:pt x="16" y="114"/>
                    <a:pt x="34" y="113"/>
                    <a:pt x="35" y="112"/>
                  </a:cubicBezTo>
                  <a:cubicBezTo>
                    <a:pt x="36" y="112"/>
                    <a:pt x="38" y="110"/>
                    <a:pt x="38" y="108"/>
                  </a:cubicBezTo>
                  <a:cubicBezTo>
                    <a:pt x="37" y="107"/>
                    <a:pt x="36" y="108"/>
                    <a:pt x="31" y="108"/>
                  </a:cubicBezTo>
                  <a:cubicBezTo>
                    <a:pt x="27" y="108"/>
                    <a:pt x="22" y="107"/>
                    <a:pt x="20" y="106"/>
                  </a:cubicBezTo>
                  <a:cubicBezTo>
                    <a:pt x="18" y="104"/>
                    <a:pt x="3" y="101"/>
                    <a:pt x="2" y="99"/>
                  </a:cubicBezTo>
                  <a:cubicBezTo>
                    <a:pt x="0" y="96"/>
                    <a:pt x="2" y="92"/>
                    <a:pt x="3" y="92"/>
                  </a:cubicBezTo>
                  <a:cubicBezTo>
                    <a:pt x="5" y="91"/>
                    <a:pt x="20" y="88"/>
                    <a:pt x="23" y="88"/>
                  </a:cubicBezTo>
                  <a:cubicBezTo>
                    <a:pt x="26" y="87"/>
                    <a:pt x="36" y="82"/>
                    <a:pt x="38" y="82"/>
                  </a:cubicBezTo>
                  <a:cubicBezTo>
                    <a:pt x="39" y="82"/>
                    <a:pt x="52" y="82"/>
                    <a:pt x="53" y="82"/>
                  </a:cubicBezTo>
                  <a:cubicBezTo>
                    <a:pt x="55" y="81"/>
                    <a:pt x="62" y="76"/>
                    <a:pt x="62" y="74"/>
                  </a:cubicBezTo>
                  <a:cubicBezTo>
                    <a:pt x="62" y="72"/>
                    <a:pt x="62" y="66"/>
                    <a:pt x="59" y="66"/>
                  </a:cubicBezTo>
                  <a:cubicBezTo>
                    <a:pt x="57" y="66"/>
                    <a:pt x="47" y="67"/>
                    <a:pt x="45" y="66"/>
                  </a:cubicBezTo>
                  <a:cubicBezTo>
                    <a:pt x="44" y="65"/>
                    <a:pt x="43" y="62"/>
                    <a:pt x="44" y="61"/>
                  </a:cubicBezTo>
                  <a:cubicBezTo>
                    <a:pt x="45" y="60"/>
                    <a:pt x="51" y="57"/>
                    <a:pt x="54" y="56"/>
                  </a:cubicBezTo>
                  <a:cubicBezTo>
                    <a:pt x="57" y="55"/>
                    <a:pt x="68" y="48"/>
                    <a:pt x="69" y="47"/>
                  </a:cubicBezTo>
                  <a:cubicBezTo>
                    <a:pt x="71" y="46"/>
                    <a:pt x="77" y="45"/>
                    <a:pt x="79" y="45"/>
                  </a:cubicBezTo>
                  <a:cubicBezTo>
                    <a:pt x="80" y="46"/>
                    <a:pt x="85" y="48"/>
                    <a:pt x="87" y="48"/>
                  </a:cubicBezTo>
                  <a:cubicBezTo>
                    <a:pt x="89" y="48"/>
                    <a:pt x="91" y="46"/>
                    <a:pt x="91" y="46"/>
                  </a:cubicBezTo>
                  <a:cubicBezTo>
                    <a:pt x="91" y="45"/>
                    <a:pt x="89" y="43"/>
                    <a:pt x="89" y="42"/>
                  </a:cubicBezTo>
                  <a:cubicBezTo>
                    <a:pt x="90" y="41"/>
                    <a:pt x="92" y="40"/>
                    <a:pt x="91" y="38"/>
                  </a:cubicBezTo>
                  <a:cubicBezTo>
                    <a:pt x="90" y="36"/>
                    <a:pt x="88" y="35"/>
                    <a:pt x="89" y="35"/>
                  </a:cubicBezTo>
                  <a:cubicBezTo>
                    <a:pt x="90" y="34"/>
                    <a:pt x="96" y="31"/>
                    <a:pt x="99" y="32"/>
                  </a:cubicBezTo>
                  <a:cubicBezTo>
                    <a:pt x="101" y="32"/>
                    <a:pt x="105" y="32"/>
                    <a:pt x="106" y="33"/>
                  </a:cubicBezTo>
                  <a:cubicBezTo>
                    <a:pt x="107" y="34"/>
                    <a:pt x="114" y="38"/>
                    <a:pt x="116" y="39"/>
                  </a:cubicBezTo>
                  <a:cubicBezTo>
                    <a:pt x="117" y="40"/>
                    <a:pt x="122" y="42"/>
                    <a:pt x="123" y="42"/>
                  </a:cubicBezTo>
                  <a:cubicBezTo>
                    <a:pt x="123" y="42"/>
                    <a:pt x="123" y="39"/>
                    <a:pt x="121" y="37"/>
                  </a:cubicBezTo>
                  <a:cubicBezTo>
                    <a:pt x="119" y="35"/>
                    <a:pt x="110" y="29"/>
                    <a:pt x="109" y="29"/>
                  </a:cubicBezTo>
                  <a:cubicBezTo>
                    <a:pt x="108" y="28"/>
                    <a:pt x="115" y="27"/>
                    <a:pt x="117" y="27"/>
                  </a:cubicBezTo>
                  <a:cubicBezTo>
                    <a:pt x="118" y="27"/>
                    <a:pt x="128" y="26"/>
                    <a:pt x="131" y="26"/>
                  </a:cubicBezTo>
                  <a:cubicBezTo>
                    <a:pt x="134" y="25"/>
                    <a:pt x="138" y="23"/>
                    <a:pt x="140" y="24"/>
                  </a:cubicBezTo>
                  <a:cubicBezTo>
                    <a:pt x="142" y="24"/>
                    <a:pt x="147" y="28"/>
                    <a:pt x="147" y="30"/>
                  </a:cubicBezTo>
                  <a:cubicBezTo>
                    <a:pt x="147" y="31"/>
                    <a:pt x="145" y="37"/>
                    <a:pt x="146" y="39"/>
                  </a:cubicBezTo>
                  <a:cubicBezTo>
                    <a:pt x="146" y="40"/>
                    <a:pt x="149" y="40"/>
                    <a:pt x="150" y="40"/>
                  </a:cubicBezTo>
                  <a:cubicBezTo>
                    <a:pt x="151" y="40"/>
                    <a:pt x="152" y="39"/>
                    <a:pt x="151" y="36"/>
                  </a:cubicBezTo>
                  <a:cubicBezTo>
                    <a:pt x="151" y="34"/>
                    <a:pt x="152" y="33"/>
                    <a:pt x="154" y="32"/>
                  </a:cubicBezTo>
                  <a:cubicBezTo>
                    <a:pt x="155" y="31"/>
                    <a:pt x="154" y="29"/>
                    <a:pt x="153" y="28"/>
                  </a:cubicBezTo>
                  <a:cubicBezTo>
                    <a:pt x="153" y="27"/>
                    <a:pt x="150" y="25"/>
                    <a:pt x="151" y="24"/>
                  </a:cubicBezTo>
                  <a:cubicBezTo>
                    <a:pt x="152" y="23"/>
                    <a:pt x="157" y="24"/>
                    <a:pt x="158" y="25"/>
                  </a:cubicBezTo>
                  <a:cubicBezTo>
                    <a:pt x="160" y="27"/>
                    <a:pt x="164" y="28"/>
                    <a:pt x="165" y="29"/>
                  </a:cubicBezTo>
                  <a:cubicBezTo>
                    <a:pt x="165" y="29"/>
                    <a:pt x="168" y="33"/>
                    <a:pt x="169" y="33"/>
                  </a:cubicBezTo>
                  <a:cubicBezTo>
                    <a:pt x="170" y="34"/>
                    <a:pt x="176" y="36"/>
                    <a:pt x="177" y="37"/>
                  </a:cubicBezTo>
                  <a:cubicBezTo>
                    <a:pt x="178" y="38"/>
                    <a:pt x="178" y="33"/>
                    <a:pt x="179" y="32"/>
                  </a:cubicBezTo>
                  <a:cubicBezTo>
                    <a:pt x="180" y="30"/>
                    <a:pt x="175" y="29"/>
                    <a:pt x="173" y="28"/>
                  </a:cubicBezTo>
                  <a:cubicBezTo>
                    <a:pt x="170" y="27"/>
                    <a:pt x="166" y="22"/>
                    <a:pt x="166" y="21"/>
                  </a:cubicBezTo>
                  <a:cubicBezTo>
                    <a:pt x="166" y="20"/>
                    <a:pt x="178" y="20"/>
                    <a:pt x="180" y="21"/>
                  </a:cubicBezTo>
                  <a:cubicBezTo>
                    <a:pt x="181" y="21"/>
                    <a:pt x="203" y="31"/>
                    <a:pt x="205" y="32"/>
                  </a:cubicBezTo>
                  <a:cubicBezTo>
                    <a:pt x="206" y="32"/>
                    <a:pt x="212" y="36"/>
                    <a:pt x="213" y="36"/>
                  </a:cubicBezTo>
                  <a:cubicBezTo>
                    <a:pt x="214" y="36"/>
                    <a:pt x="219" y="35"/>
                    <a:pt x="219" y="34"/>
                  </a:cubicBezTo>
                  <a:cubicBezTo>
                    <a:pt x="220" y="33"/>
                    <a:pt x="219" y="32"/>
                    <a:pt x="217" y="31"/>
                  </a:cubicBezTo>
                  <a:cubicBezTo>
                    <a:pt x="216" y="30"/>
                    <a:pt x="213" y="27"/>
                    <a:pt x="211" y="26"/>
                  </a:cubicBezTo>
                  <a:cubicBezTo>
                    <a:pt x="209" y="26"/>
                    <a:pt x="201" y="23"/>
                    <a:pt x="200" y="22"/>
                  </a:cubicBezTo>
                  <a:cubicBezTo>
                    <a:pt x="198" y="22"/>
                    <a:pt x="193" y="19"/>
                    <a:pt x="193" y="18"/>
                  </a:cubicBezTo>
                  <a:cubicBezTo>
                    <a:pt x="194" y="18"/>
                    <a:pt x="199" y="18"/>
                    <a:pt x="200" y="18"/>
                  </a:cubicBezTo>
                  <a:cubicBezTo>
                    <a:pt x="201" y="18"/>
                    <a:pt x="207" y="19"/>
                    <a:pt x="208" y="19"/>
                  </a:cubicBezTo>
                  <a:cubicBezTo>
                    <a:pt x="210" y="20"/>
                    <a:pt x="218" y="24"/>
                    <a:pt x="218" y="24"/>
                  </a:cubicBezTo>
                  <a:cubicBezTo>
                    <a:pt x="218" y="24"/>
                    <a:pt x="225" y="23"/>
                    <a:pt x="223" y="23"/>
                  </a:cubicBezTo>
                  <a:cubicBezTo>
                    <a:pt x="222" y="22"/>
                    <a:pt x="214" y="17"/>
                    <a:pt x="214" y="16"/>
                  </a:cubicBezTo>
                  <a:cubicBezTo>
                    <a:pt x="214" y="15"/>
                    <a:pt x="227" y="16"/>
                    <a:pt x="228" y="16"/>
                  </a:cubicBezTo>
                  <a:cubicBezTo>
                    <a:pt x="230" y="16"/>
                    <a:pt x="241" y="18"/>
                    <a:pt x="242" y="19"/>
                  </a:cubicBezTo>
                  <a:cubicBezTo>
                    <a:pt x="242" y="19"/>
                    <a:pt x="249" y="21"/>
                    <a:pt x="250" y="21"/>
                  </a:cubicBezTo>
                  <a:cubicBezTo>
                    <a:pt x="251" y="21"/>
                    <a:pt x="252" y="17"/>
                    <a:pt x="250" y="16"/>
                  </a:cubicBezTo>
                  <a:cubicBezTo>
                    <a:pt x="249" y="16"/>
                    <a:pt x="240" y="13"/>
                    <a:pt x="237" y="12"/>
                  </a:cubicBezTo>
                  <a:cubicBezTo>
                    <a:pt x="235" y="12"/>
                    <a:pt x="220" y="10"/>
                    <a:pt x="219" y="10"/>
                  </a:cubicBezTo>
                  <a:cubicBezTo>
                    <a:pt x="218" y="9"/>
                    <a:pt x="237" y="7"/>
                    <a:pt x="240" y="7"/>
                  </a:cubicBezTo>
                  <a:cubicBezTo>
                    <a:pt x="243" y="8"/>
                    <a:pt x="249" y="7"/>
                    <a:pt x="253" y="7"/>
                  </a:cubicBezTo>
                  <a:cubicBezTo>
                    <a:pt x="256" y="7"/>
                    <a:pt x="259" y="4"/>
                    <a:pt x="261" y="4"/>
                  </a:cubicBezTo>
                  <a:cubicBezTo>
                    <a:pt x="263" y="3"/>
                    <a:pt x="273" y="1"/>
                    <a:pt x="275" y="1"/>
                  </a:cubicBezTo>
                  <a:cubicBezTo>
                    <a:pt x="277" y="1"/>
                    <a:pt x="296" y="0"/>
                    <a:pt x="300" y="0"/>
                  </a:cubicBezTo>
                  <a:cubicBezTo>
                    <a:pt x="305" y="0"/>
                    <a:pt x="325" y="0"/>
                    <a:pt x="327" y="0"/>
                  </a:cubicBezTo>
                  <a:cubicBezTo>
                    <a:pt x="329" y="1"/>
                    <a:pt x="337" y="3"/>
                    <a:pt x="340" y="3"/>
                  </a:cubicBezTo>
                  <a:cubicBezTo>
                    <a:pt x="343" y="3"/>
                    <a:pt x="349" y="3"/>
                    <a:pt x="352" y="3"/>
                  </a:cubicBezTo>
                  <a:cubicBezTo>
                    <a:pt x="354" y="4"/>
                    <a:pt x="360" y="5"/>
                    <a:pt x="360" y="5"/>
                  </a:cubicBezTo>
                  <a:cubicBezTo>
                    <a:pt x="360" y="6"/>
                    <a:pt x="367" y="8"/>
                    <a:pt x="367" y="9"/>
                  </a:cubicBezTo>
                  <a:cubicBezTo>
                    <a:pt x="367" y="11"/>
                    <a:pt x="363" y="13"/>
                    <a:pt x="363" y="15"/>
                  </a:cubicBezTo>
                  <a:cubicBezTo>
                    <a:pt x="362" y="17"/>
                    <a:pt x="375" y="14"/>
                    <a:pt x="377" y="14"/>
                  </a:cubicBezTo>
                  <a:cubicBezTo>
                    <a:pt x="378" y="15"/>
                    <a:pt x="392" y="17"/>
                    <a:pt x="393" y="18"/>
                  </a:cubicBezTo>
                  <a:cubicBezTo>
                    <a:pt x="393" y="19"/>
                    <a:pt x="391" y="23"/>
                    <a:pt x="388" y="23"/>
                  </a:cubicBezTo>
                  <a:cubicBezTo>
                    <a:pt x="386" y="23"/>
                    <a:pt x="374" y="24"/>
                    <a:pt x="371" y="24"/>
                  </a:cubicBezTo>
                  <a:cubicBezTo>
                    <a:pt x="369" y="25"/>
                    <a:pt x="367" y="26"/>
                    <a:pt x="365" y="26"/>
                  </a:cubicBezTo>
                  <a:cubicBezTo>
                    <a:pt x="362" y="26"/>
                    <a:pt x="341" y="25"/>
                    <a:pt x="338" y="25"/>
                  </a:cubicBezTo>
                  <a:cubicBezTo>
                    <a:pt x="336" y="26"/>
                    <a:pt x="327" y="26"/>
                    <a:pt x="324" y="27"/>
                  </a:cubicBezTo>
                  <a:cubicBezTo>
                    <a:pt x="321" y="28"/>
                    <a:pt x="308" y="30"/>
                    <a:pt x="306" y="32"/>
                  </a:cubicBezTo>
                  <a:cubicBezTo>
                    <a:pt x="304" y="33"/>
                    <a:pt x="306" y="36"/>
                    <a:pt x="306" y="37"/>
                  </a:cubicBezTo>
                  <a:cubicBezTo>
                    <a:pt x="307" y="38"/>
                    <a:pt x="309" y="40"/>
                    <a:pt x="310" y="39"/>
                  </a:cubicBezTo>
                  <a:cubicBezTo>
                    <a:pt x="312" y="39"/>
                    <a:pt x="318" y="35"/>
                    <a:pt x="320" y="34"/>
                  </a:cubicBezTo>
                  <a:cubicBezTo>
                    <a:pt x="323" y="34"/>
                    <a:pt x="331" y="33"/>
                    <a:pt x="331" y="34"/>
                  </a:cubicBezTo>
                  <a:cubicBezTo>
                    <a:pt x="331" y="35"/>
                    <a:pt x="334" y="38"/>
                    <a:pt x="335" y="36"/>
                  </a:cubicBezTo>
                  <a:cubicBezTo>
                    <a:pt x="335" y="34"/>
                    <a:pt x="337" y="32"/>
                    <a:pt x="340" y="31"/>
                  </a:cubicBezTo>
                  <a:cubicBezTo>
                    <a:pt x="342" y="31"/>
                    <a:pt x="349" y="31"/>
                    <a:pt x="353" y="31"/>
                  </a:cubicBezTo>
                  <a:cubicBezTo>
                    <a:pt x="357" y="31"/>
                    <a:pt x="367" y="31"/>
                    <a:pt x="368" y="31"/>
                  </a:cubicBezTo>
                  <a:cubicBezTo>
                    <a:pt x="369" y="31"/>
                    <a:pt x="369" y="34"/>
                    <a:pt x="369" y="35"/>
                  </a:cubicBezTo>
                  <a:cubicBezTo>
                    <a:pt x="368" y="35"/>
                    <a:pt x="353" y="38"/>
                    <a:pt x="353" y="39"/>
                  </a:cubicBezTo>
                  <a:cubicBezTo>
                    <a:pt x="353" y="40"/>
                    <a:pt x="355" y="42"/>
                    <a:pt x="357" y="42"/>
                  </a:cubicBezTo>
                  <a:cubicBezTo>
                    <a:pt x="359" y="42"/>
                    <a:pt x="368" y="40"/>
                    <a:pt x="370" y="39"/>
                  </a:cubicBezTo>
                  <a:cubicBezTo>
                    <a:pt x="372" y="39"/>
                    <a:pt x="379" y="36"/>
                    <a:pt x="380" y="36"/>
                  </a:cubicBezTo>
                  <a:cubicBezTo>
                    <a:pt x="381" y="36"/>
                    <a:pt x="379" y="31"/>
                    <a:pt x="380" y="30"/>
                  </a:cubicBezTo>
                  <a:cubicBezTo>
                    <a:pt x="381" y="30"/>
                    <a:pt x="393" y="29"/>
                    <a:pt x="394" y="29"/>
                  </a:cubicBezTo>
                  <a:cubicBezTo>
                    <a:pt x="396" y="30"/>
                    <a:pt x="398" y="34"/>
                    <a:pt x="394" y="39"/>
                  </a:cubicBezTo>
                  <a:cubicBezTo>
                    <a:pt x="389" y="44"/>
                    <a:pt x="385" y="45"/>
                    <a:pt x="381" y="47"/>
                  </a:cubicBezTo>
                  <a:cubicBezTo>
                    <a:pt x="378" y="49"/>
                    <a:pt x="378" y="51"/>
                    <a:pt x="377" y="52"/>
                  </a:cubicBezTo>
                  <a:cubicBezTo>
                    <a:pt x="377" y="52"/>
                    <a:pt x="372" y="56"/>
                    <a:pt x="373" y="56"/>
                  </a:cubicBezTo>
                  <a:cubicBezTo>
                    <a:pt x="375" y="57"/>
                    <a:pt x="381" y="54"/>
                    <a:pt x="384" y="52"/>
                  </a:cubicBezTo>
                  <a:cubicBezTo>
                    <a:pt x="389" y="49"/>
                    <a:pt x="393" y="48"/>
                    <a:pt x="395" y="47"/>
                  </a:cubicBezTo>
                  <a:cubicBezTo>
                    <a:pt x="397" y="46"/>
                    <a:pt x="402" y="42"/>
                    <a:pt x="404" y="41"/>
                  </a:cubicBezTo>
                  <a:cubicBezTo>
                    <a:pt x="405" y="40"/>
                    <a:pt x="408" y="38"/>
                    <a:pt x="409" y="38"/>
                  </a:cubicBezTo>
                  <a:cubicBezTo>
                    <a:pt x="410" y="38"/>
                    <a:pt x="424" y="42"/>
                    <a:pt x="425" y="42"/>
                  </a:cubicBezTo>
                  <a:cubicBezTo>
                    <a:pt x="426" y="41"/>
                    <a:pt x="431" y="34"/>
                    <a:pt x="434" y="34"/>
                  </a:cubicBezTo>
                  <a:cubicBezTo>
                    <a:pt x="438" y="34"/>
                    <a:pt x="448" y="33"/>
                    <a:pt x="451" y="34"/>
                  </a:cubicBezTo>
                  <a:cubicBezTo>
                    <a:pt x="455" y="35"/>
                    <a:pt x="467" y="38"/>
                    <a:pt x="467" y="38"/>
                  </a:cubicBezTo>
                  <a:cubicBezTo>
                    <a:pt x="468" y="39"/>
                    <a:pt x="470" y="40"/>
                    <a:pt x="470" y="40"/>
                  </a:cubicBezTo>
                  <a:cubicBezTo>
                    <a:pt x="470" y="41"/>
                    <a:pt x="463" y="45"/>
                    <a:pt x="461" y="46"/>
                  </a:cubicBezTo>
                  <a:cubicBezTo>
                    <a:pt x="459" y="47"/>
                    <a:pt x="456" y="48"/>
                    <a:pt x="455" y="48"/>
                  </a:cubicBezTo>
                  <a:cubicBezTo>
                    <a:pt x="453" y="48"/>
                    <a:pt x="447" y="46"/>
                    <a:pt x="445" y="48"/>
                  </a:cubicBezTo>
                  <a:cubicBezTo>
                    <a:pt x="444" y="50"/>
                    <a:pt x="449" y="52"/>
                    <a:pt x="448" y="53"/>
                  </a:cubicBezTo>
                  <a:cubicBezTo>
                    <a:pt x="447" y="53"/>
                    <a:pt x="441" y="54"/>
                    <a:pt x="439" y="54"/>
                  </a:cubicBezTo>
                  <a:cubicBezTo>
                    <a:pt x="437" y="54"/>
                    <a:pt x="426" y="53"/>
                    <a:pt x="424" y="53"/>
                  </a:cubicBezTo>
                  <a:cubicBezTo>
                    <a:pt x="423" y="53"/>
                    <a:pt x="413" y="55"/>
                    <a:pt x="411" y="55"/>
                  </a:cubicBezTo>
                  <a:cubicBezTo>
                    <a:pt x="409" y="54"/>
                    <a:pt x="408" y="57"/>
                    <a:pt x="408" y="57"/>
                  </a:cubicBezTo>
                  <a:cubicBezTo>
                    <a:pt x="408" y="58"/>
                    <a:pt x="420" y="59"/>
                    <a:pt x="422" y="59"/>
                  </a:cubicBezTo>
                  <a:cubicBezTo>
                    <a:pt x="423" y="59"/>
                    <a:pt x="435" y="59"/>
                    <a:pt x="435" y="60"/>
                  </a:cubicBezTo>
                  <a:cubicBezTo>
                    <a:pt x="435" y="61"/>
                    <a:pt x="422" y="64"/>
                    <a:pt x="416" y="64"/>
                  </a:cubicBezTo>
                  <a:cubicBezTo>
                    <a:pt x="410" y="64"/>
                    <a:pt x="404" y="64"/>
                    <a:pt x="404" y="65"/>
                  </a:cubicBezTo>
                  <a:cubicBezTo>
                    <a:pt x="403" y="67"/>
                    <a:pt x="400" y="68"/>
                    <a:pt x="402" y="69"/>
                  </a:cubicBezTo>
                  <a:cubicBezTo>
                    <a:pt x="404" y="70"/>
                    <a:pt x="407" y="70"/>
                    <a:pt x="407" y="70"/>
                  </a:cubicBezTo>
                  <a:cubicBezTo>
                    <a:pt x="407" y="70"/>
                    <a:pt x="423" y="68"/>
                    <a:pt x="423" y="69"/>
                  </a:cubicBezTo>
                  <a:cubicBezTo>
                    <a:pt x="424" y="70"/>
                    <a:pt x="419" y="75"/>
                    <a:pt x="418" y="76"/>
                  </a:cubicBezTo>
                  <a:cubicBezTo>
                    <a:pt x="417" y="76"/>
                    <a:pt x="410" y="73"/>
                    <a:pt x="408" y="76"/>
                  </a:cubicBezTo>
                  <a:cubicBezTo>
                    <a:pt x="408" y="77"/>
                    <a:pt x="408" y="85"/>
                    <a:pt x="407" y="86"/>
                  </a:cubicBezTo>
                  <a:cubicBezTo>
                    <a:pt x="406" y="87"/>
                    <a:pt x="399" y="86"/>
                    <a:pt x="399" y="87"/>
                  </a:cubicBezTo>
                  <a:cubicBezTo>
                    <a:pt x="399" y="89"/>
                    <a:pt x="389" y="104"/>
                    <a:pt x="389" y="105"/>
                  </a:cubicBezTo>
                  <a:cubicBezTo>
                    <a:pt x="388" y="106"/>
                    <a:pt x="394" y="106"/>
                    <a:pt x="395" y="106"/>
                  </a:cubicBezTo>
                  <a:cubicBezTo>
                    <a:pt x="397" y="107"/>
                    <a:pt x="398" y="101"/>
                    <a:pt x="400" y="101"/>
                  </a:cubicBezTo>
                  <a:cubicBezTo>
                    <a:pt x="401" y="101"/>
                    <a:pt x="410" y="102"/>
                    <a:pt x="410" y="103"/>
                  </a:cubicBezTo>
                  <a:cubicBezTo>
                    <a:pt x="410" y="104"/>
                    <a:pt x="413" y="107"/>
                    <a:pt x="413" y="107"/>
                  </a:cubicBezTo>
                  <a:cubicBezTo>
                    <a:pt x="413" y="108"/>
                    <a:pt x="404" y="106"/>
                    <a:pt x="403" y="107"/>
                  </a:cubicBezTo>
                  <a:cubicBezTo>
                    <a:pt x="401" y="107"/>
                    <a:pt x="401" y="110"/>
                    <a:pt x="401" y="111"/>
                  </a:cubicBezTo>
                  <a:cubicBezTo>
                    <a:pt x="402" y="111"/>
                    <a:pt x="410" y="114"/>
                    <a:pt x="410" y="114"/>
                  </a:cubicBezTo>
                  <a:cubicBezTo>
                    <a:pt x="411" y="114"/>
                    <a:pt x="412" y="112"/>
                    <a:pt x="413" y="112"/>
                  </a:cubicBezTo>
                  <a:cubicBezTo>
                    <a:pt x="413" y="112"/>
                    <a:pt x="418" y="113"/>
                    <a:pt x="418" y="114"/>
                  </a:cubicBezTo>
                  <a:cubicBezTo>
                    <a:pt x="418" y="116"/>
                    <a:pt x="418" y="121"/>
                    <a:pt x="416" y="121"/>
                  </a:cubicBezTo>
                  <a:cubicBezTo>
                    <a:pt x="415" y="121"/>
                    <a:pt x="406" y="120"/>
                    <a:pt x="404" y="119"/>
                  </a:cubicBezTo>
                  <a:cubicBezTo>
                    <a:pt x="402" y="119"/>
                    <a:pt x="396" y="117"/>
                    <a:pt x="395" y="118"/>
                  </a:cubicBezTo>
                  <a:cubicBezTo>
                    <a:pt x="395" y="120"/>
                    <a:pt x="395" y="123"/>
                    <a:pt x="396" y="123"/>
                  </a:cubicBezTo>
                  <a:cubicBezTo>
                    <a:pt x="398" y="124"/>
                    <a:pt x="401" y="124"/>
                    <a:pt x="402" y="126"/>
                  </a:cubicBezTo>
                  <a:cubicBezTo>
                    <a:pt x="402" y="127"/>
                    <a:pt x="406" y="128"/>
                    <a:pt x="406" y="129"/>
                  </a:cubicBezTo>
                  <a:cubicBezTo>
                    <a:pt x="406" y="130"/>
                    <a:pt x="405" y="133"/>
                    <a:pt x="407" y="134"/>
                  </a:cubicBezTo>
                  <a:cubicBezTo>
                    <a:pt x="408" y="136"/>
                    <a:pt x="409" y="138"/>
                    <a:pt x="409" y="140"/>
                  </a:cubicBezTo>
                  <a:cubicBezTo>
                    <a:pt x="409" y="142"/>
                    <a:pt x="410" y="145"/>
                    <a:pt x="408" y="145"/>
                  </a:cubicBezTo>
                  <a:cubicBezTo>
                    <a:pt x="406" y="145"/>
                    <a:pt x="400" y="142"/>
                    <a:pt x="399" y="144"/>
                  </a:cubicBezTo>
                  <a:cubicBezTo>
                    <a:pt x="399" y="146"/>
                    <a:pt x="398" y="148"/>
                    <a:pt x="400" y="149"/>
                  </a:cubicBezTo>
                  <a:cubicBezTo>
                    <a:pt x="402" y="150"/>
                    <a:pt x="404" y="153"/>
                    <a:pt x="406" y="153"/>
                  </a:cubicBezTo>
                  <a:cubicBezTo>
                    <a:pt x="408" y="153"/>
                    <a:pt x="411" y="152"/>
                    <a:pt x="413" y="153"/>
                  </a:cubicBezTo>
                  <a:cubicBezTo>
                    <a:pt x="415" y="154"/>
                    <a:pt x="416" y="156"/>
                    <a:pt x="415" y="157"/>
                  </a:cubicBezTo>
                  <a:cubicBezTo>
                    <a:pt x="414" y="158"/>
                    <a:pt x="408" y="161"/>
                    <a:pt x="406" y="161"/>
                  </a:cubicBezTo>
                  <a:cubicBezTo>
                    <a:pt x="404" y="161"/>
                    <a:pt x="397" y="161"/>
                    <a:pt x="396" y="162"/>
                  </a:cubicBezTo>
                  <a:cubicBezTo>
                    <a:pt x="395" y="164"/>
                    <a:pt x="403" y="165"/>
                    <a:pt x="402" y="166"/>
                  </a:cubicBezTo>
                  <a:cubicBezTo>
                    <a:pt x="402" y="167"/>
                    <a:pt x="402" y="171"/>
                    <a:pt x="401" y="172"/>
                  </a:cubicBezTo>
                  <a:cubicBezTo>
                    <a:pt x="399" y="172"/>
                    <a:pt x="388" y="174"/>
                    <a:pt x="387" y="174"/>
                  </a:cubicBezTo>
                  <a:cubicBezTo>
                    <a:pt x="386" y="174"/>
                    <a:pt x="374" y="167"/>
                    <a:pt x="372" y="167"/>
                  </a:cubicBezTo>
                  <a:cubicBezTo>
                    <a:pt x="370" y="166"/>
                    <a:pt x="366" y="169"/>
                    <a:pt x="366" y="171"/>
                  </a:cubicBezTo>
                  <a:cubicBezTo>
                    <a:pt x="366" y="173"/>
                    <a:pt x="365" y="175"/>
                    <a:pt x="368" y="175"/>
                  </a:cubicBezTo>
                  <a:cubicBezTo>
                    <a:pt x="370" y="175"/>
                    <a:pt x="379" y="177"/>
                    <a:pt x="381" y="177"/>
                  </a:cubicBezTo>
                  <a:cubicBezTo>
                    <a:pt x="382" y="178"/>
                    <a:pt x="386" y="178"/>
                    <a:pt x="388" y="179"/>
                  </a:cubicBezTo>
                  <a:cubicBezTo>
                    <a:pt x="389" y="181"/>
                    <a:pt x="389" y="182"/>
                    <a:pt x="389" y="183"/>
                  </a:cubicBezTo>
                  <a:cubicBezTo>
                    <a:pt x="389" y="184"/>
                    <a:pt x="390" y="189"/>
                    <a:pt x="389" y="190"/>
                  </a:cubicBezTo>
                  <a:cubicBezTo>
                    <a:pt x="388" y="190"/>
                    <a:pt x="374" y="186"/>
                    <a:pt x="373" y="184"/>
                  </a:cubicBezTo>
                  <a:cubicBezTo>
                    <a:pt x="371" y="182"/>
                    <a:pt x="370" y="180"/>
                    <a:pt x="369" y="181"/>
                  </a:cubicBezTo>
                  <a:cubicBezTo>
                    <a:pt x="367" y="181"/>
                    <a:pt x="361" y="179"/>
                    <a:pt x="361" y="180"/>
                  </a:cubicBezTo>
                  <a:cubicBezTo>
                    <a:pt x="360" y="181"/>
                    <a:pt x="360" y="182"/>
                    <a:pt x="362" y="183"/>
                  </a:cubicBezTo>
                  <a:cubicBezTo>
                    <a:pt x="363" y="184"/>
                    <a:pt x="368" y="186"/>
                    <a:pt x="369" y="187"/>
                  </a:cubicBezTo>
                  <a:cubicBezTo>
                    <a:pt x="370" y="188"/>
                    <a:pt x="372" y="190"/>
                    <a:pt x="374" y="191"/>
                  </a:cubicBezTo>
                  <a:cubicBezTo>
                    <a:pt x="377" y="192"/>
                    <a:pt x="385" y="195"/>
                    <a:pt x="386" y="195"/>
                  </a:cubicBezTo>
                  <a:cubicBezTo>
                    <a:pt x="387" y="196"/>
                    <a:pt x="391" y="198"/>
                    <a:pt x="391" y="200"/>
                  </a:cubicBezTo>
                  <a:cubicBezTo>
                    <a:pt x="391" y="201"/>
                    <a:pt x="394" y="213"/>
                    <a:pt x="391" y="213"/>
                  </a:cubicBezTo>
                  <a:cubicBezTo>
                    <a:pt x="388" y="214"/>
                    <a:pt x="379" y="214"/>
                    <a:pt x="376" y="212"/>
                  </a:cubicBezTo>
                  <a:cubicBezTo>
                    <a:pt x="373" y="209"/>
                    <a:pt x="373" y="204"/>
                    <a:pt x="370" y="202"/>
                  </a:cubicBezTo>
                  <a:cubicBezTo>
                    <a:pt x="367" y="200"/>
                    <a:pt x="364" y="200"/>
                    <a:pt x="362" y="200"/>
                  </a:cubicBezTo>
                  <a:cubicBezTo>
                    <a:pt x="361" y="199"/>
                    <a:pt x="363" y="203"/>
                    <a:pt x="362" y="204"/>
                  </a:cubicBezTo>
                  <a:cubicBezTo>
                    <a:pt x="361" y="205"/>
                    <a:pt x="364" y="209"/>
                    <a:pt x="363" y="210"/>
                  </a:cubicBezTo>
                  <a:cubicBezTo>
                    <a:pt x="362" y="210"/>
                    <a:pt x="352" y="215"/>
                    <a:pt x="353" y="216"/>
                  </a:cubicBezTo>
                  <a:cubicBezTo>
                    <a:pt x="354" y="218"/>
                    <a:pt x="362" y="215"/>
                    <a:pt x="364" y="216"/>
                  </a:cubicBezTo>
                  <a:cubicBezTo>
                    <a:pt x="366" y="217"/>
                    <a:pt x="380" y="220"/>
                    <a:pt x="382" y="220"/>
                  </a:cubicBezTo>
                  <a:cubicBezTo>
                    <a:pt x="384" y="220"/>
                    <a:pt x="387" y="219"/>
                    <a:pt x="387" y="220"/>
                  </a:cubicBezTo>
                  <a:cubicBezTo>
                    <a:pt x="388" y="220"/>
                    <a:pt x="373" y="229"/>
                    <a:pt x="370" y="230"/>
                  </a:cubicBezTo>
                  <a:cubicBezTo>
                    <a:pt x="367" y="232"/>
                    <a:pt x="357" y="239"/>
                    <a:pt x="355" y="239"/>
                  </a:cubicBezTo>
                  <a:cubicBezTo>
                    <a:pt x="353" y="239"/>
                    <a:pt x="339" y="243"/>
                    <a:pt x="336" y="244"/>
                  </a:cubicBezTo>
                  <a:cubicBezTo>
                    <a:pt x="332" y="245"/>
                    <a:pt x="326" y="247"/>
                    <a:pt x="322" y="247"/>
                  </a:cubicBezTo>
                  <a:cubicBezTo>
                    <a:pt x="319" y="247"/>
                    <a:pt x="314" y="242"/>
                    <a:pt x="312" y="242"/>
                  </a:cubicBezTo>
                  <a:cubicBezTo>
                    <a:pt x="310" y="243"/>
                    <a:pt x="313" y="250"/>
                    <a:pt x="311" y="250"/>
                  </a:cubicBezTo>
                  <a:cubicBezTo>
                    <a:pt x="309" y="250"/>
                    <a:pt x="305" y="252"/>
                    <a:pt x="303" y="254"/>
                  </a:cubicBezTo>
                  <a:cubicBezTo>
                    <a:pt x="301" y="257"/>
                    <a:pt x="299" y="262"/>
                    <a:pt x="297" y="264"/>
                  </a:cubicBezTo>
                  <a:cubicBezTo>
                    <a:pt x="294" y="266"/>
                    <a:pt x="283" y="275"/>
                    <a:pt x="280" y="275"/>
                  </a:cubicBezTo>
                  <a:cubicBezTo>
                    <a:pt x="278" y="276"/>
                    <a:pt x="274" y="279"/>
                    <a:pt x="271" y="278"/>
                  </a:cubicBezTo>
                  <a:cubicBezTo>
                    <a:pt x="268" y="278"/>
                    <a:pt x="267" y="277"/>
                    <a:pt x="264" y="277"/>
                  </a:cubicBezTo>
                  <a:cubicBezTo>
                    <a:pt x="261" y="278"/>
                    <a:pt x="254" y="276"/>
                    <a:pt x="253" y="278"/>
                  </a:cubicBezTo>
                  <a:cubicBezTo>
                    <a:pt x="252" y="279"/>
                    <a:pt x="256" y="284"/>
                    <a:pt x="254" y="285"/>
                  </a:cubicBezTo>
                  <a:cubicBezTo>
                    <a:pt x="251" y="286"/>
                    <a:pt x="247" y="284"/>
                    <a:pt x="246" y="286"/>
                  </a:cubicBezTo>
                  <a:cubicBezTo>
                    <a:pt x="245" y="288"/>
                    <a:pt x="250" y="294"/>
                    <a:pt x="249" y="295"/>
                  </a:cubicBezTo>
                  <a:cubicBezTo>
                    <a:pt x="248" y="297"/>
                    <a:pt x="247" y="301"/>
                    <a:pt x="246" y="303"/>
                  </a:cubicBezTo>
                  <a:cubicBezTo>
                    <a:pt x="245" y="305"/>
                    <a:pt x="237" y="311"/>
                    <a:pt x="236" y="314"/>
                  </a:cubicBezTo>
                  <a:cubicBezTo>
                    <a:pt x="235" y="316"/>
                    <a:pt x="237" y="322"/>
                    <a:pt x="235" y="324"/>
                  </a:cubicBezTo>
                  <a:cubicBezTo>
                    <a:pt x="234" y="325"/>
                    <a:pt x="230" y="347"/>
                    <a:pt x="224" y="346"/>
                  </a:cubicBezTo>
                  <a:cubicBezTo>
                    <a:pt x="217" y="346"/>
                    <a:pt x="217" y="346"/>
                    <a:pt x="213" y="344"/>
                  </a:cubicBezTo>
                  <a:cubicBezTo>
                    <a:pt x="210" y="342"/>
                    <a:pt x="208" y="337"/>
                    <a:pt x="204" y="337"/>
                  </a:cubicBezTo>
                  <a:cubicBezTo>
                    <a:pt x="201" y="337"/>
                    <a:pt x="192" y="338"/>
                    <a:pt x="191" y="337"/>
                  </a:cubicBezTo>
                  <a:cubicBezTo>
                    <a:pt x="189" y="336"/>
                    <a:pt x="178" y="322"/>
                    <a:pt x="177" y="321"/>
                  </a:cubicBezTo>
                  <a:cubicBezTo>
                    <a:pt x="177" y="320"/>
                    <a:pt x="174" y="320"/>
                    <a:pt x="173" y="317"/>
                  </a:cubicBezTo>
                  <a:cubicBezTo>
                    <a:pt x="172" y="314"/>
                    <a:pt x="171" y="312"/>
                    <a:pt x="170" y="310"/>
                  </a:cubicBezTo>
                  <a:cubicBezTo>
                    <a:pt x="168" y="308"/>
                    <a:pt x="165" y="305"/>
                    <a:pt x="163" y="302"/>
                  </a:cubicBezTo>
                  <a:cubicBezTo>
                    <a:pt x="162" y="300"/>
                    <a:pt x="162" y="299"/>
                    <a:pt x="160" y="297"/>
                  </a:cubicBezTo>
                  <a:cubicBezTo>
                    <a:pt x="157" y="295"/>
                    <a:pt x="158" y="291"/>
                    <a:pt x="158" y="288"/>
                  </a:cubicBezTo>
                  <a:cubicBezTo>
                    <a:pt x="158" y="286"/>
                    <a:pt x="157" y="284"/>
                    <a:pt x="154" y="281"/>
                  </a:cubicBezTo>
                  <a:cubicBezTo>
                    <a:pt x="152" y="278"/>
                    <a:pt x="151" y="280"/>
                    <a:pt x="150" y="278"/>
                  </a:cubicBezTo>
                  <a:cubicBezTo>
                    <a:pt x="148" y="275"/>
                    <a:pt x="146" y="271"/>
                    <a:pt x="146" y="269"/>
                  </a:cubicBezTo>
                  <a:cubicBezTo>
                    <a:pt x="146" y="267"/>
                    <a:pt x="149" y="266"/>
                    <a:pt x="148" y="264"/>
                  </a:cubicBezTo>
                  <a:cubicBezTo>
                    <a:pt x="148" y="261"/>
                    <a:pt x="145" y="259"/>
                    <a:pt x="145" y="257"/>
                  </a:cubicBezTo>
                  <a:cubicBezTo>
                    <a:pt x="146" y="255"/>
                    <a:pt x="147" y="250"/>
                    <a:pt x="147" y="249"/>
                  </a:cubicBezTo>
                  <a:cubicBezTo>
                    <a:pt x="147" y="248"/>
                    <a:pt x="146" y="242"/>
                    <a:pt x="149" y="240"/>
                  </a:cubicBezTo>
                  <a:cubicBezTo>
                    <a:pt x="151" y="238"/>
                    <a:pt x="153" y="236"/>
                    <a:pt x="155" y="236"/>
                  </a:cubicBezTo>
                  <a:cubicBezTo>
                    <a:pt x="158" y="237"/>
                    <a:pt x="160" y="237"/>
                    <a:pt x="160" y="238"/>
                  </a:cubicBezTo>
                  <a:cubicBezTo>
                    <a:pt x="160" y="239"/>
                    <a:pt x="155" y="243"/>
                    <a:pt x="157" y="244"/>
                  </a:cubicBezTo>
                  <a:cubicBezTo>
                    <a:pt x="159" y="245"/>
                    <a:pt x="166" y="244"/>
                    <a:pt x="167" y="242"/>
                  </a:cubicBezTo>
                  <a:cubicBezTo>
                    <a:pt x="168" y="241"/>
                    <a:pt x="166" y="236"/>
                    <a:pt x="167" y="234"/>
                  </a:cubicBezTo>
                  <a:cubicBezTo>
                    <a:pt x="169" y="232"/>
                    <a:pt x="169" y="228"/>
                    <a:pt x="169" y="226"/>
                  </a:cubicBezTo>
                  <a:cubicBezTo>
                    <a:pt x="169" y="223"/>
                    <a:pt x="172" y="220"/>
                    <a:pt x="169" y="220"/>
                  </a:cubicBezTo>
                  <a:cubicBezTo>
                    <a:pt x="167" y="219"/>
                    <a:pt x="160" y="219"/>
                    <a:pt x="158" y="219"/>
                  </a:cubicBezTo>
                  <a:cubicBezTo>
                    <a:pt x="156" y="218"/>
                    <a:pt x="155" y="217"/>
                    <a:pt x="152" y="216"/>
                  </a:cubicBezTo>
                  <a:cubicBezTo>
                    <a:pt x="149" y="214"/>
                    <a:pt x="147" y="214"/>
                    <a:pt x="146" y="214"/>
                  </a:cubicBezTo>
                  <a:cubicBezTo>
                    <a:pt x="144" y="213"/>
                    <a:pt x="141" y="212"/>
                    <a:pt x="140" y="210"/>
                  </a:cubicBezTo>
                  <a:cubicBezTo>
                    <a:pt x="139" y="208"/>
                    <a:pt x="143" y="208"/>
                    <a:pt x="144" y="208"/>
                  </a:cubicBezTo>
                  <a:cubicBezTo>
                    <a:pt x="145" y="208"/>
                    <a:pt x="151" y="209"/>
                    <a:pt x="152" y="209"/>
                  </a:cubicBezTo>
                  <a:cubicBezTo>
                    <a:pt x="154" y="209"/>
                    <a:pt x="160" y="212"/>
                    <a:pt x="161" y="212"/>
                  </a:cubicBezTo>
                  <a:cubicBezTo>
                    <a:pt x="163" y="213"/>
                    <a:pt x="167" y="214"/>
                    <a:pt x="168" y="214"/>
                  </a:cubicBezTo>
                  <a:cubicBezTo>
                    <a:pt x="168" y="214"/>
                    <a:pt x="167" y="211"/>
                    <a:pt x="165" y="208"/>
                  </a:cubicBezTo>
                  <a:cubicBezTo>
                    <a:pt x="162" y="205"/>
                    <a:pt x="158" y="202"/>
                    <a:pt x="157" y="203"/>
                  </a:cubicBezTo>
                  <a:cubicBezTo>
                    <a:pt x="155" y="203"/>
                    <a:pt x="151" y="202"/>
                    <a:pt x="151" y="201"/>
                  </a:cubicBezTo>
                  <a:cubicBezTo>
                    <a:pt x="152" y="200"/>
                    <a:pt x="154" y="196"/>
                    <a:pt x="151" y="195"/>
                  </a:cubicBezTo>
                  <a:cubicBezTo>
                    <a:pt x="149" y="194"/>
                    <a:pt x="148" y="194"/>
                    <a:pt x="147" y="194"/>
                  </a:cubicBezTo>
                  <a:cubicBezTo>
                    <a:pt x="145" y="194"/>
                    <a:pt x="146" y="198"/>
                    <a:pt x="145" y="198"/>
                  </a:cubicBezTo>
                  <a:cubicBezTo>
                    <a:pt x="144" y="199"/>
                    <a:pt x="141" y="201"/>
                    <a:pt x="138" y="201"/>
                  </a:cubicBezTo>
                  <a:cubicBezTo>
                    <a:pt x="134" y="201"/>
                    <a:pt x="132" y="200"/>
                    <a:pt x="131" y="197"/>
                  </a:cubicBezTo>
                  <a:cubicBezTo>
                    <a:pt x="130" y="194"/>
                    <a:pt x="132" y="192"/>
                    <a:pt x="132" y="189"/>
                  </a:cubicBezTo>
                  <a:cubicBezTo>
                    <a:pt x="132" y="189"/>
                    <a:pt x="132" y="183"/>
                    <a:pt x="132" y="180"/>
                  </a:cubicBezTo>
                  <a:cubicBezTo>
                    <a:pt x="131" y="178"/>
                    <a:pt x="128" y="172"/>
                    <a:pt x="128" y="170"/>
                  </a:cubicBezTo>
                  <a:cubicBezTo>
                    <a:pt x="127" y="169"/>
                    <a:pt x="124" y="166"/>
                    <a:pt x="124" y="163"/>
                  </a:cubicBezTo>
                  <a:cubicBezTo>
                    <a:pt x="124" y="161"/>
                    <a:pt x="124" y="157"/>
                    <a:pt x="123" y="155"/>
                  </a:cubicBezTo>
                  <a:cubicBezTo>
                    <a:pt x="122" y="153"/>
                    <a:pt x="121" y="150"/>
                    <a:pt x="118" y="150"/>
                  </a:cubicBezTo>
                  <a:cubicBezTo>
                    <a:pt x="114" y="149"/>
                    <a:pt x="110" y="147"/>
                    <a:pt x="110" y="146"/>
                  </a:cubicBezTo>
                  <a:cubicBezTo>
                    <a:pt x="110" y="144"/>
                    <a:pt x="111" y="140"/>
                    <a:pt x="109" y="139"/>
                  </a:cubicBezTo>
                  <a:cubicBezTo>
                    <a:pt x="108" y="138"/>
                    <a:pt x="103" y="137"/>
                    <a:pt x="101" y="136"/>
                  </a:cubicBezTo>
                  <a:cubicBezTo>
                    <a:pt x="100" y="136"/>
                    <a:pt x="94" y="133"/>
                    <a:pt x="92" y="132"/>
                  </a:cubicBezTo>
                  <a:cubicBezTo>
                    <a:pt x="90" y="131"/>
                    <a:pt x="84" y="130"/>
                    <a:pt x="83" y="130"/>
                  </a:cubicBezTo>
                  <a:cubicBezTo>
                    <a:pt x="82" y="130"/>
                    <a:pt x="74" y="127"/>
                    <a:pt x="74" y="128"/>
                  </a:cubicBezTo>
                  <a:cubicBezTo>
                    <a:pt x="73" y="129"/>
                    <a:pt x="72" y="133"/>
                    <a:pt x="68" y="132"/>
                  </a:cubicBezTo>
                  <a:cubicBezTo>
                    <a:pt x="64" y="131"/>
                    <a:pt x="63" y="129"/>
                    <a:pt x="61" y="130"/>
                  </a:cubicBezTo>
                  <a:cubicBezTo>
                    <a:pt x="59" y="131"/>
                    <a:pt x="56" y="133"/>
                    <a:pt x="54" y="133"/>
                  </a:cubicBezTo>
                  <a:cubicBezTo>
                    <a:pt x="52" y="132"/>
                    <a:pt x="50" y="137"/>
                    <a:pt x="48" y="136"/>
                  </a:cubicBezTo>
                  <a:cubicBezTo>
                    <a:pt x="45" y="135"/>
                    <a:pt x="33" y="133"/>
                    <a:pt x="30" y="131"/>
                  </a:cubicBezTo>
                  <a:cubicBezTo>
                    <a:pt x="27" y="129"/>
                    <a:pt x="24" y="127"/>
                    <a:pt x="24" y="126"/>
                  </a:cubicBezTo>
                  <a:cubicBezTo>
                    <a:pt x="25" y="126"/>
                    <a:pt x="31" y="124"/>
                    <a:pt x="31" y="123"/>
                  </a:cubicBezTo>
                  <a:cubicBezTo>
                    <a:pt x="31" y="122"/>
                    <a:pt x="26" y="120"/>
                    <a:pt x="24" y="12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94" name="Freeform 203"/>
            <p:cNvSpPr>
              <a:spLocks/>
            </p:cNvSpPr>
            <p:nvPr/>
          </p:nvSpPr>
          <p:spPr bwMode="auto">
            <a:xfrm>
              <a:off x="4114987" y="4560743"/>
              <a:ext cx="838425" cy="820280"/>
            </a:xfrm>
            <a:custGeom>
              <a:avLst/>
              <a:gdLst>
                <a:gd name="T0" fmla="*/ 23242 w 301"/>
                <a:gd name="T1" fmla="*/ 32292 h 312"/>
                <a:gd name="T2" fmla="*/ 25140 w 301"/>
                <a:gd name="T3" fmla="*/ 26252 h 312"/>
                <a:gd name="T4" fmla="*/ 41594 w 301"/>
                <a:gd name="T5" fmla="*/ 22692 h 312"/>
                <a:gd name="T6" fmla="*/ 101733 w 301"/>
                <a:gd name="T7" fmla="*/ 20707 h 312"/>
                <a:gd name="T8" fmla="*/ 96794 w 301"/>
                <a:gd name="T9" fmla="*/ 12566 h 312"/>
                <a:gd name="T10" fmla="*/ 144620 w 301"/>
                <a:gd name="T11" fmla="*/ 8534 h 312"/>
                <a:gd name="T12" fmla="*/ 169070 w 301"/>
                <a:gd name="T13" fmla="*/ 8534 h 312"/>
                <a:gd name="T14" fmla="*/ 249898 w 301"/>
                <a:gd name="T15" fmla="*/ 7937 h 312"/>
                <a:gd name="T16" fmla="*/ 223529 w 301"/>
                <a:gd name="T17" fmla="*/ 2754 h 312"/>
                <a:gd name="T18" fmla="*/ 318156 w 301"/>
                <a:gd name="T19" fmla="*/ 1935 h 312"/>
                <a:gd name="T20" fmla="*/ 334125 w 301"/>
                <a:gd name="T21" fmla="*/ 1 h 312"/>
                <a:gd name="T22" fmla="*/ 350096 w 301"/>
                <a:gd name="T23" fmla="*/ 3748 h 312"/>
                <a:gd name="T24" fmla="*/ 361803 w 301"/>
                <a:gd name="T25" fmla="*/ 9310 h 312"/>
                <a:gd name="T26" fmla="*/ 415686 w 301"/>
                <a:gd name="T27" fmla="*/ 7937 h 312"/>
                <a:gd name="T28" fmla="*/ 438366 w 301"/>
                <a:gd name="T29" fmla="*/ 7937 h 312"/>
                <a:gd name="T30" fmla="*/ 471211 w 301"/>
                <a:gd name="T31" fmla="*/ 7185 h 312"/>
                <a:gd name="T32" fmla="*/ 510400 w 301"/>
                <a:gd name="T33" fmla="*/ 7591 h 312"/>
                <a:gd name="T34" fmla="*/ 544984 w 301"/>
                <a:gd name="T35" fmla="*/ 2754 h 312"/>
                <a:gd name="T36" fmla="*/ 564471 w 301"/>
                <a:gd name="T37" fmla="*/ 6542 h 312"/>
                <a:gd name="T38" fmla="*/ 559385 w 301"/>
                <a:gd name="T39" fmla="*/ 11597 h 312"/>
                <a:gd name="T40" fmla="*/ 608285 w 301"/>
                <a:gd name="T41" fmla="*/ 12145 h 312"/>
                <a:gd name="T42" fmla="*/ 636851 w 301"/>
                <a:gd name="T43" fmla="*/ 12963 h 312"/>
                <a:gd name="T44" fmla="*/ 708373 w 301"/>
                <a:gd name="T45" fmla="*/ 15509 h 312"/>
                <a:gd name="T46" fmla="*/ 725270 w 301"/>
                <a:gd name="T47" fmla="*/ 17438 h 312"/>
                <a:gd name="T48" fmla="*/ 798370 w 301"/>
                <a:gd name="T49" fmla="*/ 18126 h 312"/>
                <a:gd name="T50" fmla="*/ 890161 w 301"/>
                <a:gd name="T51" fmla="*/ 22692 h 312"/>
                <a:gd name="T52" fmla="*/ 948673 w 301"/>
                <a:gd name="T53" fmla="*/ 28745 h 312"/>
                <a:gd name="T54" fmla="*/ 891556 w 301"/>
                <a:gd name="T55" fmla="*/ 35990 h 312"/>
                <a:gd name="T56" fmla="*/ 844449 w 301"/>
                <a:gd name="T57" fmla="*/ 40906 h 312"/>
                <a:gd name="T58" fmla="*/ 841367 w 301"/>
                <a:gd name="T59" fmla="*/ 48942 h 312"/>
                <a:gd name="T60" fmla="*/ 824867 w 301"/>
                <a:gd name="T61" fmla="*/ 52160 h 312"/>
                <a:gd name="T62" fmla="*/ 800448 w 301"/>
                <a:gd name="T63" fmla="*/ 59115 h 312"/>
                <a:gd name="T64" fmla="*/ 756359 w 301"/>
                <a:gd name="T65" fmla="*/ 62806 h 312"/>
                <a:gd name="T66" fmla="*/ 661281 w 301"/>
                <a:gd name="T67" fmla="*/ 65396 h 312"/>
                <a:gd name="T68" fmla="*/ 614555 w 301"/>
                <a:gd name="T69" fmla="*/ 71403 h 312"/>
                <a:gd name="T70" fmla="*/ 596427 w 301"/>
                <a:gd name="T71" fmla="*/ 76322 h 312"/>
                <a:gd name="T72" fmla="*/ 543599 w 301"/>
                <a:gd name="T73" fmla="*/ 82840 h 312"/>
                <a:gd name="T74" fmla="*/ 500872 w 301"/>
                <a:gd name="T75" fmla="*/ 88222 h 312"/>
                <a:gd name="T76" fmla="*/ 500872 w 301"/>
                <a:gd name="T77" fmla="*/ 85119 h 312"/>
                <a:gd name="T78" fmla="*/ 432779 w 301"/>
                <a:gd name="T79" fmla="*/ 81470 h 312"/>
                <a:gd name="T80" fmla="*/ 405082 w 301"/>
                <a:gd name="T81" fmla="*/ 78841 h 312"/>
                <a:gd name="T82" fmla="*/ 485937 w 301"/>
                <a:gd name="T83" fmla="*/ 72383 h 312"/>
                <a:gd name="T84" fmla="*/ 485937 w 301"/>
                <a:gd name="T85" fmla="*/ 68698 h 312"/>
                <a:gd name="T86" fmla="*/ 471967 w 301"/>
                <a:gd name="T87" fmla="*/ 64727 h 312"/>
                <a:gd name="T88" fmla="*/ 442130 w 301"/>
                <a:gd name="T89" fmla="*/ 61451 h 312"/>
                <a:gd name="T90" fmla="*/ 390315 w 301"/>
                <a:gd name="T91" fmla="*/ 60149 h 312"/>
                <a:gd name="T92" fmla="*/ 395872 w 301"/>
                <a:gd name="T93" fmla="*/ 52160 h 312"/>
                <a:gd name="T94" fmla="*/ 378697 w 301"/>
                <a:gd name="T95" fmla="*/ 47906 h 312"/>
                <a:gd name="T96" fmla="*/ 331531 w 301"/>
                <a:gd name="T97" fmla="*/ 42893 h 312"/>
                <a:gd name="T98" fmla="*/ 293709 w 301"/>
                <a:gd name="T99" fmla="*/ 41540 h 312"/>
                <a:gd name="T100" fmla="*/ 226828 w 301"/>
                <a:gd name="T101" fmla="*/ 38590 h 312"/>
                <a:gd name="T102" fmla="*/ 211604 w 301"/>
                <a:gd name="T103" fmla="*/ 33249 h 312"/>
                <a:gd name="T104" fmla="*/ 131695 w 301"/>
                <a:gd name="T105" fmla="*/ 35990 h 312"/>
                <a:gd name="T106" fmla="*/ 110596 w 301"/>
                <a:gd name="T107" fmla="*/ 35990 h 312"/>
                <a:gd name="T108" fmla="*/ 81660 w 301"/>
                <a:gd name="T109" fmla="*/ 32292 h 31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301" h="312">
                  <a:moveTo>
                    <a:pt x="16" y="119"/>
                  </a:moveTo>
                  <a:cubicBezTo>
                    <a:pt x="13" y="118"/>
                    <a:pt x="9" y="116"/>
                    <a:pt x="7" y="114"/>
                  </a:cubicBezTo>
                  <a:cubicBezTo>
                    <a:pt x="6" y="111"/>
                    <a:pt x="0" y="102"/>
                    <a:pt x="2" y="98"/>
                  </a:cubicBezTo>
                  <a:cubicBezTo>
                    <a:pt x="4" y="95"/>
                    <a:pt x="7" y="95"/>
                    <a:pt x="8" y="93"/>
                  </a:cubicBezTo>
                  <a:cubicBezTo>
                    <a:pt x="9" y="91"/>
                    <a:pt x="5" y="88"/>
                    <a:pt x="6" y="87"/>
                  </a:cubicBezTo>
                  <a:cubicBezTo>
                    <a:pt x="7" y="85"/>
                    <a:pt x="10" y="81"/>
                    <a:pt x="13" y="80"/>
                  </a:cubicBezTo>
                  <a:cubicBezTo>
                    <a:pt x="16" y="78"/>
                    <a:pt x="29" y="76"/>
                    <a:pt x="30" y="76"/>
                  </a:cubicBezTo>
                  <a:cubicBezTo>
                    <a:pt x="31" y="76"/>
                    <a:pt x="31" y="74"/>
                    <a:pt x="32" y="73"/>
                  </a:cubicBezTo>
                  <a:cubicBezTo>
                    <a:pt x="34" y="68"/>
                    <a:pt x="36" y="57"/>
                    <a:pt x="37" y="55"/>
                  </a:cubicBezTo>
                  <a:cubicBezTo>
                    <a:pt x="37" y="52"/>
                    <a:pt x="33" y="46"/>
                    <a:pt x="31" y="44"/>
                  </a:cubicBezTo>
                  <a:cubicBezTo>
                    <a:pt x="30" y="42"/>
                    <a:pt x="32" y="32"/>
                    <a:pt x="33" y="31"/>
                  </a:cubicBezTo>
                  <a:cubicBezTo>
                    <a:pt x="34" y="29"/>
                    <a:pt x="44" y="30"/>
                    <a:pt x="46" y="3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7"/>
                    <a:pt x="54" y="29"/>
                    <a:pt x="54" y="30"/>
                  </a:cubicBezTo>
                  <a:cubicBezTo>
                    <a:pt x="54" y="31"/>
                    <a:pt x="59" y="37"/>
                    <a:pt x="61" y="37"/>
                  </a:cubicBezTo>
                  <a:cubicBezTo>
                    <a:pt x="62" y="37"/>
                    <a:pt x="77" y="29"/>
                    <a:pt x="79" y="28"/>
                  </a:cubicBezTo>
                  <a:cubicBezTo>
                    <a:pt x="82" y="26"/>
                    <a:pt x="77" y="23"/>
                    <a:pt x="76" y="21"/>
                  </a:cubicBezTo>
                  <a:cubicBezTo>
                    <a:pt x="75" y="20"/>
                    <a:pt x="70" y="12"/>
                    <a:pt x="71" y="10"/>
                  </a:cubicBezTo>
                  <a:cubicBezTo>
                    <a:pt x="71" y="9"/>
                    <a:pt x="84" y="13"/>
                    <a:pt x="86" y="13"/>
                  </a:cubicBezTo>
                  <a:cubicBezTo>
                    <a:pt x="86" y="13"/>
                    <a:pt x="100" y="8"/>
                    <a:pt x="101" y="7"/>
                  </a:cubicBezTo>
                  <a:cubicBezTo>
                    <a:pt x="102" y="6"/>
                    <a:pt x="102" y="5"/>
                    <a:pt x="101" y="3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7" y="0"/>
                    <a:pt x="108" y="2"/>
                    <a:pt x="108" y="4"/>
                  </a:cubicBezTo>
                  <a:cubicBezTo>
                    <a:pt x="109" y="5"/>
                    <a:pt x="112" y="12"/>
                    <a:pt x="111" y="13"/>
                  </a:cubicBezTo>
                  <a:cubicBezTo>
                    <a:pt x="110" y="14"/>
                    <a:pt x="107" y="21"/>
                    <a:pt x="108" y="22"/>
                  </a:cubicBezTo>
                  <a:cubicBezTo>
                    <a:pt x="108" y="24"/>
                    <a:pt x="113" y="33"/>
                    <a:pt x="115" y="33"/>
                  </a:cubicBezTo>
                  <a:cubicBezTo>
                    <a:pt x="117" y="33"/>
                    <a:pt x="122" y="31"/>
                    <a:pt x="123" y="30"/>
                  </a:cubicBezTo>
                  <a:cubicBezTo>
                    <a:pt x="124" y="30"/>
                    <a:pt x="129" y="28"/>
                    <a:pt x="132" y="28"/>
                  </a:cubicBezTo>
                  <a:cubicBezTo>
                    <a:pt x="132" y="28"/>
                    <a:pt x="133" y="28"/>
                    <a:pt x="133" y="28"/>
                  </a:cubicBezTo>
                  <a:cubicBezTo>
                    <a:pt x="135" y="28"/>
                    <a:pt x="138" y="28"/>
                    <a:pt x="139" y="28"/>
                  </a:cubicBezTo>
                  <a:cubicBezTo>
                    <a:pt x="140" y="28"/>
                    <a:pt x="138" y="23"/>
                    <a:pt x="140" y="23"/>
                  </a:cubicBezTo>
                  <a:cubicBezTo>
                    <a:pt x="142" y="23"/>
                    <a:pt x="148" y="24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3" y="26"/>
                    <a:pt x="161" y="27"/>
                    <a:pt x="162" y="27"/>
                  </a:cubicBezTo>
                  <a:cubicBezTo>
                    <a:pt x="163" y="26"/>
                    <a:pt x="168" y="19"/>
                    <a:pt x="168" y="18"/>
                  </a:cubicBezTo>
                  <a:cubicBezTo>
                    <a:pt x="173" y="10"/>
                    <a:pt x="173" y="10"/>
                    <a:pt x="173" y="10"/>
                  </a:cubicBezTo>
                  <a:cubicBezTo>
                    <a:pt x="173" y="10"/>
                    <a:pt x="173" y="10"/>
                    <a:pt x="174" y="11"/>
                  </a:cubicBezTo>
                  <a:cubicBezTo>
                    <a:pt x="177" y="15"/>
                    <a:pt x="178" y="17"/>
                    <a:pt x="179" y="23"/>
                  </a:cubicBezTo>
                  <a:cubicBezTo>
                    <a:pt x="180" y="29"/>
                    <a:pt x="183" y="28"/>
                    <a:pt x="185" y="31"/>
                  </a:cubicBezTo>
                  <a:cubicBezTo>
                    <a:pt x="187" y="33"/>
                    <a:pt x="176" y="41"/>
                    <a:pt x="178" y="41"/>
                  </a:cubicBezTo>
                  <a:cubicBezTo>
                    <a:pt x="179" y="41"/>
                    <a:pt x="182" y="42"/>
                    <a:pt x="184" y="42"/>
                  </a:cubicBezTo>
                  <a:cubicBezTo>
                    <a:pt x="186" y="42"/>
                    <a:pt x="191" y="42"/>
                    <a:pt x="193" y="43"/>
                  </a:cubicBezTo>
                  <a:cubicBezTo>
                    <a:pt x="196" y="44"/>
                    <a:pt x="194" y="52"/>
                    <a:pt x="196" y="51"/>
                  </a:cubicBezTo>
                  <a:cubicBezTo>
                    <a:pt x="197" y="50"/>
                    <a:pt x="199" y="47"/>
                    <a:pt x="202" y="46"/>
                  </a:cubicBezTo>
                  <a:cubicBezTo>
                    <a:pt x="205" y="46"/>
                    <a:pt x="211" y="49"/>
                    <a:pt x="215" y="51"/>
                  </a:cubicBezTo>
                  <a:cubicBezTo>
                    <a:pt x="219" y="52"/>
                    <a:pt x="223" y="52"/>
                    <a:pt x="225" y="55"/>
                  </a:cubicBezTo>
                  <a:cubicBezTo>
                    <a:pt x="226" y="59"/>
                    <a:pt x="225" y="63"/>
                    <a:pt x="226" y="64"/>
                  </a:cubicBezTo>
                  <a:cubicBezTo>
                    <a:pt x="227" y="65"/>
                    <a:pt x="228" y="63"/>
                    <a:pt x="230" y="62"/>
                  </a:cubicBezTo>
                  <a:cubicBezTo>
                    <a:pt x="233" y="62"/>
                    <a:pt x="235" y="60"/>
                    <a:pt x="238" y="62"/>
                  </a:cubicBezTo>
                  <a:cubicBezTo>
                    <a:pt x="241" y="65"/>
                    <a:pt x="248" y="64"/>
                    <a:pt x="253" y="64"/>
                  </a:cubicBezTo>
                  <a:cubicBezTo>
                    <a:pt x="259" y="64"/>
                    <a:pt x="260" y="63"/>
                    <a:pt x="266" y="67"/>
                  </a:cubicBezTo>
                  <a:cubicBezTo>
                    <a:pt x="272" y="70"/>
                    <a:pt x="278" y="77"/>
                    <a:pt x="282" y="80"/>
                  </a:cubicBezTo>
                  <a:cubicBezTo>
                    <a:pt x="286" y="83"/>
                    <a:pt x="293" y="79"/>
                    <a:pt x="296" y="82"/>
                  </a:cubicBezTo>
                  <a:cubicBezTo>
                    <a:pt x="298" y="86"/>
                    <a:pt x="300" y="93"/>
                    <a:pt x="301" y="102"/>
                  </a:cubicBezTo>
                  <a:cubicBezTo>
                    <a:pt x="301" y="111"/>
                    <a:pt x="292" y="120"/>
                    <a:pt x="290" y="122"/>
                  </a:cubicBezTo>
                  <a:cubicBezTo>
                    <a:pt x="288" y="124"/>
                    <a:pt x="285" y="124"/>
                    <a:pt x="283" y="127"/>
                  </a:cubicBezTo>
                  <a:cubicBezTo>
                    <a:pt x="282" y="129"/>
                    <a:pt x="275" y="141"/>
                    <a:pt x="274" y="142"/>
                  </a:cubicBezTo>
                  <a:cubicBezTo>
                    <a:pt x="273" y="144"/>
                    <a:pt x="269" y="144"/>
                    <a:pt x="268" y="145"/>
                  </a:cubicBezTo>
                  <a:cubicBezTo>
                    <a:pt x="267" y="147"/>
                    <a:pt x="268" y="159"/>
                    <a:pt x="268" y="163"/>
                  </a:cubicBezTo>
                  <a:cubicBezTo>
                    <a:pt x="269" y="166"/>
                    <a:pt x="267" y="169"/>
                    <a:pt x="267" y="173"/>
                  </a:cubicBezTo>
                  <a:cubicBezTo>
                    <a:pt x="267" y="176"/>
                    <a:pt x="268" y="178"/>
                    <a:pt x="267" y="179"/>
                  </a:cubicBezTo>
                  <a:cubicBezTo>
                    <a:pt x="266" y="180"/>
                    <a:pt x="264" y="181"/>
                    <a:pt x="262" y="184"/>
                  </a:cubicBezTo>
                  <a:cubicBezTo>
                    <a:pt x="260" y="187"/>
                    <a:pt x="263" y="191"/>
                    <a:pt x="263" y="194"/>
                  </a:cubicBezTo>
                  <a:cubicBezTo>
                    <a:pt x="262" y="196"/>
                    <a:pt x="255" y="206"/>
                    <a:pt x="254" y="209"/>
                  </a:cubicBezTo>
                  <a:cubicBezTo>
                    <a:pt x="252" y="211"/>
                    <a:pt x="247" y="222"/>
                    <a:pt x="246" y="222"/>
                  </a:cubicBezTo>
                  <a:cubicBezTo>
                    <a:pt x="245" y="221"/>
                    <a:pt x="242" y="222"/>
                    <a:pt x="240" y="222"/>
                  </a:cubicBezTo>
                  <a:cubicBezTo>
                    <a:pt x="238" y="222"/>
                    <a:pt x="231" y="223"/>
                    <a:pt x="227" y="224"/>
                  </a:cubicBezTo>
                  <a:cubicBezTo>
                    <a:pt x="224" y="224"/>
                    <a:pt x="211" y="230"/>
                    <a:pt x="210" y="231"/>
                  </a:cubicBezTo>
                  <a:cubicBezTo>
                    <a:pt x="208" y="232"/>
                    <a:pt x="199" y="240"/>
                    <a:pt x="197" y="242"/>
                  </a:cubicBezTo>
                  <a:cubicBezTo>
                    <a:pt x="194" y="244"/>
                    <a:pt x="195" y="248"/>
                    <a:pt x="195" y="252"/>
                  </a:cubicBezTo>
                  <a:cubicBezTo>
                    <a:pt x="195" y="256"/>
                    <a:pt x="194" y="264"/>
                    <a:pt x="194" y="266"/>
                  </a:cubicBezTo>
                  <a:cubicBezTo>
                    <a:pt x="194" y="268"/>
                    <a:pt x="191" y="269"/>
                    <a:pt x="189" y="270"/>
                  </a:cubicBezTo>
                  <a:cubicBezTo>
                    <a:pt x="187" y="272"/>
                    <a:pt x="183" y="280"/>
                    <a:pt x="182" y="284"/>
                  </a:cubicBezTo>
                  <a:cubicBezTo>
                    <a:pt x="181" y="287"/>
                    <a:pt x="177" y="291"/>
                    <a:pt x="172" y="293"/>
                  </a:cubicBezTo>
                  <a:cubicBezTo>
                    <a:pt x="167" y="296"/>
                    <a:pt x="167" y="300"/>
                    <a:pt x="164" y="304"/>
                  </a:cubicBezTo>
                  <a:cubicBezTo>
                    <a:pt x="163" y="307"/>
                    <a:pt x="160" y="310"/>
                    <a:pt x="159" y="312"/>
                  </a:cubicBezTo>
                  <a:cubicBezTo>
                    <a:pt x="156" y="309"/>
                    <a:pt x="156" y="309"/>
                    <a:pt x="156" y="309"/>
                  </a:cubicBezTo>
                  <a:cubicBezTo>
                    <a:pt x="155" y="308"/>
                    <a:pt x="158" y="302"/>
                    <a:pt x="159" y="301"/>
                  </a:cubicBezTo>
                  <a:cubicBezTo>
                    <a:pt x="160" y="299"/>
                    <a:pt x="146" y="291"/>
                    <a:pt x="144" y="289"/>
                  </a:cubicBezTo>
                  <a:cubicBezTo>
                    <a:pt x="142" y="287"/>
                    <a:pt x="138" y="289"/>
                    <a:pt x="137" y="288"/>
                  </a:cubicBezTo>
                  <a:cubicBezTo>
                    <a:pt x="136" y="286"/>
                    <a:pt x="137" y="284"/>
                    <a:pt x="133" y="281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133" y="274"/>
                    <a:pt x="138" y="269"/>
                    <a:pt x="141" y="266"/>
                  </a:cubicBezTo>
                  <a:cubicBezTo>
                    <a:pt x="145" y="263"/>
                    <a:pt x="151" y="257"/>
                    <a:pt x="154" y="256"/>
                  </a:cubicBezTo>
                  <a:cubicBezTo>
                    <a:pt x="156" y="255"/>
                    <a:pt x="156" y="250"/>
                    <a:pt x="157" y="249"/>
                  </a:cubicBezTo>
                  <a:cubicBezTo>
                    <a:pt x="158" y="247"/>
                    <a:pt x="156" y="243"/>
                    <a:pt x="154" y="243"/>
                  </a:cubicBezTo>
                  <a:cubicBezTo>
                    <a:pt x="154" y="243"/>
                    <a:pt x="151" y="243"/>
                    <a:pt x="149" y="243"/>
                  </a:cubicBezTo>
                  <a:cubicBezTo>
                    <a:pt x="149" y="241"/>
                    <a:pt x="152" y="230"/>
                    <a:pt x="150" y="229"/>
                  </a:cubicBezTo>
                  <a:cubicBezTo>
                    <a:pt x="149" y="227"/>
                    <a:pt x="143" y="231"/>
                    <a:pt x="142" y="229"/>
                  </a:cubicBezTo>
                  <a:cubicBezTo>
                    <a:pt x="141" y="227"/>
                    <a:pt x="141" y="219"/>
                    <a:pt x="140" y="217"/>
                  </a:cubicBezTo>
                  <a:cubicBezTo>
                    <a:pt x="140" y="215"/>
                    <a:pt x="136" y="215"/>
                    <a:pt x="134" y="215"/>
                  </a:cubicBezTo>
                  <a:cubicBezTo>
                    <a:pt x="132" y="215"/>
                    <a:pt x="124" y="215"/>
                    <a:pt x="124" y="213"/>
                  </a:cubicBezTo>
                  <a:cubicBezTo>
                    <a:pt x="124" y="212"/>
                    <a:pt x="123" y="200"/>
                    <a:pt x="123" y="197"/>
                  </a:cubicBezTo>
                  <a:cubicBezTo>
                    <a:pt x="123" y="194"/>
                    <a:pt x="126" y="186"/>
                    <a:pt x="126" y="184"/>
                  </a:cubicBezTo>
                  <a:cubicBezTo>
                    <a:pt x="127" y="181"/>
                    <a:pt x="121" y="177"/>
                    <a:pt x="120" y="176"/>
                  </a:cubicBezTo>
                  <a:cubicBezTo>
                    <a:pt x="120" y="175"/>
                    <a:pt x="122" y="169"/>
                    <a:pt x="120" y="169"/>
                  </a:cubicBezTo>
                  <a:cubicBezTo>
                    <a:pt x="119" y="169"/>
                    <a:pt x="106" y="168"/>
                    <a:pt x="106" y="167"/>
                  </a:cubicBezTo>
                  <a:cubicBezTo>
                    <a:pt x="106" y="166"/>
                    <a:pt x="105" y="154"/>
                    <a:pt x="105" y="152"/>
                  </a:cubicBezTo>
                  <a:cubicBezTo>
                    <a:pt x="106" y="150"/>
                    <a:pt x="103" y="148"/>
                    <a:pt x="101" y="146"/>
                  </a:cubicBezTo>
                  <a:cubicBezTo>
                    <a:pt x="99" y="145"/>
                    <a:pt x="94" y="147"/>
                    <a:pt x="93" y="147"/>
                  </a:cubicBezTo>
                  <a:cubicBezTo>
                    <a:pt x="91" y="146"/>
                    <a:pt x="86" y="141"/>
                    <a:pt x="84" y="140"/>
                  </a:cubicBezTo>
                  <a:cubicBezTo>
                    <a:pt x="82" y="139"/>
                    <a:pt x="74" y="137"/>
                    <a:pt x="72" y="136"/>
                  </a:cubicBezTo>
                  <a:cubicBezTo>
                    <a:pt x="69" y="135"/>
                    <a:pt x="67" y="129"/>
                    <a:pt x="66" y="127"/>
                  </a:cubicBezTo>
                  <a:cubicBezTo>
                    <a:pt x="66" y="125"/>
                    <a:pt x="68" y="119"/>
                    <a:pt x="67" y="117"/>
                  </a:cubicBezTo>
                  <a:cubicBezTo>
                    <a:pt x="66" y="115"/>
                    <a:pt x="64" y="116"/>
                    <a:pt x="61" y="117"/>
                  </a:cubicBezTo>
                  <a:cubicBezTo>
                    <a:pt x="58" y="117"/>
                    <a:pt x="43" y="126"/>
                    <a:pt x="42" y="12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3" y="126"/>
                    <a:pt x="29" y="126"/>
                    <a:pt x="28" y="126"/>
                  </a:cubicBezTo>
                  <a:cubicBezTo>
                    <a:pt x="26" y="126"/>
                    <a:pt x="27" y="115"/>
                    <a:pt x="26" y="114"/>
                  </a:cubicBezTo>
                  <a:cubicBezTo>
                    <a:pt x="25" y="114"/>
                    <a:pt x="18" y="121"/>
                    <a:pt x="16" y="119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95" name="Freeform 204"/>
            <p:cNvSpPr>
              <a:spLocks/>
            </p:cNvSpPr>
            <p:nvPr/>
          </p:nvSpPr>
          <p:spPr bwMode="auto">
            <a:xfrm>
              <a:off x="4131823" y="4420334"/>
              <a:ext cx="287893" cy="238324"/>
            </a:xfrm>
            <a:custGeom>
              <a:avLst/>
              <a:gdLst>
                <a:gd name="T0" fmla="*/ 0 w 104"/>
                <a:gd name="T1" fmla="*/ 6912 h 91"/>
                <a:gd name="T2" fmla="*/ 8363 w 104"/>
                <a:gd name="T3" fmla="*/ 4467 h 91"/>
                <a:gd name="T4" fmla="*/ 16896 w 104"/>
                <a:gd name="T5" fmla="*/ 3440 h 91"/>
                <a:gd name="T6" fmla="*/ 31617 w 104"/>
                <a:gd name="T7" fmla="*/ 2427 h 91"/>
                <a:gd name="T8" fmla="*/ 34659 w 104"/>
                <a:gd name="T9" fmla="*/ 3990 h 91"/>
                <a:gd name="T10" fmla="*/ 26186 w 104"/>
                <a:gd name="T11" fmla="*/ 5656 h 91"/>
                <a:gd name="T12" fmla="*/ 27781 w 104"/>
                <a:gd name="T13" fmla="*/ 6646 h 91"/>
                <a:gd name="T14" fmla="*/ 43056 w 104"/>
                <a:gd name="T15" fmla="*/ 7213 h 91"/>
                <a:gd name="T16" fmla="*/ 51986 w 104"/>
                <a:gd name="T17" fmla="*/ 6332 h 91"/>
                <a:gd name="T18" fmla="*/ 53832 w 104"/>
                <a:gd name="T19" fmla="*/ 4876 h 91"/>
                <a:gd name="T20" fmla="*/ 48922 w 104"/>
                <a:gd name="T21" fmla="*/ 3768 h 91"/>
                <a:gd name="T22" fmla="*/ 61126 w 104"/>
                <a:gd name="T23" fmla="*/ 2427 h 91"/>
                <a:gd name="T24" fmla="*/ 70794 w 104"/>
                <a:gd name="T25" fmla="*/ 0 h 91"/>
                <a:gd name="T26" fmla="*/ 83606 w 104"/>
                <a:gd name="T27" fmla="*/ 1875 h 91"/>
                <a:gd name="T28" fmla="*/ 100505 w 104"/>
                <a:gd name="T29" fmla="*/ 2427 h 91"/>
                <a:gd name="T30" fmla="*/ 114685 w 104"/>
                <a:gd name="T31" fmla="*/ 3990 h 91"/>
                <a:gd name="T32" fmla="*/ 150820 w 104"/>
                <a:gd name="T33" fmla="*/ 3768 h 91"/>
                <a:gd name="T34" fmla="*/ 167422 w 104"/>
                <a:gd name="T35" fmla="*/ 4876 h 91"/>
                <a:gd name="T36" fmla="*/ 194545 w 104"/>
                <a:gd name="T37" fmla="*/ 4467 h 91"/>
                <a:gd name="T38" fmla="*/ 212022 w 104"/>
                <a:gd name="T39" fmla="*/ 3440 h 91"/>
                <a:gd name="T40" fmla="*/ 247983 w 104"/>
                <a:gd name="T41" fmla="*/ 3768 h 91"/>
                <a:gd name="T42" fmla="*/ 251008 w 104"/>
                <a:gd name="T43" fmla="*/ 5088 h 91"/>
                <a:gd name="T44" fmla="*/ 271714 w 104"/>
                <a:gd name="T45" fmla="*/ 6332 h 91"/>
                <a:gd name="T46" fmla="*/ 275280 w 104"/>
                <a:gd name="T47" fmla="*/ 7604 h 91"/>
                <a:gd name="T48" fmla="*/ 296787 w 104"/>
                <a:gd name="T49" fmla="*/ 8479 h 91"/>
                <a:gd name="T50" fmla="*/ 284935 w 104"/>
                <a:gd name="T51" fmla="*/ 9798 h 91"/>
                <a:gd name="T52" fmla="*/ 275011 w 104"/>
                <a:gd name="T53" fmla="*/ 11366 h 91"/>
                <a:gd name="T54" fmla="*/ 260688 w 104"/>
                <a:gd name="T55" fmla="*/ 13889 h 91"/>
                <a:gd name="T56" fmla="*/ 271714 w 104"/>
                <a:gd name="T57" fmla="*/ 15215 h 91"/>
                <a:gd name="T58" fmla="*/ 271714 w 104"/>
                <a:gd name="T59" fmla="*/ 16112 h 91"/>
                <a:gd name="T60" fmla="*/ 229170 w 104"/>
                <a:gd name="T61" fmla="*/ 17820 h 91"/>
                <a:gd name="T62" fmla="*/ 185417 w 104"/>
                <a:gd name="T63" fmla="*/ 17039 h 91"/>
                <a:gd name="T64" fmla="*/ 199491 w 104"/>
                <a:gd name="T65" fmla="*/ 19880 h 91"/>
                <a:gd name="T66" fmla="*/ 208026 w 104"/>
                <a:gd name="T67" fmla="*/ 21661 h 91"/>
                <a:gd name="T68" fmla="*/ 156243 w 104"/>
                <a:gd name="T69" fmla="*/ 24154 h 91"/>
                <a:gd name="T70" fmla="*/ 137468 w 104"/>
                <a:gd name="T71" fmla="*/ 22371 h 91"/>
                <a:gd name="T72" fmla="*/ 132260 w 104"/>
                <a:gd name="T73" fmla="*/ 21180 h 91"/>
                <a:gd name="T74" fmla="*/ 123490 w 104"/>
                <a:gd name="T75" fmla="*/ 20273 h 91"/>
                <a:gd name="T76" fmla="*/ 132260 w 104"/>
                <a:gd name="T77" fmla="*/ 18495 h 91"/>
                <a:gd name="T78" fmla="*/ 123490 w 104"/>
                <a:gd name="T79" fmla="*/ 17660 h 91"/>
                <a:gd name="T80" fmla="*/ 123490 w 104"/>
                <a:gd name="T81" fmla="*/ 15215 h 91"/>
                <a:gd name="T82" fmla="*/ 124626 w 104"/>
                <a:gd name="T83" fmla="*/ 12968 h 91"/>
                <a:gd name="T84" fmla="*/ 88512 w 104"/>
                <a:gd name="T85" fmla="*/ 13355 h 91"/>
                <a:gd name="T86" fmla="*/ 67476 w 104"/>
                <a:gd name="T87" fmla="*/ 11679 h 91"/>
                <a:gd name="T88" fmla="*/ 27781 w 104"/>
                <a:gd name="T89" fmla="*/ 11366 h 91"/>
                <a:gd name="T90" fmla="*/ 16896 w 104"/>
                <a:gd name="T91" fmla="*/ 9421 h 91"/>
                <a:gd name="T92" fmla="*/ 0 w 104"/>
                <a:gd name="T93" fmla="*/ 6912 h 9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04" h="91">
                  <a:moveTo>
                    <a:pt x="0" y="26"/>
                  </a:moveTo>
                  <a:cubicBezTo>
                    <a:pt x="0" y="25"/>
                    <a:pt x="2" y="20"/>
                    <a:pt x="3" y="17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2" y="14"/>
                    <a:pt x="12" y="15"/>
                  </a:cubicBezTo>
                  <a:cubicBezTo>
                    <a:pt x="11" y="16"/>
                    <a:pt x="9" y="20"/>
                    <a:pt x="9" y="21"/>
                  </a:cubicBezTo>
                  <a:cubicBezTo>
                    <a:pt x="9" y="22"/>
                    <a:pt x="10" y="24"/>
                    <a:pt x="10" y="25"/>
                  </a:cubicBezTo>
                  <a:cubicBezTo>
                    <a:pt x="11" y="27"/>
                    <a:pt x="13" y="28"/>
                    <a:pt x="15" y="27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20" y="22"/>
                    <a:pt x="19" y="19"/>
                    <a:pt x="19" y="18"/>
                  </a:cubicBezTo>
                  <a:cubicBezTo>
                    <a:pt x="18" y="17"/>
                    <a:pt x="17" y="15"/>
                    <a:pt x="17" y="14"/>
                  </a:cubicBezTo>
                  <a:cubicBezTo>
                    <a:pt x="17" y="13"/>
                    <a:pt x="20" y="10"/>
                    <a:pt x="21" y="9"/>
                  </a:cubicBezTo>
                  <a:cubicBezTo>
                    <a:pt x="23" y="9"/>
                    <a:pt x="24" y="0"/>
                    <a:pt x="25" y="0"/>
                  </a:cubicBezTo>
                  <a:cubicBezTo>
                    <a:pt x="26" y="0"/>
                    <a:pt x="28" y="6"/>
                    <a:pt x="29" y="7"/>
                  </a:cubicBezTo>
                  <a:cubicBezTo>
                    <a:pt x="30" y="9"/>
                    <a:pt x="32" y="8"/>
                    <a:pt x="35" y="9"/>
                  </a:cubicBezTo>
                  <a:cubicBezTo>
                    <a:pt x="37" y="10"/>
                    <a:pt x="39" y="13"/>
                    <a:pt x="40" y="15"/>
                  </a:cubicBezTo>
                  <a:cubicBezTo>
                    <a:pt x="41" y="17"/>
                    <a:pt x="51" y="14"/>
                    <a:pt x="53" y="14"/>
                  </a:cubicBezTo>
                  <a:cubicBezTo>
                    <a:pt x="54" y="14"/>
                    <a:pt x="57" y="16"/>
                    <a:pt x="59" y="18"/>
                  </a:cubicBezTo>
                  <a:cubicBezTo>
                    <a:pt x="61" y="20"/>
                    <a:pt x="65" y="17"/>
                    <a:pt x="68" y="17"/>
                  </a:cubicBezTo>
                  <a:cubicBezTo>
                    <a:pt x="72" y="16"/>
                    <a:pt x="70" y="13"/>
                    <a:pt x="74" y="13"/>
                  </a:cubicBezTo>
                  <a:cubicBezTo>
                    <a:pt x="78" y="13"/>
                    <a:pt x="87" y="13"/>
                    <a:pt x="87" y="14"/>
                  </a:cubicBezTo>
                  <a:cubicBezTo>
                    <a:pt x="87" y="15"/>
                    <a:pt x="86" y="18"/>
                    <a:pt x="88" y="19"/>
                  </a:cubicBezTo>
                  <a:cubicBezTo>
                    <a:pt x="90" y="21"/>
                    <a:pt x="93" y="23"/>
                    <a:pt x="95" y="24"/>
                  </a:cubicBezTo>
                  <a:cubicBezTo>
                    <a:pt x="97" y="25"/>
                    <a:pt x="95" y="29"/>
                    <a:pt x="97" y="29"/>
                  </a:cubicBezTo>
                  <a:cubicBezTo>
                    <a:pt x="98" y="30"/>
                    <a:pt x="101" y="30"/>
                    <a:pt x="104" y="32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99" y="38"/>
                    <a:pt x="97" y="41"/>
                    <a:pt x="96" y="43"/>
                  </a:cubicBezTo>
                  <a:cubicBezTo>
                    <a:pt x="94" y="44"/>
                    <a:pt x="90" y="50"/>
                    <a:pt x="91" y="52"/>
                  </a:cubicBezTo>
                  <a:cubicBezTo>
                    <a:pt x="92" y="53"/>
                    <a:pt x="94" y="55"/>
                    <a:pt x="95" y="57"/>
                  </a:cubicBezTo>
                  <a:cubicBezTo>
                    <a:pt x="96" y="59"/>
                    <a:pt x="96" y="60"/>
                    <a:pt x="95" y="61"/>
                  </a:cubicBezTo>
                  <a:cubicBezTo>
                    <a:pt x="94" y="62"/>
                    <a:pt x="80" y="67"/>
                    <a:pt x="80" y="67"/>
                  </a:cubicBezTo>
                  <a:cubicBezTo>
                    <a:pt x="78" y="67"/>
                    <a:pt x="65" y="63"/>
                    <a:pt x="65" y="64"/>
                  </a:cubicBezTo>
                  <a:cubicBezTo>
                    <a:pt x="64" y="66"/>
                    <a:pt x="69" y="74"/>
                    <a:pt x="70" y="75"/>
                  </a:cubicBezTo>
                  <a:cubicBezTo>
                    <a:pt x="71" y="77"/>
                    <a:pt x="76" y="80"/>
                    <a:pt x="73" y="82"/>
                  </a:cubicBezTo>
                  <a:cubicBezTo>
                    <a:pt x="71" y="83"/>
                    <a:pt x="56" y="91"/>
                    <a:pt x="55" y="91"/>
                  </a:cubicBezTo>
                  <a:cubicBezTo>
                    <a:pt x="53" y="91"/>
                    <a:pt x="48" y="85"/>
                    <a:pt x="48" y="84"/>
                  </a:cubicBezTo>
                  <a:cubicBezTo>
                    <a:pt x="48" y="83"/>
                    <a:pt x="47" y="81"/>
                    <a:pt x="46" y="80"/>
                  </a:cubicBezTo>
                  <a:cubicBezTo>
                    <a:pt x="44" y="78"/>
                    <a:pt x="43" y="76"/>
                    <a:pt x="43" y="76"/>
                  </a:cubicBezTo>
                  <a:cubicBezTo>
                    <a:pt x="43" y="75"/>
                    <a:pt x="46" y="71"/>
                    <a:pt x="46" y="70"/>
                  </a:cubicBezTo>
                  <a:cubicBezTo>
                    <a:pt x="46" y="69"/>
                    <a:pt x="44" y="68"/>
                    <a:pt x="43" y="66"/>
                  </a:cubicBezTo>
                  <a:cubicBezTo>
                    <a:pt x="42" y="65"/>
                    <a:pt x="42" y="60"/>
                    <a:pt x="43" y="57"/>
                  </a:cubicBezTo>
                  <a:cubicBezTo>
                    <a:pt x="43" y="54"/>
                    <a:pt x="45" y="50"/>
                    <a:pt x="44" y="49"/>
                  </a:cubicBezTo>
                  <a:cubicBezTo>
                    <a:pt x="42" y="48"/>
                    <a:pt x="34" y="50"/>
                    <a:pt x="31" y="50"/>
                  </a:cubicBezTo>
                  <a:cubicBezTo>
                    <a:pt x="28" y="50"/>
                    <a:pt x="27" y="46"/>
                    <a:pt x="24" y="44"/>
                  </a:cubicBezTo>
                  <a:cubicBezTo>
                    <a:pt x="21" y="42"/>
                    <a:pt x="12" y="43"/>
                    <a:pt x="10" y="43"/>
                  </a:cubicBezTo>
                  <a:cubicBezTo>
                    <a:pt x="9" y="42"/>
                    <a:pt x="6" y="38"/>
                    <a:pt x="6" y="35"/>
                  </a:cubicBezTo>
                  <a:cubicBezTo>
                    <a:pt x="6" y="33"/>
                    <a:pt x="0" y="27"/>
                    <a:pt x="0" y="2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496" name="Group 205"/>
            <p:cNvGrpSpPr>
              <a:grpSpLocks/>
            </p:cNvGrpSpPr>
            <p:nvPr/>
          </p:nvGrpSpPr>
          <p:grpSpPr bwMode="auto">
            <a:xfrm>
              <a:off x="4128456" y="5118681"/>
              <a:ext cx="427630" cy="796262"/>
              <a:chOff x="1582" y="2905"/>
              <a:chExt cx="310" cy="613"/>
            </a:xfrm>
            <a:solidFill>
              <a:srgbClr val="EBEBE3"/>
            </a:solidFill>
          </p:grpSpPr>
          <p:sp>
            <p:nvSpPr>
              <p:cNvPr id="571" name="Freeform 206"/>
              <p:cNvSpPr>
                <a:spLocks/>
              </p:cNvSpPr>
              <p:nvPr/>
            </p:nvSpPr>
            <p:spPr bwMode="auto">
              <a:xfrm>
                <a:off x="1657" y="3463"/>
                <a:ext cx="56" cy="55"/>
              </a:xfrm>
              <a:custGeom>
                <a:avLst/>
                <a:gdLst>
                  <a:gd name="T0" fmla="*/ 196608 w 28"/>
                  <a:gd name="T1" fmla="*/ 167279 h 27"/>
                  <a:gd name="T2" fmla="*/ 393216 w 28"/>
                  <a:gd name="T3" fmla="*/ 782740 h 27"/>
                  <a:gd name="T4" fmla="*/ 1048576 w 28"/>
                  <a:gd name="T5" fmla="*/ 1413966 h 27"/>
                  <a:gd name="T6" fmla="*/ 1769472 w 28"/>
                  <a:gd name="T7" fmla="*/ 1674190 h 27"/>
                  <a:gd name="T8" fmla="*/ 1835008 w 28"/>
                  <a:gd name="T9" fmla="*/ 1674190 h 27"/>
                  <a:gd name="T10" fmla="*/ 1638400 w 28"/>
                  <a:gd name="T11" fmla="*/ 2037004 h 27"/>
                  <a:gd name="T12" fmla="*/ 1245184 w 28"/>
                  <a:gd name="T13" fmla="*/ 2122169 h 27"/>
                  <a:gd name="T14" fmla="*/ 1114112 w 28"/>
                  <a:gd name="T15" fmla="*/ 2368047 h 27"/>
                  <a:gd name="T16" fmla="*/ 655360 w 28"/>
                  <a:gd name="T17" fmla="*/ 2122169 h 27"/>
                  <a:gd name="T18" fmla="*/ 0 w 28"/>
                  <a:gd name="T19" fmla="*/ 2037004 h 27"/>
                  <a:gd name="T20" fmla="*/ 0 w 28"/>
                  <a:gd name="T21" fmla="*/ 2037004 h 27"/>
                  <a:gd name="T22" fmla="*/ 0 w 28"/>
                  <a:gd name="T23" fmla="*/ 0 h 27"/>
                  <a:gd name="T24" fmla="*/ 196608 w 28"/>
                  <a:gd name="T25" fmla="*/ 167279 h 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8" h="27">
                    <a:moveTo>
                      <a:pt x="3" y="2"/>
                    </a:moveTo>
                    <a:cubicBezTo>
                      <a:pt x="4" y="3"/>
                      <a:pt x="5" y="6"/>
                      <a:pt x="6" y="9"/>
                    </a:cubicBezTo>
                    <a:cubicBezTo>
                      <a:pt x="8" y="11"/>
                      <a:pt x="12" y="13"/>
                      <a:pt x="16" y="16"/>
                    </a:cubicBezTo>
                    <a:cubicBezTo>
                      <a:pt x="18" y="19"/>
                      <a:pt x="23" y="19"/>
                      <a:pt x="27" y="19"/>
                    </a:cubicBezTo>
                    <a:cubicBezTo>
                      <a:pt x="27" y="19"/>
                      <a:pt x="28" y="18"/>
                      <a:pt x="28" y="19"/>
                    </a:cubicBezTo>
                    <a:cubicBezTo>
                      <a:pt x="28" y="20"/>
                      <a:pt x="27" y="23"/>
                      <a:pt x="25" y="23"/>
                    </a:cubicBezTo>
                    <a:cubicBezTo>
                      <a:pt x="24" y="24"/>
                      <a:pt x="20" y="24"/>
                      <a:pt x="19" y="24"/>
                    </a:cubicBezTo>
                    <a:cubicBezTo>
                      <a:pt x="18" y="25"/>
                      <a:pt x="18" y="27"/>
                      <a:pt x="17" y="27"/>
                    </a:cubicBezTo>
                    <a:cubicBezTo>
                      <a:pt x="16" y="27"/>
                      <a:pt x="12" y="25"/>
                      <a:pt x="10" y="24"/>
                    </a:cubicBezTo>
                    <a:cubicBezTo>
                      <a:pt x="7" y="24"/>
                      <a:pt x="3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2" name="Freeform 207"/>
              <p:cNvSpPr>
                <a:spLocks/>
              </p:cNvSpPr>
              <p:nvPr/>
            </p:nvSpPr>
            <p:spPr bwMode="auto">
              <a:xfrm>
                <a:off x="1582" y="2905"/>
                <a:ext cx="310" cy="546"/>
              </a:xfrm>
              <a:custGeom>
                <a:avLst/>
                <a:gdLst>
                  <a:gd name="T0" fmla="*/ 0 w 153"/>
                  <a:gd name="T1" fmla="*/ 19142192 h 270"/>
                  <a:gd name="T2" fmla="*/ 550240 w 153"/>
                  <a:gd name="T3" fmla="*/ 18450576 h 270"/>
                  <a:gd name="T4" fmla="*/ 1114865 w 153"/>
                  <a:gd name="T5" fmla="*/ 16986371 h 270"/>
                  <a:gd name="T6" fmla="*/ 1436327 w 153"/>
                  <a:gd name="T7" fmla="*/ 15321429 h 270"/>
                  <a:gd name="T8" fmla="*/ 1114865 w 153"/>
                  <a:gd name="T9" fmla="*/ 14232770 h 270"/>
                  <a:gd name="T10" fmla="*/ 1114865 w 153"/>
                  <a:gd name="T11" fmla="*/ 12257544 h 270"/>
                  <a:gd name="T12" fmla="*/ 1512435 w 153"/>
                  <a:gd name="T13" fmla="*/ 10869076 h 270"/>
                  <a:gd name="T14" fmla="*/ 1862306 w 153"/>
                  <a:gd name="T15" fmla="*/ 9241879 h 270"/>
                  <a:gd name="T16" fmla="*/ 2182771 w 153"/>
                  <a:gd name="T17" fmla="*/ 7421068 h 270"/>
                  <a:gd name="T18" fmla="*/ 2182771 w 153"/>
                  <a:gd name="T19" fmla="*/ 5335356 h 270"/>
                  <a:gd name="T20" fmla="*/ 3064411 w 153"/>
                  <a:gd name="T21" fmla="*/ 3293577 h 270"/>
                  <a:gd name="T22" fmla="*/ 3139978 w 153"/>
                  <a:gd name="T23" fmla="*/ 1814716 h 270"/>
                  <a:gd name="T24" fmla="*/ 3950626 w 153"/>
                  <a:gd name="T25" fmla="*/ 538413 h 270"/>
                  <a:gd name="T26" fmla="*/ 5169068 w 153"/>
                  <a:gd name="T27" fmla="*/ 149921 h 270"/>
                  <a:gd name="T28" fmla="*/ 6208937 w 153"/>
                  <a:gd name="T29" fmla="*/ 149921 h 270"/>
                  <a:gd name="T30" fmla="*/ 6681501 w 153"/>
                  <a:gd name="T31" fmla="*/ 303174 h 270"/>
                  <a:gd name="T32" fmla="*/ 9745910 w 153"/>
                  <a:gd name="T33" fmla="*/ 2357226 h 270"/>
                  <a:gd name="T34" fmla="*/ 10243490 w 153"/>
                  <a:gd name="T35" fmla="*/ 3592142 h 270"/>
                  <a:gd name="T36" fmla="*/ 11628655 w 153"/>
                  <a:gd name="T37" fmla="*/ 2432430 h 270"/>
                  <a:gd name="T38" fmla="*/ 12259457 w 153"/>
                  <a:gd name="T39" fmla="*/ 2904611 h 270"/>
                  <a:gd name="T40" fmla="*/ 10990558 w 153"/>
                  <a:gd name="T41" fmla="*/ 4208552 h 270"/>
                  <a:gd name="T42" fmla="*/ 9745910 w 153"/>
                  <a:gd name="T43" fmla="*/ 5411742 h 270"/>
                  <a:gd name="T44" fmla="*/ 9273275 w 153"/>
                  <a:gd name="T45" fmla="*/ 7900466 h 270"/>
                  <a:gd name="T46" fmla="*/ 9922504 w 153"/>
                  <a:gd name="T47" fmla="*/ 8587466 h 270"/>
                  <a:gd name="T48" fmla="*/ 10319035 w 153"/>
                  <a:gd name="T49" fmla="*/ 9540048 h 270"/>
                  <a:gd name="T50" fmla="*/ 9745910 w 153"/>
                  <a:gd name="T51" fmla="*/ 10705709 h 270"/>
                  <a:gd name="T52" fmla="*/ 7012340 w 153"/>
                  <a:gd name="T53" fmla="*/ 11341290 h 270"/>
                  <a:gd name="T54" fmla="*/ 6681501 w 153"/>
                  <a:gd name="T55" fmla="*/ 12759484 h 270"/>
                  <a:gd name="T56" fmla="*/ 5169068 w 153"/>
                  <a:gd name="T57" fmla="*/ 12608499 h 270"/>
                  <a:gd name="T58" fmla="*/ 5341778 w 153"/>
                  <a:gd name="T59" fmla="*/ 13542808 h 270"/>
                  <a:gd name="T60" fmla="*/ 6050635 w 153"/>
                  <a:gd name="T61" fmla="*/ 13922822 h 270"/>
                  <a:gd name="T62" fmla="*/ 5169068 w 153"/>
                  <a:gd name="T63" fmla="*/ 14461243 h 270"/>
                  <a:gd name="T64" fmla="*/ 4935834 w 153"/>
                  <a:gd name="T65" fmla="*/ 15624702 h 270"/>
                  <a:gd name="T66" fmla="*/ 3773300 w 153"/>
                  <a:gd name="T67" fmla="*/ 16049931 h 270"/>
                  <a:gd name="T68" fmla="*/ 4696395 w 153"/>
                  <a:gd name="T69" fmla="*/ 17210379 h 270"/>
                  <a:gd name="T70" fmla="*/ 3773300 w 153"/>
                  <a:gd name="T71" fmla="*/ 18612800 h 270"/>
                  <a:gd name="T72" fmla="*/ 2677190 w 153"/>
                  <a:gd name="T73" fmla="*/ 19947588 h 270"/>
                  <a:gd name="T74" fmla="*/ 2832624 w 153"/>
                  <a:gd name="T75" fmla="*/ 21119405 h 270"/>
                  <a:gd name="T76" fmla="*/ 881575 w 153"/>
                  <a:gd name="T77" fmla="*/ 20956908 h 270"/>
                  <a:gd name="T78" fmla="*/ 708897 w 153"/>
                  <a:gd name="T79" fmla="*/ 19947588 h 27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53" h="270">
                    <a:moveTo>
                      <a:pt x="2" y="254"/>
                    </a:moveTo>
                    <a:cubicBezTo>
                      <a:pt x="1" y="253"/>
                      <a:pt x="0" y="247"/>
                      <a:pt x="0" y="245"/>
                    </a:cubicBezTo>
                    <a:cubicBezTo>
                      <a:pt x="0" y="243"/>
                      <a:pt x="1" y="240"/>
                      <a:pt x="2" y="239"/>
                    </a:cubicBezTo>
                    <a:cubicBezTo>
                      <a:pt x="4" y="238"/>
                      <a:pt x="7" y="237"/>
                      <a:pt x="7" y="236"/>
                    </a:cubicBezTo>
                    <a:cubicBezTo>
                      <a:pt x="8" y="234"/>
                      <a:pt x="8" y="227"/>
                      <a:pt x="9" y="225"/>
                    </a:cubicBezTo>
                    <a:cubicBezTo>
                      <a:pt x="11" y="223"/>
                      <a:pt x="13" y="220"/>
                      <a:pt x="14" y="217"/>
                    </a:cubicBezTo>
                    <a:cubicBezTo>
                      <a:pt x="14" y="215"/>
                      <a:pt x="13" y="207"/>
                      <a:pt x="14" y="206"/>
                    </a:cubicBezTo>
                    <a:cubicBezTo>
                      <a:pt x="16" y="205"/>
                      <a:pt x="18" y="198"/>
                      <a:pt x="18" y="196"/>
                    </a:cubicBezTo>
                    <a:cubicBezTo>
                      <a:pt x="18" y="195"/>
                      <a:pt x="13" y="194"/>
                      <a:pt x="13" y="193"/>
                    </a:cubicBezTo>
                    <a:cubicBezTo>
                      <a:pt x="13" y="191"/>
                      <a:pt x="15" y="183"/>
                      <a:pt x="14" y="182"/>
                    </a:cubicBezTo>
                    <a:cubicBezTo>
                      <a:pt x="10" y="177"/>
                      <a:pt x="16" y="175"/>
                      <a:pt x="16" y="173"/>
                    </a:cubicBezTo>
                    <a:cubicBezTo>
                      <a:pt x="16" y="171"/>
                      <a:pt x="14" y="160"/>
                      <a:pt x="14" y="157"/>
                    </a:cubicBezTo>
                    <a:cubicBezTo>
                      <a:pt x="15" y="155"/>
                      <a:pt x="15" y="148"/>
                      <a:pt x="17" y="146"/>
                    </a:cubicBezTo>
                    <a:cubicBezTo>
                      <a:pt x="18" y="144"/>
                      <a:pt x="20" y="141"/>
                      <a:pt x="19" y="139"/>
                    </a:cubicBezTo>
                    <a:cubicBezTo>
                      <a:pt x="18" y="136"/>
                      <a:pt x="16" y="125"/>
                      <a:pt x="18" y="123"/>
                    </a:cubicBezTo>
                    <a:cubicBezTo>
                      <a:pt x="20" y="122"/>
                      <a:pt x="23" y="120"/>
                      <a:pt x="23" y="118"/>
                    </a:cubicBezTo>
                    <a:cubicBezTo>
                      <a:pt x="23" y="116"/>
                      <a:pt x="27" y="104"/>
                      <a:pt x="27" y="102"/>
                    </a:cubicBezTo>
                    <a:cubicBezTo>
                      <a:pt x="27" y="100"/>
                      <a:pt x="28" y="97"/>
                      <a:pt x="27" y="95"/>
                    </a:cubicBezTo>
                    <a:cubicBezTo>
                      <a:pt x="26" y="92"/>
                      <a:pt x="21" y="79"/>
                      <a:pt x="23" y="77"/>
                    </a:cubicBezTo>
                    <a:cubicBezTo>
                      <a:pt x="25" y="75"/>
                      <a:pt x="27" y="69"/>
                      <a:pt x="27" y="68"/>
                    </a:cubicBezTo>
                    <a:cubicBezTo>
                      <a:pt x="28" y="66"/>
                      <a:pt x="27" y="59"/>
                      <a:pt x="29" y="56"/>
                    </a:cubicBezTo>
                    <a:cubicBezTo>
                      <a:pt x="30" y="53"/>
                      <a:pt x="37" y="44"/>
                      <a:pt x="38" y="42"/>
                    </a:cubicBezTo>
                    <a:cubicBezTo>
                      <a:pt x="39" y="41"/>
                      <a:pt x="38" y="33"/>
                      <a:pt x="38" y="31"/>
                    </a:cubicBezTo>
                    <a:cubicBezTo>
                      <a:pt x="38" y="29"/>
                      <a:pt x="36" y="24"/>
                      <a:pt x="39" y="23"/>
                    </a:cubicBezTo>
                    <a:cubicBezTo>
                      <a:pt x="41" y="21"/>
                      <a:pt x="46" y="18"/>
                      <a:pt x="47" y="18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51" y="6"/>
                      <a:pt x="53" y="3"/>
                      <a:pt x="55" y="1"/>
                    </a:cubicBezTo>
                    <a:cubicBezTo>
                      <a:pt x="56" y="0"/>
                      <a:pt x="61" y="1"/>
                      <a:pt x="64" y="2"/>
                    </a:cubicBezTo>
                    <a:cubicBezTo>
                      <a:pt x="67" y="2"/>
                      <a:pt x="68" y="8"/>
                      <a:pt x="69" y="8"/>
                    </a:cubicBezTo>
                    <a:cubicBezTo>
                      <a:pt x="71" y="8"/>
                      <a:pt x="75" y="2"/>
                      <a:pt x="77" y="2"/>
                    </a:cubicBezTo>
                    <a:cubicBezTo>
                      <a:pt x="79" y="2"/>
                      <a:pt x="81" y="2"/>
                      <a:pt x="82" y="3"/>
                    </a:cubicBezTo>
                    <a:cubicBezTo>
                      <a:pt x="83" y="3"/>
                      <a:pt x="83" y="4"/>
                      <a:pt x="83" y="4"/>
                    </a:cubicBezTo>
                    <a:cubicBezTo>
                      <a:pt x="83" y="7"/>
                      <a:pt x="97" y="17"/>
                      <a:pt x="99" y="18"/>
                    </a:cubicBezTo>
                    <a:cubicBezTo>
                      <a:pt x="103" y="20"/>
                      <a:pt x="121" y="29"/>
                      <a:pt x="121" y="30"/>
                    </a:cubicBezTo>
                    <a:cubicBezTo>
                      <a:pt x="121" y="32"/>
                      <a:pt x="111" y="42"/>
                      <a:pt x="113" y="44"/>
                    </a:cubicBezTo>
                    <a:cubicBezTo>
                      <a:pt x="115" y="46"/>
                      <a:pt x="123" y="46"/>
                      <a:pt x="127" y="46"/>
                    </a:cubicBezTo>
                    <a:cubicBezTo>
                      <a:pt x="131" y="46"/>
                      <a:pt x="137" y="41"/>
                      <a:pt x="139" y="40"/>
                    </a:cubicBezTo>
                    <a:cubicBezTo>
                      <a:pt x="141" y="39"/>
                      <a:pt x="143" y="33"/>
                      <a:pt x="144" y="31"/>
                    </a:cubicBezTo>
                    <a:cubicBezTo>
                      <a:pt x="146" y="31"/>
                      <a:pt x="149" y="31"/>
                      <a:pt x="149" y="31"/>
                    </a:cubicBezTo>
                    <a:cubicBezTo>
                      <a:pt x="151" y="31"/>
                      <a:pt x="153" y="35"/>
                      <a:pt x="152" y="37"/>
                    </a:cubicBezTo>
                    <a:cubicBezTo>
                      <a:pt x="151" y="38"/>
                      <a:pt x="151" y="43"/>
                      <a:pt x="149" y="44"/>
                    </a:cubicBezTo>
                    <a:cubicBezTo>
                      <a:pt x="146" y="45"/>
                      <a:pt x="140" y="51"/>
                      <a:pt x="136" y="54"/>
                    </a:cubicBezTo>
                    <a:cubicBezTo>
                      <a:pt x="133" y="57"/>
                      <a:pt x="128" y="62"/>
                      <a:pt x="124" y="66"/>
                    </a:cubicBezTo>
                    <a:cubicBezTo>
                      <a:pt x="123" y="68"/>
                      <a:pt x="122" y="69"/>
                      <a:pt x="121" y="69"/>
                    </a:cubicBezTo>
                    <a:cubicBezTo>
                      <a:pt x="119" y="71"/>
                      <a:pt x="118" y="75"/>
                      <a:pt x="118" y="77"/>
                    </a:cubicBezTo>
                    <a:cubicBezTo>
                      <a:pt x="118" y="80"/>
                      <a:pt x="115" y="101"/>
                      <a:pt x="115" y="101"/>
                    </a:cubicBezTo>
                    <a:cubicBezTo>
                      <a:pt x="114" y="101"/>
                      <a:pt x="115" y="101"/>
                      <a:pt x="115" y="104"/>
                    </a:cubicBezTo>
                    <a:cubicBezTo>
                      <a:pt x="115" y="108"/>
                      <a:pt x="120" y="108"/>
                      <a:pt x="123" y="110"/>
                    </a:cubicBezTo>
                    <a:cubicBezTo>
                      <a:pt x="126" y="112"/>
                      <a:pt x="123" y="114"/>
                      <a:pt x="123" y="117"/>
                    </a:cubicBezTo>
                    <a:cubicBezTo>
                      <a:pt x="123" y="121"/>
                      <a:pt x="128" y="120"/>
                      <a:pt x="128" y="122"/>
                    </a:cubicBezTo>
                    <a:cubicBezTo>
                      <a:pt x="129" y="124"/>
                      <a:pt x="127" y="127"/>
                      <a:pt x="125" y="129"/>
                    </a:cubicBezTo>
                    <a:cubicBezTo>
                      <a:pt x="123" y="130"/>
                      <a:pt x="122" y="135"/>
                      <a:pt x="121" y="137"/>
                    </a:cubicBezTo>
                    <a:cubicBezTo>
                      <a:pt x="119" y="139"/>
                      <a:pt x="107" y="142"/>
                      <a:pt x="104" y="143"/>
                    </a:cubicBezTo>
                    <a:cubicBezTo>
                      <a:pt x="101" y="145"/>
                      <a:pt x="87" y="144"/>
                      <a:pt x="87" y="145"/>
                    </a:cubicBezTo>
                    <a:cubicBezTo>
                      <a:pt x="87" y="146"/>
                      <a:pt x="87" y="157"/>
                      <a:pt x="87" y="159"/>
                    </a:cubicBezTo>
                    <a:cubicBezTo>
                      <a:pt x="87" y="162"/>
                      <a:pt x="85" y="161"/>
                      <a:pt x="83" y="163"/>
                    </a:cubicBezTo>
                    <a:cubicBezTo>
                      <a:pt x="81" y="164"/>
                      <a:pt x="75" y="164"/>
                      <a:pt x="73" y="164"/>
                    </a:cubicBezTo>
                    <a:cubicBezTo>
                      <a:pt x="71" y="164"/>
                      <a:pt x="66" y="161"/>
                      <a:pt x="64" y="161"/>
                    </a:cubicBezTo>
                    <a:cubicBezTo>
                      <a:pt x="62" y="162"/>
                      <a:pt x="64" y="167"/>
                      <a:pt x="64" y="168"/>
                    </a:cubicBezTo>
                    <a:cubicBezTo>
                      <a:pt x="64" y="170"/>
                      <a:pt x="65" y="172"/>
                      <a:pt x="66" y="173"/>
                    </a:cubicBezTo>
                    <a:cubicBezTo>
                      <a:pt x="67" y="174"/>
                      <a:pt x="72" y="172"/>
                      <a:pt x="74" y="172"/>
                    </a:cubicBezTo>
                    <a:cubicBezTo>
                      <a:pt x="75" y="173"/>
                      <a:pt x="75" y="176"/>
                      <a:pt x="75" y="178"/>
                    </a:cubicBezTo>
                    <a:cubicBezTo>
                      <a:pt x="75" y="179"/>
                      <a:pt x="72" y="181"/>
                      <a:pt x="71" y="181"/>
                    </a:cubicBezTo>
                    <a:cubicBezTo>
                      <a:pt x="69" y="181"/>
                      <a:pt x="66" y="184"/>
                      <a:pt x="64" y="185"/>
                    </a:cubicBezTo>
                    <a:cubicBezTo>
                      <a:pt x="62" y="187"/>
                      <a:pt x="62" y="191"/>
                      <a:pt x="62" y="195"/>
                    </a:cubicBezTo>
                    <a:cubicBezTo>
                      <a:pt x="62" y="198"/>
                      <a:pt x="62" y="200"/>
                      <a:pt x="61" y="200"/>
                    </a:cubicBezTo>
                    <a:cubicBezTo>
                      <a:pt x="60" y="201"/>
                      <a:pt x="58" y="200"/>
                      <a:pt x="55" y="200"/>
                    </a:cubicBezTo>
                    <a:cubicBezTo>
                      <a:pt x="53" y="200"/>
                      <a:pt x="50" y="202"/>
                      <a:pt x="47" y="205"/>
                    </a:cubicBezTo>
                    <a:cubicBezTo>
                      <a:pt x="45" y="209"/>
                      <a:pt x="45" y="213"/>
                      <a:pt x="48" y="216"/>
                    </a:cubicBezTo>
                    <a:cubicBezTo>
                      <a:pt x="51" y="219"/>
                      <a:pt x="56" y="219"/>
                      <a:pt x="58" y="220"/>
                    </a:cubicBezTo>
                    <a:cubicBezTo>
                      <a:pt x="60" y="221"/>
                      <a:pt x="59" y="224"/>
                      <a:pt x="59" y="227"/>
                    </a:cubicBezTo>
                    <a:cubicBezTo>
                      <a:pt x="59" y="230"/>
                      <a:pt x="49" y="236"/>
                      <a:pt x="47" y="238"/>
                    </a:cubicBezTo>
                    <a:cubicBezTo>
                      <a:pt x="45" y="241"/>
                      <a:pt x="43" y="246"/>
                      <a:pt x="43" y="249"/>
                    </a:cubicBezTo>
                    <a:cubicBezTo>
                      <a:pt x="42" y="251"/>
                      <a:pt x="35" y="252"/>
                      <a:pt x="33" y="255"/>
                    </a:cubicBezTo>
                    <a:cubicBezTo>
                      <a:pt x="32" y="257"/>
                      <a:pt x="33" y="263"/>
                      <a:pt x="35" y="266"/>
                    </a:cubicBezTo>
                    <a:cubicBezTo>
                      <a:pt x="37" y="268"/>
                      <a:pt x="37" y="270"/>
                      <a:pt x="35" y="270"/>
                    </a:cubicBezTo>
                    <a:cubicBezTo>
                      <a:pt x="34" y="270"/>
                      <a:pt x="29" y="268"/>
                      <a:pt x="29" y="269"/>
                    </a:cubicBezTo>
                    <a:cubicBezTo>
                      <a:pt x="11" y="268"/>
                      <a:pt x="11" y="268"/>
                      <a:pt x="11" y="268"/>
                    </a:cubicBezTo>
                    <a:cubicBezTo>
                      <a:pt x="9" y="267"/>
                      <a:pt x="8" y="265"/>
                      <a:pt x="8" y="263"/>
                    </a:cubicBezTo>
                    <a:cubicBezTo>
                      <a:pt x="8" y="262"/>
                      <a:pt x="11" y="257"/>
                      <a:pt x="9" y="255"/>
                    </a:cubicBezTo>
                    <a:cubicBezTo>
                      <a:pt x="7" y="254"/>
                      <a:pt x="4" y="255"/>
                      <a:pt x="2" y="25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497" name="Group 208"/>
            <p:cNvGrpSpPr>
              <a:grpSpLocks/>
            </p:cNvGrpSpPr>
            <p:nvPr/>
          </p:nvGrpSpPr>
          <p:grpSpPr bwMode="auto">
            <a:xfrm>
              <a:off x="4079632" y="5031849"/>
              <a:ext cx="185194" cy="877551"/>
              <a:chOff x="1547" y="2838"/>
              <a:chExt cx="134" cy="676"/>
            </a:xfrm>
            <a:solidFill>
              <a:srgbClr val="EBEBE3"/>
            </a:solidFill>
          </p:grpSpPr>
          <p:sp>
            <p:nvSpPr>
              <p:cNvPr id="568" name="Freeform 209"/>
              <p:cNvSpPr>
                <a:spLocks/>
              </p:cNvSpPr>
              <p:nvPr/>
            </p:nvSpPr>
            <p:spPr bwMode="auto">
              <a:xfrm>
                <a:off x="1610" y="3461"/>
                <a:ext cx="47" cy="53"/>
              </a:xfrm>
              <a:custGeom>
                <a:avLst/>
                <a:gdLst>
                  <a:gd name="T0" fmla="*/ 270346 w 23"/>
                  <a:gd name="T1" fmla="*/ 2225007 h 26"/>
                  <a:gd name="T2" fmla="*/ 0 w 23"/>
                  <a:gd name="T3" fmla="*/ 1795424 h 26"/>
                  <a:gd name="T4" fmla="*/ 1214194 w 23"/>
                  <a:gd name="T5" fmla="*/ 1605755 h 26"/>
                  <a:gd name="T6" fmla="*/ 1128911 w 23"/>
                  <a:gd name="T7" fmla="*/ 1259973 h 26"/>
                  <a:gd name="T8" fmla="*/ 1590513 w 23"/>
                  <a:gd name="T9" fmla="*/ 787729 h 26"/>
                  <a:gd name="T10" fmla="*/ 996751 w 23"/>
                  <a:gd name="T11" fmla="*/ 705075 h 26"/>
                  <a:gd name="T12" fmla="*/ 910351 w 23"/>
                  <a:gd name="T13" fmla="*/ 515427 h 26"/>
                  <a:gd name="T14" fmla="*/ 1398125 w 23"/>
                  <a:gd name="T15" fmla="*/ 169680 h 26"/>
                  <a:gd name="T16" fmla="*/ 2036839 w 23"/>
                  <a:gd name="T17" fmla="*/ 0 h 26"/>
                  <a:gd name="T18" fmla="*/ 2125679 w 23"/>
                  <a:gd name="T19" fmla="*/ 83239 h 26"/>
                  <a:gd name="T20" fmla="*/ 2125679 w 23"/>
                  <a:gd name="T21" fmla="*/ 2141767 h 26"/>
                  <a:gd name="T22" fmla="*/ 2125679 w 23"/>
                  <a:gd name="T23" fmla="*/ 2141767 h 26"/>
                  <a:gd name="T24" fmla="*/ 2036839 w 23"/>
                  <a:gd name="T25" fmla="*/ 2141767 h 26"/>
                  <a:gd name="T26" fmla="*/ 270346 w 23"/>
                  <a:gd name="T27" fmla="*/ 2225007 h 2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3" h="26">
                    <a:moveTo>
                      <a:pt x="3" y="25"/>
                    </a:moveTo>
                    <a:cubicBezTo>
                      <a:pt x="1" y="24"/>
                      <a:pt x="0" y="22"/>
                      <a:pt x="0" y="20"/>
                    </a:cubicBezTo>
                    <a:cubicBezTo>
                      <a:pt x="0" y="18"/>
                      <a:pt x="12" y="18"/>
                      <a:pt x="13" y="18"/>
                    </a:cubicBezTo>
                    <a:cubicBezTo>
                      <a:pt x="13" y="18"/>
                      <a:pt x="12" y="15"/>
                      <a:pt x="12" y="14"/>
                    </a:cubicBezTo>
                    <a:cubicBezTo>
                      <a:pt x="12" y="13"/>
                      <a:pt x="18" y="13"/>
                      <a:pt x="17" y="9"/>
                    </a:cubicBezTo>
                    <a:cubicBezTo>
                      <a:pt x="17" y="7"/>
                      <a:pt x="13" y="8"/>
                      <a:pt x="11" y="8"/>
                    </a:cubicBezTo>
                    <a:cubicBezTo>
                      <a:pt x="9" y="8"/>
                      <a:pt x="10" y="8"/>
                      <a:pt x="10" y="6"/>
                    </a:cubicBezTo>
                    <a:cubicBezTo>
                      <a:pt x="10" y="5"/>
                      <a:pt x="12" y="3"/>
                      <a:pt x="15" y="2"/>
                    </a:cubicBezTo>
                    <a:cubicBezTo>
                      <a:pt x="19" y="1"/>
                      <a:pt x="21" y="0"/>
                      <a:pt x="22" y="0"/>
                    </a:cubicBezTo>
                    <a:cubicBezTo>
                      <a:pt x="22" y="0"/>
                      <a:pt x="22" y="0"/>
                      <a:pt x="23" y="1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2" y="24"/>
                      <a:pt x="22" y="24"/>
                    </a:cubicBezTo>
                    <a:cubicBezTo>
                      <a:pt x="20" y="24"/>
                      <a:pt x="5" y="26"/>
                      <a:pt x="3" y="2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9" name="Freeform 210"/>
              <p:cNvSpPr>
                <a:spLocks/>
              </p:cNvSpPr>
              <p:nvPr/>
            </p:nvSpPr>
            <p:spPr bwMode="auto">
              <a:xfrm>
                <a:off x="1551" y="3287"/>
                <a:ext cx="23" cy="29"/>
              </a:xfrm>
              <a:custGeom>
                <a:avLst/>
                <a:gdLst>
                  <a:gd name="T0" fmla="*/ 523867 w 11"/>
                  <a:gd name="T1" fmla="*/ 1049119 h 14"/>
                  <a:gd name="T2" fmla="*/ 0 w 11"/>
                  <a:gd name="T3" fmla="*/ 674878 h 14"/>
                  <a:gd name="T4" fmla="*/ 523867 w 11"/>
                  <a:gd name="T5" fmla="*/ 454938 h 14"/>
                  <a:gd name="T6" fmla="*/ 818079 w 11"/>
                  <a:gd name="T7" fmla="*/ 0 h 14"/>
                  <a:gd name="T8" fmla="*/ 1459831 w 11"/>
                  <a:gd name="T9" fmla="*/ 0 h 14"/>
                  <a:gd name="T10" fmla="*/ 1338178 w 11"/>
                  <a:gd name="T11" fmla="*/ 832070 h 14"/>
                  <a:gd name="T12" fmla="*/ 1228273 w 11"/>
                  <a:gd name="T13" fmla="*/ 1279998 h 14"/>
                  <a:gd name="T14" fmla="*/ 948758 w 11"/>
                  <a:gd name="T15" fmla="*/ 1603019 h 14"/>
                  <a:gd name="T16" fmla="*/ 250545 w 11"/>
                  <a:gd name="T17" fmla="*/ 1498297 h 14"/>
                  <a:gd name="T18" fmla="*/ 523867 w 11"/>
                  <a:gd name="T19" fmla="*/ 1049119 h 1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1" h="14">
                    <a:moveTo>
                      <a:pt x="4" y="9"/>
                    </a:moveTo>
                    <a:cubicBezTo>
                      <a:pt x="4" y="8"/>
                      <a:pt x="0" y="8"/>
                      <a:pt x="0" y="6"/>
                    </a:cubicBezTo>
                    <a:cubicBezTo>
                      <a:pt x="0" y="5"/>
                      <a:pt x="4" y="5"/>
                      <a:pt x="4" y="4"/>
                    </a:cubicBezTo>
                    <a:cubicBezTo>
                      <a:pt x="5" y="3"/>
                      <a:pt x="6" y="0"/>
                      <a:pt x="6" y="0"/>
                    </a:cubicBezTo>
                    <a:cubicBezTo>
                      <a:pt x="7" y="0"/>
                      <a:pt x="11" y="0"/>
                      <a:pt x="11" y="0"/>
                    </a:cubicBezTo>
                    <a:cubicBezTo>
                      <a:pt x="11" y="1"/>
                      <a:pt x="11" y="6"/>
                      <a:pt x="10" y="7"/>
                    </a:cubicBezTo>
                    <a:cubicBezTo>
                      <a:pt x="10" y="8"/>
                      <a:pt x="9" y="10"/>
                      <a:pt x="9" y="11"/>
                    </a:cubicBezTo>
                    <a:cubicBezTo>
                      <a:pt x="8" y="12"/>
                      <a:pt x="8" y="14"/>
                      <a:pt x="7" y="14"/>
                    </a:cubicBezTo>
                    <a:cubicBezTo>
                      <a:pt x="5" y="13"/>
                      <a:pt x="2" y="14"/>
                      <a:pt x="2" y="13"/>
                    </a:cubicBezTo>
                    <a:cubicBezTo>
                      <a:pt x="2" y="12"/>
                      <a:pt x="5" y="9"/>
                      <a:pt x="4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0" name="Freeform 211"/>
              <p:cNvSpPr>
                <a:spLocks/>
              </p:cNvSpPr>
              <p:nvPr/>
            </p:nvSpPr>
            <p:spPr bwMode="auto">
              <a:xfrm>
                <a:off x="1547" y="2838"/>
                <a:ext cx="134" cy="658"/>
              </a:xfrm>
              <a:custGeom>
                <a:avLst/>
                <a:gdLst>
                  <a:gd name="T0" fmla="*/ 156971 w 66"/>
                  <a:gd name="T1" fmla="*/ 22713073 h 325"/>
                  <a:gd name="T2" fmla="*/ 156971 w 66"/>
                  <a:gd name="T3" fmla="*/ 22242151 h 325"/>
                  <a:gd name="T4" fmla="*/ 0 w 66"/>
                  <a:gd name="T5" fmla="*/ 21023440 h 325"/>
                  <a:gd name="T6" fmla="*/ 907982 w 66"/>
                  <a:gd name="T7" fmla="*/ 20170921 h 325"/>
                  <a:gd name="T8" fmla="*/ 156971 w 66"/>
                  <a:gd name="T9" fmla="*/ 20004229 h 325"/>
                  <a:gd name="T10" fmla="*/ 318699 w 66"/>
                  <a:gd name="T11" fmla="*/ 19448980 h 325"/>
                  <a:gd name="T12" fmla="*/ 1238103 w 66"/>
                  <a:gd name="T13" fmla="*/ 19374369 h 325"/>
                  <a:gd name="T14" fmla="*/ 1515254 w 66"/>
                  <a:gd name="T15" fmla="*/ 18504568 h 325"/>
                  <a:gd name="T16" fmla="*/ 1594880 w 66"/>
                  <a:gd name="T17" fmla="*/ 17671220 h 325"/>
                  <a:gd name="T18" fmla="*/ 2099256 w 66"/>
                  <a:gd name="T19" fmla="*/ 16489725 h 325"/>
                  <a:gd name="T20" fmla="*/ 1515254 w 66"/>
                  <a:gd name="T21" fmla="*/ 16564468 h 325"/>
                  <a:gd name="T22" fmla="*/ 828388 w 66"/>
                  <a:gd name="T23" fmla="*/ 17286948 h 325"/>
                  <a:gd name="T24" fmla="*/ 985363 w 66"/>
                  <a:gd name="T25" fmla="*/ 16338411 h 325"/>
                  <a:gd name="T26" fmla="*/ 1157882 w 66"/>
                  <a:gd name="T27" fmla="*/ 15867117 h 325"/>
                  <a:gd name="T28" fmla="*/ 1515254 w 66"/>
                  <a:gd name="T29" fmla="*/ 14481865 h 325"/>
                  <a:gd name="T30" fmla="*/ 1157882 w 66"/>
                  <a:gd name="T31" fmla="*/ 12908136 h 325"/>
                  <a:gd name="T32" fmla="*/ 1681879 w 66"/>
                  <a:gd name="T33" fmla="*/ 12370997 h 325"/>
                  <a:gd name="T34" fmla="*/ 2513724 w 66"/>
                  <a:gd name="T35" fmla="*/ 9643170 h 325"/>
                  <a:gd name="T36" fmla="*/ 2667250 w 66"/>
                  <a:gd name="T37" fmla="*/ 8221139 h 325"/>
                  <a:gd name="T38" fmla="*/ 2589897 w 66"/>
                  <a:gd name="T39" fmla="*/ 7253243 h 325"/>
                  <a:gd name="T40" fmla="*/ 3160743 w 66"/>
                  <a:gd name="T41" fmla="*/ 5194699 h 325"/>
                  <a:gd name="T42" fmla="*/ 3499083 w 66"/>
                  <a:gd name="T43" fmla="*/ 2240407 h 325"/>
                  <a:gd name="T44" fmla="*/ 3742821 w 66"/>
                  <a:gd name="T45" fmla="*/ 309165 h 325"/>
                  <a:gd name="T46" fmla="*/ 4352541 w 66"/>
                  <a:gd name="T47" fmla="*/ 625940 h 325"/>
                  <a:gd name="T48" fmla="*/ 4591587 w 66"/>
                  <a:gd name="T49" fmla="*/ 1845556 h 325"/>
                  <a:gd name="T50" fmla="*/ 5415326 w 66"/>
                  <a:gd name="T51" fmla="*/ 3263370 h 325"/>
                  <a:gd name="T52" fmla="*/ 5337900 w 66"/>
                  <a:gd name="T53" fmla="*/ 4060593 h 325"/>
                  <a:gd name="T54" fmla="*/ 4591587 w 66"/>
                  <a:gd name="T55" fmla="*/ 5110603 h 325"/>
                  <a:gd name="T56" fmla="*/ 3827440 w 66"/>
                  <a:gd name="T57" fmla="*/ 7077991 h 325"/>
                  <a:gd name="T58" fmla="*/ 3315406 w 66"/>
                  <a:gd name="T59" fmla="*/ 8764544 h 325"/>
                  <a:gd name="T60" fmla="*/ 3656190 w 66"/>
                  <a:gd name="T61" fmla="*/ 10758867 h 325"/>
                  <a:gd name="T62" fmla="*/ 2908596 w 66"/>
                  <a:gd name="T63" fmla="*/ 12448495 h 325"/>
                  <a:gd name="T64" fmla="*/ 2828973 w 66"/>
                  <a:gd name="T65" fmla="*/ 14254863 h 325"/>
                  <a:gd name="T66" fmla="*/ 2746872 w 66"/>
                  <a:gd name="T67" fmla="*/ 16412071 h 325"/>
                  <a:gd name="T68" fmla="*/ 2513724 w 66"/>
                  <a:gd name="T69" fmla="*/ 18026100 h 325"/>
                  <a:gd name="T70" fmla="*/ 2589897 w 66"/>
                  <a:gd name="T71" fmla="*/ 19055081 h 325"/>
                  <a:gd name="T72" fmla="*/ 2181918 w 66"/>
                  <a:gd name="T73" fmla="*/ 20554742 h 325"/>
                  <a:gd name="T74" fmla="*/ 1594880 w 66"/>
                  <a:gd name="T75" fmla="*/ 21698475 h 325"/>
                  <a:gd name="T76" fmla="*/ 1594880 w 66"/>
                  <a:gd name="T77" fmla="*/ 22869244 h 325"/>
                  <a:gd name="T78" fmla="*/ 2099256 w 66"/>
                  <a:gd name="T79" fmla="*/ 23584862 h 325"/>
                  <a:gd name="T80" fmla="*/ 3827440 w 66"/>
                  <a:gd name="T81" fmla="*/ 24051344 h 325"/>
                  <a:gd name="T82" fmla="*/ 2985944 w 66"/>
                  <a:gd name="T83" fmla="*/ 24556653 h 325"/>
                  <a:gd name="T84" fmla="*/ 2828973 w 66"/>
                  <a:gd name="T85" fmla="*/ 25587719 h 325"/>
                  <a:gd name="T86" fmla="*/ 1515254 w 66"/>
                  <a:gd name="T87" fmla="*/ 25430410 h 325"/>
                  <a:gd name="T88" fmla="*/ 570300 w 66"/>
                  <a:gd name="T89" fmla="*/ 24810188 h 325"/>
                  <a:gd name="T90" fmla="*/ 1313720 w 66"/>
                  <a:gd name="T91" fmla="*/ 24709645 h 325"/>
                  <a:gd name="T92" fmla="*/ 408012 w 66"/>
                  <a:gd name="T93" fmla="*/ 24051344 h 325"/>
                  <a:gd name="T94" fmla="*/ 239042 w 66"/>
                  <a:gd name="T95" fmla="*/ 23584862 h 325"/>
                  <a:gd name="T96" fmla="*/ 318699 w 66"/>
                  <a:gd name="T97" fmla="*/ 23020015 h 32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66" h="325">
                    <a:moveTo>
                      <a:pt x="4" y="289"/>
                    </a:moveTo>
                    <a:cubicBezTo>
                      <a:pt x="2" y="289"/>
                      <a:pt x="2" y="287"/>
                      <a:pt x="2" y="285"/>
                    </a:cubicBezTo>
                    <a:cubicBezTo>
                      <a:pt x="2" y="283"/>
                      <a:pt x="6" y="281"/>
                      <a:pt x="6" y="280"/>
                    </a:cubicBezTo>
                    <a:cubicBezTo>
                      <a:pt x="6" y="280"/>
                      <a:pt x="4" y="279"/>
                      <a:pt x="2" y="279"/>
                    </a:cubicBezTo>
                    <a:cubicBezTo>
                      <a:pt x="0" y="278"/>
                      <a:pt x="1" y="276"/>
                      <a:pt x="0" y="274"/>
                    </a:cubicBezTo>
                    <a:cubicBezTo>
                      <a:pt x="0" y="272"/>
                      <a:pt x="0" y="265"/>
                      <a:pt x="0" y="264"/>
                    </a:cubicBezTo>
                    <a:cubicBezTo>
                      <a:pt x="1" y="263"/>
                      <a:pt x="4" y="260"/>
                      <a:pt x="6" y="259"/>
                    </a:cubicBezTo>
                    <a:cubicBezTo>
                      <a:pt x="7" y="259"/>
                      <a:pt x="10" y="255"/>
                      <a:pt x="11" y="253"/>
                    </a:cubicBezTo>
                    <a:cubicBezTo>
                      <a:pt x="11" y="252"/>
                      <a:pt x="10" y="250"/>
                      <a:pt x="9" y="250"/>
                    </a:cubicBezTo>
                    <a:cubicBezTo>
                      <a:pt x="7" y="250"/>
                      <a:pt x="4" y="250"/>
                      <a:pt x="2" y="251"/>
                    </a:cubicBezTo>
                    <a:cubicBezTo>
                      <a:pt x="1" y="251"/>
                      <a:pt x="0" y="250"/>
                      <a:pt x="0" y="248"/>
                    </a:cubicBezTo>
                    <a:cubicBezTo>
                      <a:pt x="0" y="247"/>
                      <a:pt x="3" y="245"/>
                      <a:pt x="4" y="244"/>
                    </a:cubicBezTo>
                    <a:cubicBezTo>
                      <a:pt x="6" y="242"/>
                      <a:pt x="7" y="240"/>
                      <a:pt x="8" y="241"/>
                    </a:cubicBezTo>
                    <a:cubicBezTo>
                      <a:pt x="10" y="242"/>
                      <a:pt x="14" y="244"/>
                      <a:pt x="15" y="243"/>
                    </a:cubicBezTo>
                    <a:cubicBezTo>
                      <a:pt x="16" y="241"/>
                      <a:pt x="15" y="238"/>
                      <a:pt x="16" y="236"/>
                    </a:cubicBezTo>
                    <a:cubicBezTo>
                      <a:pt x="17" y="235"/>
                      <a:pt x="16" y="232"/>
                      <a:pt x="18" y="232"/>
                    </a:cubicBezTo>
                    <a:cubicBezTo>
                      <a:pt x="20" y="232"/>
                      <a:pt x="21" y="229"/>
                      <a:pt x="21" y="227"/>
                    </a:cubicBezTo>
                    <a:cubicBezTo>
                      <a:pt x="21" y="226"/>
                      <a:pt x="19" y="224"/>
                      <a:pt x="19" y="222"/>
                    </a:cubicBezTo>
                    <a:cubicBezTo>
                      <a:pt x="20" y="221"/>
                      <a:pt x="21" y="215"/>
                      <a:pt x="22" y="213"/>
                    </a:cubicBezTo>
                    <a:cubicBezTo>
                      <a:pt x="23" y="212"/>
                      <a:pt x="24" y="208"/>
                      <a:pt x="25" y="207"/>
                    </a:cubicBezTo>
                    <a:cubicBezTo>
                      <a:pt x="25" y="207"/>
                      <a:pt x="22" y="205"/>
                      <a:pt x="20" y="205"/>
                    </a:cubicBezTo>
                    <a:cubicBezTo>
                      <a:pt x="18" y="205"/>
                      <a:pt x="18" y="207"/>
                      <a:pt x="18" y="208"/>
                    </a:cubicBezTo>
                    <a:cubicBezTo>
                      <a:pt x="18" y="209"/>
                      <a:pt x="16" y="214"/>
                      <a:pt x="15" y="216"/>
                    </a:cubicBezTo>
                    <a:cubicBezTo>
                      <a:pt x="14" y="217"/>
                      <a:pt x="12" y="217"/>
                      <a:pt x="10" y="217"/>
                    </a:cubicBezTo>
                    <a:cubicBezTo>
                      <a:pt x="8" y="217"/>
                      <a:pt x="8" y="215"/>
                      <a:pt x="8" y="214"/>
                    </a:cubicBezTo>
                    <a:cubicBezTo>
                      <a:pt x="9" y="213"/>
                      <a:pt x="12" y="207"/>
                      <a:pt x="12" y="205"/>
                    </a:cubicBezTo>
                    <a:cubicBezTo>
                      <a:pt x="12" y="204"/>
                      <a:pt x="15" y="204"/>
                      <a:pt x="15" y="203"/>
                    </a:cubicBezTo>
                    <a:cubicBezTo>
                      <a:pt x="16" y="202"/>
                      <a:pt x="14" y="200"/>
                      <a:pt x="14" y="199"/>
                    </a:cubicBezTo>
                    <a:cubicBezTo>
                      <a:pt x="14" y="198"/>
                      <a:pt x="13" y="191"/>
                      <a:pt x="14" y="190"/>
                    </a:cubicBezTo>
                    <a:cubicBezTo>
                      <a:pt x="14" y="188"/>
                      <a:pt x="17" y="184"/>
                      <a:pt x="18" y="182"/>
                    </a:cubicBezTo>
                    <a:cubicBezTo>
                      <a:pt x="19" y="180"/>
                      <a:pt x="16" y="175"/>
                      <a:pt x="16" y="172"/>
                    </a:cubicBezTo>
                    <a:cubicBezTo>
                      <a:pt x="14" y="170"/>
                      <a:pt x="13" y="163"/>
                      <a:pt x="14" y="162"/>
                    </a:cubicBezTo>
                    <a:cubicBezTo>
                      <a:pt x="14" y="160"/>
                      <a:pt x="18" y="162"/>
                      <a:pt x="18" y="161"/>
                    </a:cubicBezTo>
                    <a:cubicBezTo>
                      <a:pt x="19" y="160"/>
                      <a:pt x="20" y="158"/>
                      <a:pt x="20" y="155"/>
                    </a:cubicBezTo>
                    <a:cubicBezTo>
                      <a:pt x="22" y="152"/>
                      <a:pt x="25" y="142"/>
                      <a:pt x="27" y="137"/>
                    </a:cubicBezTo>
                    <a:cubicBezTo>
                      <a:pt x="29" y="133"/>
                      <a:pt x="30" y="127"/>
                      <a:pt x="30" y="121"/>
                    </a:cubicBezTo>
                    <a:cubicBezTo>
                      <a:pt x="32" y="115"/>
                      <a:pt x="29" y="106"/>
                      <a:pt x="29" y="105"/>
                    </a:cubicBezTo>
                    <a:cubicBezTo>
                      <a:pt x="29" y="103"/>
                      <a:pt x="32" y="103"/>
                      <a:pt x="32" y="103"/>
                    </a:cubicBezTo>
                    <a:cubicBezTo>
                      <a:pt x="32" y="102"/>
                      <a:pt x="33" y="98"/>
                      <a:pt x="33" y="97"/>
                    </a:cubicBezTo>
                    <a:cubicBezTo>
                      <a:pt x="33" y="95"/>
                      <a:pt x="30" y="93"/>
                      <a:pt x="31" y="91"/>
                    </a:cubicBezTo>
                    <a:cubicBezTo>
                      <a:pt x="32" y="90"/>
                      <a:pt x="34" y="85"/>
                      <a:pt x="35" y="83"/>
                    </a:cubicBezTo>
                    <a:cubicBezTo>
                      <a:pt x="36" y="80"/>
                      <a:pt x="37" y="68"/>
                      <a:pt x="38" y="65"/>
                    </a:cubicBezTo>
                    <a:cubicBezTo>
                      <a:pt x="39" y="61"/>
                      <a:pt x="39" y="48"/>
                      <a:pt x="40" y="44"/>
                    </a:cubicBezTo>
                    <a:cubicBezTo>
                      <a:pt x="41" y="41"/>
                      <a:pt x="42" y="33"/>
                      <a:pt x="42" y="28"/>
                    </a:cubicBezTo>
                    <a:cubicBezTo>
                      <a:pt x="43" y="24"/>
                      <a:pt x="41" y="6"/>
                      <a:pt x="40" y="6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5" y="3"/>
                      <a:pt x="46" y="2"/>
                      <a:pt x="47" y="0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3" y="10"/>
                      <a:pt x="55" y="12"/>
                      <a:pt x="56" y="14"/>
                    </a:cubicBezTo>
                    <a:cubicBezTo>
                      <a:pt x="56" y="16"/>
                      <a:pt x="54" y="20"/>
                      <a:pt x="55" y="23"/>
                    </a:cubicBezTo>
                    <a:cubicBezTo>
                      <a:pt x="56" y="26"/>
                      <a:pt x="58" y="39"/>
                      <a:pt x="58" y="40"/>
                    </a:cubicBezTo>
                    <a:cubicBezTo>
                      <a:pt x="58" y="42"/>
                      <a:pt x="64" y="41"/>
                      <a:pt x="65" y="41"/>
                    </a:cubicBezTo>
                    <a:cubicBezTo>
                      <a:pt x="65" y="41"/>
                      <a:pt x="66" y="41"/>
                      <a:pt x="66" y="40"/>
                    </a:cubicBezTo>
                    <a:cubicBezTo>
                      <a:pt x="64" y="51"/>
                      <a:pt x="64" y="51"/>
                      <a:pt x="64" y="51"/>
                    </a:cubicBezTo>
                    <a:cubicBezTo>
                      <a:pt x="63" y="51"/>
                      <a:pt x="58" y="54"/>
                      <a:pt x="56" y="56"/>
                    </a:cubicBezTo>
                    <a:cubicBezTo>
                      <a:pt x="53" y="57"/>
                      <a:pt x="55" y="62"/>
                      <a:pt x="55" y="64"/>
                    </a:cubicBezTo>
                    <a:cubicBezTo>
                      <a:pt x="55" y="66"/>
                      <a:pt x="56" y="74"/>
                      <a:pt x="55" y="75"/>
                    </a:cubicBezTo>
                    <a:cubicBezTo>
                      <a:pt x="54" y="77"/>
                      <a:pt x="47" y="86"/>
                      <a:pt x="46" y="89"/>
                    </a:cubicBezTo>
                    <a:cubicBezTo>
                      <a:pt x="44" y="92"/>
                      <a:pt x="45" y="99"/>
                      <a:pt x="44" y="101"/>
                    </a:cubicBezTo>
                    <a:cubicBezTo>
                      <a:pt x="44" y="102"/>
                      <a:pt x="42" y="108"/>
                      <a:pt x="40" y="110"/>
                    </a:cubicBezTo>
                    <a:cubicBezTo>
                      <a:pt x="38" y="112"/>
                      <a:pt x="43" y="125"/>
                      <a:pt x="44" y="128"/>
                    </a:cubicBezTo>
                    <a:cubicBezTo>
                      <a:pt x="45" y="130"/>
                      <a:pt x="44" y="133"/>
                      <a:pt x="44" y="135"/>
                    </a:cubicBezTo>
                    <a:cubicBezTo>
                      <a:pt x="44" y="137"/>
                      <a:pt x="40" y="149"/>
                      <a:pt x="40" y="151"/>
                    </a:cubicBezTo>
                    <a:cubicBezTo>
                      <a:pt x="40" y="153"/>
                      <a:pt x="37" y="155"/>
                      <a:pt x="35" y="156"/>
                    </a:cubicBezTo>
                    <a:cubicBezTo>
                      <a:pt x="33" y="158"/>
                      <a:pt x="35" y="169"/>
                      <a:pt x="36" y="172"/>
                    </a:cubicBezTo>
                    <a:cubicBezTo>
                      <a:pt x="37" y="174"/>
                      <a:pt x="35" y="177"/>
                      <a:pt x="34" y="179"/>
                    </a:cubicBezTo>
                    <a:cubicBezTo>
                      <a:pt x="32" y="181"/>
                      <a:pt x="32" y="188"/>
                      <a:pt x="31" y="190"/>
                    </a:cubicBezTo>
                    <a:cubicBezTo>
                      <a:pt x="31" y="193"/>
                      <a:pt x="33" y="204"/>
                      <a:pt x="33" y="206"/>
                    </a:cubicBezTo>
                    <a:cubicBezTo>
                      <a:pt x="33" y="208"/>
                      <a:pt x="27" y="210"/>
                      <a:pt x="31" y="215"/>
                    </a:cubicBezTo>
                    <a:cubicBezTo>
                      <a:pt x="32" y="216"/>
                      <a:pt x="30" y="224"/>
                      <a:pt x="30" y="226"/>
                    </a:cubicBezTo>
                    <a:cubicBezTo>
                      <a:pt x="30" y="227"/>
                      <a:pt x="35" y="228"/>
                      <a:pt x="35" y="229"/>
                    </a:cubicBezTo>
                    <a:cubicBezTo>
                      <a:pt x="35" y="231"/>
                      <a:pt x="33" y="238"/>
                      <a:pt x="31" y="239"/>
                    </a:cubicBezTo>
                    <a:cubicBezTo>
                      <a:pt x="30" y="240"/>
                      <a:pt x="31" y="248"/>
                      <a:pt x="31" y="250"/>
                    </a:cubicBezTo>
                    <a:cubicBezTo>
                      <a:pt x="30" y="253"/>
                      <a:pt x="28" y="256"/>
                      <a:pt x="26" y="258"/>
                    </a:cubicBezTo>
                    <a:cubicBezTo>
                      <a:pt x="25" y="260"/>
                      <a:pt x="25" y="267"/>
                      <a:pt x="24" y="269"/>
                    </a:cubicBezTo>
                    <a:cubicBezTo>
                      <a:pt x="24" y="270"/>
                      <a:pt x="21" y="271"/>
                      <a:pt x="19" y="272"/>
                    </a:cubicBezTo>
                    <a:cubicBezTo>
                      <a:pt x="18" y="273"/>
                      <a:pt x="17" y="276"/>
                      <a:pt x="17" y="278"/>
                    </a:cubicBezTo>
                    <a:cubicBezTo>
                      <a:pt x="17" y="280"/>
                      <a:pt x="18" y="286"/>
                      <a:pt x="19" y="287"/>
                    </a:cubicBezTo>
                    <a:cubicBezTo>
                      <a:pt x="21" y="288"/>
                      <a:pt x="24" y="287"/>
                      <a:pt x="26" y="288"/>
                    </a:cubicBezTo>
                    <a:cubicBezTo>
                      <a:pt x="28" y="290"/>
                      <a:pt x="25" y="295"/>
                      <a:pt x="25" y="296"/>
                    </a:cubicBezTo>
                    <a:cubicBezTo>
                      <a:pt x="25" y="298"/>
                      <a:pt x="26" y="300"/>
                      <a:pt x="28" y="301"/>
                    </a:cubicBezTo>
                    <a:cubicBezTo>
                      <a:pt x="46" y="302"/>
                      <a:pt x="46" y="302"/>
                      <a:pt x="46" y="302"/>
                    </a:cubicBezTo>
                    <a:cubicBezTo>
                      <a:pt x="46" y="303"/>
                      <a:pt x="46" y="306"/>
                      <a:pt x="44" y="306"/>
                    </a:cubicBezTo>
                    <a:cubicBezTo>
                      <a:pt x="41" y="307"/>
                      <a:pt x="37" y="308"/>
                      <a:pt x="36" y="308"/>
                    </a:cubicBezTo>
                    <a:cubicBezTo>
                      <a:pt x="36" y="308"/>
                      <a:pt x="36" y="312"/>
                      <a:pt x="36" y="314"/>
                    </a:cubicBezTo>
                    <a:cubicBezTo>
                      <a:pt x="36" y="316"/>
                      <a:pt x="36" y="319"/>
                      <a:pt x="34" y="321"/>
                    </a:cubicBezTo>
                    <a:cubicBezTo>
                      <a:pt x="32" y="323"/>
                      <a:pt x="24" y="325"/>
                      <a:pt x="22" y="325"/>
                    </a:cubicBezTo>
                    <a:cubicBezTo>
                      <a:pt x="21" y="324"/>
                      <a:pt x="20" y="319"/>
                      <a:pt x="18" y="319"/>
                    </a:cubicBezTo>
                    <a:cubicBezTo>
                      <a:pt x="16" y="319"/>
                      <a:pt x="14" y="317"/>
                      <a:pt x="13" y="316"/>
                    </a:cubicBezTo>
                    <a:cubicBezTo>
                      <a:pt x="12" y="315"/>
                      <a:pt x="6" y="311"/>
                      <a:pt x="7" y="311"/>
                    </a:cubicBezTo>
                    <a:cubicBezTo>
                      <a:pt x="8" y="310"/>
                      <a:pt x="15" y="313"/>
                      <a:pt x="16" y="313"/>
                    </a:cubicBezTo>
                    <a:cubicBezTo>
                      <a:pt x="17" y="313"/>
                      <a:pt x="16" y="311"/>
                      <a:pt x="16" y="310"/>
                    </a:cubicBezTo>
                    <a:cubicBezTo>
                      <a:pt x="15" y="309"/>
                      <a:pt x="10" y="305"/>
                      <a:pt x="9" y="304"/>
                    </a:cubicBezTo>
                    <a:cubicBezTo>
                      <a:pt x="8" y="304"/>
                      <a:pt x="6" y="304"/>
                      <a:pt x="5" y="302"/>
                    </a:cubicBezTo>
                    <a:cubicBezTo>
                      <a:pt x="5" y="301"/>
                      <a:pt x="8" y="300"/>
                      <a:pt x="7" y="296"/>
                    </a:cubicBezTo>
                    <a:cubicBezTo>
                      <a:pt x="7" y="295"/>
                      <a:pt x="3" y="297"/>
                      <a:pt x="3" y="296"/>
                    </a:cubicBezTo>
                    <a:cubicBezTo>
                      <a:pt x="3" y="294"/>
                      <a:pt x="6" y="293"/>
                      <a:pt x="6" y="291"/>
                    </a:cubicBezTo>
                    <a:cubicBezTo>
                      <a:pt x="6" y="290"/>
                      <a:pt x="5" y="290"/>
                      <a:pt x="4" y="28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98" name="Freeform 212"/>
            <p:cNvSpPr>
              <a:spLocks/>
            </p:cNvSpPr>
            <p:nvPr/>
          </p:nvSpPr>
          <p:spPr bwMode="auto">
            <a:xfrm>
              <a:off x="4013972" y="4292858"/>
              <a:ext cx="63976" cy="33255"/>
            </a:xfrm>
            <a:custGeom>
              <a:avLst/>
              <a:gdLst>
                <a:gd name="T0" fmla="*/ 0 w 23"/>
                <a:gd name="T1" fmla="*/ 2397 h 12"/>
                <a:gd name="T2" fmla="*/ 66061 w 23"/>
                <a:gd name="T3" fmla="*/ 3596 h 12"/>
                <a:gd name="T4" fmla="*/ 56518 w 23"/>
                <a:gd name="T5" fmla="*/ 5394 h 12"/>
                <a:gd name="T6" fmla="*/ 43014 w 23"/>
                <a:gd name="T7" fmla="*/ 7748 h 12"/>
                <a:gd name="T8" fmla="*/ 14625 w 23"/>
                <a:gd name="T9" fmla="*/ 5165 h 12"/>
                <a:gd name="T10" fmla="*/ 0 w 23"/>
                <a:gd name="T11" fmla="*/ 2397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3" h="12">
                  <a:moveTo>
                    <a:pt x="0" y="3"/>
                  </a:moveTo>
                  <a:cubicBezTo>
                    <a:pt x="0" y="0"/>
                    <a:pt x="20" y="4"/>
                    <a:pt x="22" y="5"/>
                  </a:cubicBezTo>
                  <a:cubicBezTo>
                    <a:pt x="23" y="7"/>
                    <a:pt x="19" y="8"/>
                    <a:pt x="18" y="8"/>
                  </a:cubicBezTo>
                  <a:cubicBezTo>
                    <a:pt x="16" y="8"/>
                    <a:pt x="17" y="10"/>
                    <a:pt x="14" y="11"/>
                  </a:cubicBezTo>
                  <a:cubicBezTo>
                    <a:pt x="11" y="12"/>
                    <a:pt x="6" y="9"/>
                    <a:pt x="5" y="7"/>
                  </a:cubicBezTo>
                  <a:cubicBezTo>
                    <a:pt x="5" y="6"/>
                    <a:pt x="0" y="5"/>
                    <a:pt x="0" y="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99" name="Freeform 213"/>
            <p:cNvSpPr>
              <a:spLocks/>
            </p:cNvSpPr>
            <p:nvPr/>
          </p:nvSpPr>
          <p:spPr bwMode="auto">
            <a:xfrm>
              <a:off x="4010605" y="4416639"/>
              <a:ext cx="249170" cy="336241"/>
            </a:xfrm>
            <a:custGeom>
              <a:avLst/>
              <a:gdLst>
                <a:gd name="T0" fmla="*/ 24362 w 89"/>
                <a:gd name="T1" fmla="*/ 25130 h 128"/>
                <a:gd name="T2" fmla="*/ 0 w 89"/>
                <a:gd name="T3" fmla="*/ 24263 h 128"/>
                <a:gd name="T4" fmla="*/ 9979 w 89"/>
                <a:gd name="T5" fmla="*/ 21858 h 128"/>
                <a:gd name="T6" fmla="*/ 31228 w 89"/>
                <a:gd name="T7" fmla="*/ 21389 h 128"/>
                <a:gd name="T8" fmla="*/ 47087 w 89"/>
                <a:gd name="T9" fmla="*/ 19249 h 128"/>
                <a:gd name="T10" fmla="*/ 34906 w 89"/>
                <a:gd name="T11" fmla="*/ 18018 h 128"/>
                <a:gd name="T12" fmla="*/ 37063 w 89"/>
                <a:gd name="T13" fmla="*/ 15925 h 128"/>
                <a:gd name="T14" fmla="*/ 37063 w 89"/>
                <a:gd name="T15" fmla="*/ 13117 h 128"/>
                <a:gd name="T16" fmla="*/ 24362 w 89"/>
                <a:gd name="T17" fmla="*/ 11755 h 128"/>
                <a:gd name="T18" fmla="*/ 40512 w 89"/>
                <a:gd name="T19" fmla="*/ 10580 h 128"/>
                <a:gd name="T20" fmla="*/ 45888 w 89"/>
                <a:gd name="T21" fmla="*/ 8742 h 128"/>
                <a:gd name="T22" fmla="*/ 51930 w 89"/>
                <a:gd name="T23" fmla="*/ 8912 h 128"/>
                <a:gd name="T24" fmla="*/ 82747 w 89"/>
                <a:gd name="T25" fmla="*/ 7094 h 128"/>
                <a:gd name="T26" fmla="*/ 86356 w 89"/>
                <a:gd name="T27" fmla="*/ 5233 h 128"/>
                <a:gd name="T28" fmla="*/ 98982 w 89"/>
                <a:gd name="T29" fmla="*/ 3277 h 128"/>
                <a:gd name="T30" fmla="*/ 133622 w 89"/>
                <a:gd name="T31" fmla="*/ 2740 h 128"/>
                <a:gd name="T32" fmla="*/ 180568 w 89"/>
                <a:gd name="T33" fmla="*/ 1 h 128"/>
                <a:gd name="T34" fmla="*/ 201666 w 89"/>
                <a:gd name="T35" fmla="*/ 883 h 128"/>
                <a:gd name="T36" fmla="*/ 186294 w 89"/>
                <a:gd name="T37" fmla="*/ 2257 h 128"/>
                <a:gd name="T38" fmla="*/ 184968 w 89"/>
                <a:gd name="T39" fmla="*/ 2740 h 128"/>
                <a:gd name="T40" fmla="*/ 166350 w 89"/>
                <a:gd name="T41" fmla="*/ 3896 h 128"/>
                <a:gd name="T42" fmla="*/ 155889 w 89"/>
                <a:gd name="T43" fmla="*/ 5133 h 128"/>
                <a:gd name="T44" fmla="*/ 148993 w 89"/>
                <a:gd name="T45" fmla="*/ 7441 h 128"/>
                <a:gd name="T46" fmla="*/ 166350 w 89"/>
                <a:gd name="T47" fmla="*/ 10087 h 128"/>
                <a:gd name="T48" fmla="*/ 180568 w 89"/>
                <a:gd name="T49" fmla="*/ 12430 h 128"/>
                <a:gd name="T50" fmla="*/ 228821 w 89"/>
                <a:gd name="T51" fmla="*/ 12498 h 128"/>
                <a:gd name="T52" fmla="*/ 253496 w 89"/>
                <a:gd name="T53" fmla="*/ 14342 h 128"/>
                <a:gd name="T54" fmla="*/ 298162 w 89"/>
                <a:gd name="T55" fmla="*/ 13983 h 128"/>
                <a:gd name="T56" fmla="*/ 294814 w 89"/>
                <a:gd name="T57" fmla="*/ 16158 h 128"/>
                <a:gd name="T58" fmla="*/ 294814 w 89"/>
                <a:gd name="T59" fmla="*/ 18651 h 128"/>
                <a:gd name="T60" fmla="*/ 304208 w 89"/>
                <a:gd name="T61" fmla="*/ 19882 h 128"/>
                <a:gd name="T62" fmla="*/ 294814 w 89"/>
                <a:gd name="T63" fmla="*/ 21389 h 128"/>
                <a:gd name="T64" fmla="*/ 304208 w 89"/>
                <a:gd name="T65" fmla="*/ 22643 h 128"/>
                <a:gd name="T66" fmla="*/ 283418 w 89"/>
                <a:gd name="T67" fmla="*/ 23765 h 128"/>
                <a:gd name="T68" fmla="*/ 238800 w 89"/>
                <a:gd name="T69" fmla="*/ 23919 h 128"/>
                <a:gd name="T70" fmla="*/ 232505 w 89"/>
                <a:gd name="T71" fmla="*/ 27555 h 128"/>
                <a:gd name="T72" fmla="*/ 253496 w 89"/>
                <a:gd name="T73" fmla="*/ 30637 h 128"/>
                <a:gd name="T74" fmla="*/ 236589 w 89"/>
                <a:gd name="T75" fmla="*/ 35732 h 128"/>
                <a:gd name="T76" fmla="*/ 211015 w 89"/>
                <a:gd name="T77" fmla="*/ 34968 h 128"/>
                <a:gd name="T78" fmla="*/ 217806 w 89"/>
                <a:gd name="T79" fmla="*/ 32668 h 128"/>
                <a:gd name="T80" fmla="*/ 160515 w 89"/>
                <a:gd name="T81" fmla="*/ 32668 h 128"/>
                <a:gd name="T82" fmla="*/ 108585 w 89"/>
                <a:gd name="T83" fmla="*/ 27873 h 128"/>
                <a:gd name="T84" fmla="*/ 86356 w 89"/>
                <a:gd name="T85" fmla="*/ 27080 h 128"/>
                <a:gd name="T86" fmla="*/ 71451 w 89"/>
                <a:gd name="T87" fmla="*/ 27080 h 128"/>
                <a:gd name="T88" fmla="*/ 40512 w 89"/>
                <a:gd name="T89" fmla="*/ 26410 h 128"/>
                <a:gd name="T90" fmla="*/ 24362 w 89"/>
                <a:gd name="T91" fmla="*/ 25130 h 12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89" h="128">
                  <a:moveTo>
                    <a:pt x="7" y="9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1" y="84"/>
                    <a:pt x="2" y="79"/>
                    <a:pt x="3" y="78"/>
                  </a:cubicBezTo>
                  <a:cubicBezTo>
                    <a:pt x="4" y="76"/>
                    <a:pt x="8" y="78"/>
                    <a:pt x="9" y="77"/>
                  </a:cubicBezTo>
                  <a:cubicBezTo>
                    <a:pt x="11" y="76"/>
                    <a:pt x="13" y="70"/>
                    <a:pt x="14" y="69"/>
                  </a:cubicBezTo>
                  <a:cubicBezTo>
                    <a:pt x="15" y="68"/>
                    <a:pt x="9" y="66"/>
                    <a:pt x="10" y="65"/>
                  </a:cubicBezTo>
                  <a:cubicBezTo>
                    <a:pt x="11" y="64"/>
                    <a:pt x="11" y="59"/>
                    <a:pt x="11" y="57"/>
                  </a:cubicBezTo>
                  <a:cubicBezTo>
                    <a:pt x="11" y="56"/>
                    <a:pt x="11" y="49"/>
                    <a:pt x="11" y="47"/>
                  </a:cubicBezTo>
                  <a:cubicBezTo>
                    <a:pt x="11" y="46"/>
                    <a:pt x="9" y="44"/>
                    <a:pt x="7" y="42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4" y="32"/>
                    <a:pt x="15" y="32"/>
                  </a:cubicBezTo>
                  <a:cubicBezTo>
                    <a:pt x="17" y="32"/>
                    <a:pt x="24" y="27"/>
                    <a:pt x="24" y="25"/>
                  </a:cubicBezTo>
                  <a:cubicBezTo>
                    <a:pt x="24" y="24"/>
                    <a:pt x="25" y="21"/>
                    <a:pt x="25" y="19"/>
                  </a:cubicBezTo>
                  <a:cubicBezTo>
                    <a:pt x="25" y="16"/>
                    <a:pt x="27" y="14"/>
                    <a:pt x="29" y="12"/>
                  </a:cubicBezTo>
                  <a:cubicBezTo>
                    <a:pt x="32" y="11"/>
                    <a:pt x="35" y="10"/>
                    <a:pt x="39" y="10"/>
                  </a:cubicBezTo>
                  <a:cubicBezTo>
                    <a:pt x="47" y="11"/>
                    <a:pt x="51" y="2"/>
                    <a:pt x="53" y="1"/>
                  </a:cubicBezTo>
                  <a:cubicBezTo>
                    <a:pt x="55" y="1"/>
                    <a:pt x="58" y="0"/>
                    <a:pt x="59" y="3"/>
                  </a:cubicBezTo>
                  <a:cubicBezTo>
                    <a:pt x="61" y="6"/>
                    <a:pt x="58" y="7"/>
                    <a:pt x="55" y="8"/>
                  </a:cubicBezTo>
                  <a:cubicBezTo>
                    <a:pt x="55" y="8"/>
                    <a:pt x="54" y="9"/>
                    <a:pt x="54" y="10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7" y="14"/>
                    <a:pt x="46" y="18"/>
                  </a:cubicBezTo>
                  <a:cubicBezTo>
                    <a:pt x="45" y="21"/>
                    <a:pt x="43" y="26"/>
                    <a:pt x="43" y="27"/>
                  </a:cubicBezTo>
                  <a:cubicBezTo>
                    <a:pt x="43" y="28"/>
                    <a:pt x="49" y="34"/>
                    <a:pt x="49" y="36"/>
                  </a:cubicBezTo>
                  <a:cubicBezTo>
                    <a:pt x="49" y="39"/>
                    <a:pt x="52" y="43"/>
                    <a:pt x="53" y="44"/>
                  </a:cubicBezTo>
                  <a:cubicBezTo>
                    <a:pt x="55" y="44"/>
                    <a:pt x="64" y="43"/>
                    <a:pt x="67" y="45"/>
                  </a:cubicBezTo>
                  <a:cubicBezTo>
                    <a:pt x="70" y="47"/>
                    <a:pt x="71" y="51"/>
                    <a:pt x="74" y="51"/>
                  </a:cubicBezTo>
                  <a:cubicBezTo>
                    <a:pt x="77" y="51"/>
                    <a:pt x="85" y="49"/>
                    <a:pt x="87" y="50"/>
                  </a:cubicBezTo>
                  <a:cubicBezTo>
                    <a:pt x="88" y="51"/>
                    <a:pt x="86" y="55"/>
                    <a:pt x="86" y="58"/>
                  </a:cubicBezTo>
                  <a:cubicBezTo>
                    <a:pt x="85" y="61"/>
                    <a:pt x="85" y="66"/>
                    <a:pt x="86" y="67"/>
                  </a:cubicBezTo>
                  <a:cubicBezTo>
                    <a:pt x="87" y="69"/>
                    <a:pt x="89" y="70"/>
                    <a:pt x="89" y="71"/>
                  </a:cubicBezTo>
                  <a:cubicBezTo>
                    <a:pt x="89" y="72"/>
                    <a:pt x="86" y="76"/>
                    <a:pt x="86" y="77"/>
                  </a:cubicBezTo>
                  <a:cubicBezTo>
                    <a:pt x="86" y="77"/>
                    <a:pt x="87" y="79"/>
                    <a:pt x="89" y="81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1" y="85"/>
                    <a:pt x="71" y="84"/>
                    <a:pt x="70" y="86"/>
                  </a:cubicBezTo>
                  <a:cubicBezTo>
                    <a:pt x="69" y="87"/>
                    <a:pt x="67" y="97"/>
                    <a:pt x="68" y="99"/>
                  </a:cubicBezTo>
                  <a:cubicBezTo>
                    <a:pt x="70" y="101"/>
                    <a:pt x="74" y="107"/>
                    <a:pt x="74" y="110"/>
                  </a:cubicBezTo>
                  <a:cubicBezTo>
                    <a:pt x="73" y="112"/>
                    <a:pt x="71" y="123"/>
                    <a:pt x="69" y="128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62" y="125"/>
                    <a:pt x="66" y="118"/>
                    <a:pt x="64" y="117"/>
                  </a:cubicBezTo>
                  <a:cubicBezTo>
                    <a:pt x="62" y="115"/>
                    <a:pt x="51" y="119"/>
                    <a:pt x="47" y="117"/>
                  </a:cubicBezTo>
                  <a:cubicBezTo>
                    <a:pt x="44" y="115"/>
                    <a:pt x="35" y="102"/>
                    <a:pt x="32" y="100"/>
                  </a:cubicBezTo>
                  <a:cubicBezTo>
                    <a:pt x="31" y="98"/>
                    <a:pt x="28" y="97"/>
                    <a:pt x="25" y="97"/>
                  </a:cubicBezTo>
                  <a:cubicBezTo>
                    <a:pt x="24" y="97"/>
                    <a:pt x="22" y="97"/>
                    <a:pt x="21" y="97"/>
                  </a:cubicBezTo>
                  <a:cubicBezTo>
                    <a:pt x="19" y="96"/>
                    <a:pt x="13" y="97"/>
                    <a:pt x="12" y="94"/>
                  </a:cubicBezTo>
                  <a:cubicBezTo>
                    <a:pt x="10" y="92"/>
                    <a:pt x="9" y="91"/>
                    <a:pt x="7" y="90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0" name="Freeform 214"/>
            <p:cNvSpPr>
              <a:spLocks/>
            </p:cNvSpPr>
            <p:nvPr/>
          </p:nvSpPr>
          <p:spPr bwMode="auto">
            <a:xfrm>
              <a:off x="3968515" y="4645727"/>
              <a:ext cx="114484" cy="131171"/>
            </a:xfrm>
            <a:custGeom>
              <a:avLst/>
              <a:gdLst>
                <a:gd name="T0" fmla="*/ 0 w 41"/>
                <a:gd name="T1" fmla="*/ 7322 h 50"/>
                <a:gd name="T2" fmla="*/ 0 w 41"/>
                <a:gd name="T3" fmla="*/ 5429 h 50"/>
                <a:gd name="T4" fmla="*/ 14315 w 41"/>
                <a:gd name="T5" fmla="*/ 3823 h 50"/>
                <a:gd name="T6" fmla="*/ 15740 w 41"/>
                <a:gd name="T7" fmla="*/ 1335 h 50"/>
                <a:gd name="T8" fmla="*/ 44878 w 41"/>
                <a:gd name="T9" fmla="*/ 1 h 50"/>
                <a:gd name="T10" fmla="*/ 48788 w 41"/>
                <a:gd name="T11" fmla="*/ 0 h 50"/>
                <a:gd name="T12" fmla="*/ 71808 w 41"/>
                <a:gd name="T13" fmla="*/ 879 h 50"/>
                <a:gd name="T14" fmla="*/ 89264 w 41"/>
                <a:gd name="T15" fmla="*/ 1896 h 50"/>
                <a:gd name="T16" fmla="*/ 119096 w 41"/>
                <a:gd name="T17" fmla="*/ 2692 h 50"/>
                <a:gd name="T18" fmla="*/ 130064 w 41"/>
                <a:gd name="T19" fmla="*/ 2692 h 50"/>
                <a:gd name="T20" fmla="*/ 130064 w 41"/>
                <a:gd name="T21" fmla="*/ 4134 h 50"/>
                <a:gd name="T22" fmla="*/ 134204 w 41"/>
                <a:gd name="T23" fmla="*/ 5870 h 50"/>
                <a:gd name="T24" fmla="*/ 110566 w 41"/>
                <a:gd name="T25" fmla="*/ 8335 h 50"/>
                <a:gd name="T26" fmla="*/ 68930 w 41"/>
                <a:gd name="T27" fmla="*/ 10231 h 50"/>
                <a:gd name="T28" fmla="*/ 44878 w 41"/>
                <a:gd name="T29" fmla="*/ 13425 h 50"/>
                <a:gd name="T30" fmla="*/ 32968 w 41"/>
                <a:gd name="T31" fmla="*/ 12517 h 50"/>
                <a:gd name="T32" fmla="*/ 15740 w 41"/>
                <a:gd name="T33" fmla="*/ 11530 h 50"/>
                <a:gd name="T34" fmla="*/ 14315 w 41"/>
                <a:gd name="T35" fmla="*/ 10397 h 50"/>
                <a:gd name="T36" fmla="*/ 19878 w 41"/>
                <a:gd name="T37" fmla="*/ 10231 h 50"/>
                <a:gd name="T38" fmla="*/ 26105 w 41"/>
                <a:gd name="T39" fmla="*/ 8335 h 50"/>
                <a:gd name="T40" fmla="*/ 15740 w 41"/>
                <a:gd name="T41" fmla="*/ 8335 h 50"/>
                <a:gd name="T42" fmla="*/ 0 w 41"/>
                <a:gd name="T43" fmla="*/ 7322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1" h="50">
                  <a:moveTo>
                    <a:pt x="0" y="27"/>
                  </a:moveTo>
                  <a:cubicBezTo>
                    <a:pt x="0" y="26"/>
                    <a:pt x="0" y="22"/>
                    <a:pt x="0" y="20"/>
                  </a:cubicBezTo>
                  <a:cubicBezTo>
                    <a:pt x="0" y="18"/>
                    <a:pt x="3" y="16"/>
                    <a:pt x="4" y="14"/>
                  </a:cubicBezTo>
                  <a:cubicBezTo>
                    <a:pt x="6" y="11"/>
                    <a:pt x="4" y="6"/>
                    <a:pt x="5" y="5"/>
                  </a:cubicBezTo>
                  <a:cubicBezTo>
                    <a:pt x="5" y="4"/>
                    <a:pt x="12" y="1"/>
                    <a:pt x="14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4"/>
                    <a:pt x="25" y="5"/>
                    <a:pt x="27" y="7"/>
                  </a:cubicBezTo>
                  <a:cubicBezTo>
                    <a:pt x="28" y="10"/>
                    <a:pt x="34" y="9"/>
                    <a:pt x="36" y="10"/>
                  </a:cubicBezTo>
                  <a:cubicBezTo>
                    <a:pt x="37" y="10"/>
                    <a:pt x="39" y="10"/>
                    <a:pt x="40" y="10"/>
                  </a:cubicBezTo>
                  <a:cubicBezTo>
                    <a:pt x="40" y="10"/>
                    <a:pt x="40" y="13"/>
                    <a:pt x="40" y="15"/>
                  </a:cubicBezTo>
                  <a:cubicBezTo>
                    <a:pt x="40" y="15"/>
                    <a:pt x="41" y="19"/>
                    <a:pt x="41" y="21"/>
                  </a:cubicBezTo>
                  <a:cubicBezTo>
                    <a:pt x="41" y="24"/>
                    <a:pt x="36" y="28"/>
                    <a:pt x="34" y="30"/>
                  </a:cubicBezTo>
                  <a:cubicBezTo>
                    <a:pt x="31" y="33"/>
                    <a:pt x="23" y="35"/>
                    <a:pt x="21" y="37"/>
                  </a:cubicBezTo>
                  <a:cubicBezTo>
                    <a:pt x="20" y="39"/>
                    <a:pt x="15" y="48"/>
                    <a:pt x="14" y="49"/>
                  </a:cubicBezTo>
                  <a:cubicBezTo>
                    <a:pt x="13" y="50"/>
                    <a:pt x="11" y="47"/>
                    <a:pt x="10" y="46"/>
                  </a:cubicBezTo>
                  <a:cubicBezTo>
                    <a:pt x="9" y="45"/>
                    <a:pt x="6" y="45"/>
                    <a:pt x="5" y="42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7"/>
                    <a:pt x="5" y="37"/>
                    <a:pt x="6" y="37"/>
                  </a:cubicBezTo>
                  <a:cubicBezTo>
                    <a:pt x="10" y="37"/>
                    <a:pt x="9" y="34"/>
                    <a:pt x="8" y="30"/>
                  </a:cubicBezTo>
                  <a:cubicBezTo>
                    <a:pt x="8" y="27"/>
                    <a:pt x="6" y="31"/>
                    <a:pt x="5" y="30"/>
                  </a:cubicBezTo>
                  <a:cubicBezTo>
                    <a:pt x="4" y="30"/>
                    <a:pt x="0" y="29"/>
                    <a:pt x="0" y="2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1" name="Freeform 215"/>
            <p:cNvSpPr>
              <a:spLocks/>
            </p:cNvSpPr>
            <p:nvPr/>
          </p:nvSpPr>
          <p:spPr bwMode="auto">
            <a:xfrm>
              <a:off x="3956730" y="4671591"/>
              <a:ext cx="274424" cy="376885"/>
            </a:xfrm>
            <a:custGeom>
              <a:avLst/>
              <a:gdLst>
                <a:gd name="T0" fmla="*/ 0 w 98"/>
                <a:gd name="T1" fmla="*/ 10495 h 143"/>
                <a:gd name="T2" fmla="*/ 6009 w 98"/>
                <a:gd name="T3" fmla="*/ 9502 h 143"/>
                <a:gd name="T4" fmla="*/ 27650 w 98"/>
                <a:gd name="T5" fmla="*/ 8201 h 143"/>
                <a:gd name="T6" fmla="*/ 31281 w 98"/>
                <a:gd name="T7" fmla="*/ 9502 h 143"/>
                <a:gd name="T8" fmla="*/ 47149 w 98"/>
                <a:gd name="T9" fmla="*/ 10495 h 143"/>
                <a:gd name="T10" fmla="*/ 62081 w 98"/>
                <a:gd name="T11" fmla="*/ 11592 h 143"/>
                <a:gd name="T12" fmla="*/ 86538 w 98"/>
                <a:gd name="T13" fmla="*/ 8126 h 143"/>
                <a:gd name="T14" fmla="*/ 130435 w 98"/>
                <a:gd name="T15" fmla="*/ 5867 h 143"/>
                <a:gd name="T16" fmla="*/ 154918 w 98"/>
                <a:gd name="T17" fmla="*/ 3341 h 143"/>
                <a:gd name="T18" fmla="*/ 149945 w 98"/>
                <a:gd name="T19" fmla="*/ 1417 h 143"/>
                <a:gd name="T20" fmla="*/ 149945 w 98"/>
                <a:gd name="T21" fmla="*/ 0 h 143"/>
                <a:gd name="T22" fmla="*/ 175205 w 98"/>
                <a:gd name="T23" fmla="*/ 964 h 143"/>
                <a:gd name="T24" fmla="*/ 226888 w 98"/>
                <a:gd name="T25" fmla="*/ 5867 h 143"/>
                <a:gd name="T26" fmla="*/ 285656 w 98"/>
                <a:gd name="T27" fmla="*/ 5867 h 143"/>
                <a:gd name="T28" fmla="*/ 278800 w 98"/>
                <a:gd name="T29" fmla="*/ 8201 h 143"/>
                <a:gd name="T30" fmla="*/ 301407 w 98"/>
                <a:gd name="T31" fmla="*/ 9112 h 143"/>
                <a:gd name="T32" fmla="*/ 295369 w 98"/>
                <a:gd name="T33" fmla="*/ 10156 h 143"/>
                <a:gd name="T34" fmla="*/ 237212 w 98"/>
                <a:gd name="T35" fmla="*/ 11187 h 143"/>
                <a:gd name="T36" fmla="*/ 211611 w 98"/>
                <a:gd name="T37" fmla="*/ 13157 h 143"/>
                <a:gd name="T38" fmla="*/ 218217 w 98"/>
                <a:gd name="T39" fmla="*/ 14972 h 143"/>
                <a:gd name="T40" fmla="*/ 198158 w 98"/>
                <a:gd name="T41" fmla="*/ 16537 h 143"/>
                <a:gd name="T42" fmla="*/ 216948 w 98"/>
                <a:gd name="T43" fmla="*/ 21342 h 143"/>
                <a:gd name="T44" fmla="*/ 248226 w 98"/>
                <a:gd name="T45" fmla="*/ 22767 h 143"/>
                <a:gd name="T46" fmla="*/ 280277 w 98"/>
                <a:gd name="T47" fmla="*/ 21342 h 143"/>
                <a:gd name="T48" fmla="*/ 289207 w 98"/>
                <a:gd name="T49" fmla="*/ 24721 h 143"/>
                <a:gd name="T50" fmla="*/ 310949 w 98"/>
                <a:gd name="T51" fmla="*/ 24999 h 143"/>
                <a:gd name="T52" fmla="*/ 320204 w 98"/>
                <a:gd name="T53" fmla="*/ 25653 h 143"/>
                <a:gd name="T54" fmla="*/ 336091 w 98"/>
                <a:gd name="T55" fmla="*/ 28496 h 143"/>
                <a:gd name="T56" fmla="*/ 325885 w 98"/>
                <a:gd name="T57" fmla="*/ 29641 h 143"/>
                <a:gd name="T58" fmla="*/ 329589 w 98"/>
                <a:gd name="T59" fmla="*/ 32537 h 143"/>
                <a:gd name="T60" fmla="*/ 314903 w 98"/>
                <a:gd name="T61" fmla="*/ 35663 h 143"/>
                <a:gd name="T62" fmla="*/ 329589 w 98"/>
                <a:gd name="T63" fmla="*/ 37739 h 143"/>
                <a:gd name="T64" fmla="*/ 310949 w 98"/>
                <a:gd name="T65" fmla="*/ 40169 h 143"/>
                <a:gd name="T66" fmla="*/ 304822 w 98"/>
                <a:gd name="T67" fmla="*/ 41429 h 143"/>
                <a:gd name="T68" fmla="*/ 289207 w 98"/>
                <a:gd name="T69" fmla="*/ 42061 h 143"/>
                <a:gd name="T70" fmla="*/ 249398 w 98"/>
                <a:gd name="T71" fmla="*/ 39202 h 143"/>
                <a:gd name="T72" fmla="*/ 171744 w 98"/>
                <a:gd name="T73" fmla="*/ 35663 h 143"/>
                <a:gd name="T74" fmla="*/ 130435 w 98"/>
                <a:gd name="T75" fmla="*/ 32479 h 143"/>
                <a:gd name="T76" fmla="*/ 134071 w 98"/>
                <a:gd name="T77" fmla="*/ 30128 h 143"/>
                <a:gd name="T78" fmla="*/ 99177 w 98"/>
                <a:gd name="T79" fmla="*/ 25653 h 143"/>
                <a:gd name="T80" fmla="*/ 37325 w 98"/>
                <a:gd name="T81" fmla="*/ 15648 h 143"/>
                <a:gd name="T82" fmla="*/ 6009 w 98"/>
                <a:gd name="T83" fmla="*/ 14002 h 143"/>
                <a:gd name="T84" fmla="*/ 0 w 98"/>
                <a:gd name="T85" fmla="*/ 12605 h 143"/>
                <a:gd name="T86" fmla="*/ 9995 w 98"/>
                <a:gd name="T87" fmla="*/ 11940 h 143"/>
                <a:gd name="T88" fmla="*/ 0 w 98"/>
                <a:gd name="T89" fmla="*/ 10495 h 14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98" h="143">
                  <a:moveTo>
                    <a:pt x="0" y="36"/>
                  </a:moveTo>
                  <a:cubicBezTo>
                    <a:pt x="0" y="35"/>
                    <a:pt x="1" y="33"/>
                    <a:pt x="2" y="32"/>
                  </a:cubicBezTo>
                  <a:cubicBezTo>
                    <a:pt x="3" y="31"/>
                    <a:pt x="6" y="28"/>
                    <a:pt x="8" y="28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3" y="35"/>
                    <a:pt x="14" y="36"/>
                  </a:cubicBezTo>
                  <a:cubicBezTo>
                    <a:pt x="15" y="37"/>
                    <a:pt x="17" y="40"/>
                    <a:pt x="18" y="39"/>
                  </a:cubicBezTo>
                  <a:cubicBezTo>
                    <a:pt x="19" y="38"/>
                    <a:pt x="24" y="29"/>
                    <a:pt x="25" y="27"/>
                  </a:cubicBezTo>
                  <a:cubicBezTo>
                    <a:pt x="27" y="25"/>
                    <a:pt x="35" y="23"/>
                    <a:pt x="38" y="20"/>
                  </a:cubicBezTo>
                  <a:cubicBezTo>
                    <a:pt x="40" y="18"/>
                    <a:pt x="45" y="14"/>
                    <a:pt x="45" y="11"/>
                  </a:cubicBezTo>
                  <a:cubicBezTo>
                    <a:pt x="45" y="9"/>
                    <a:pt x="44" y="5"/>
                    <a:pt x="44" y="5"/>
                  </a:cubicBezTo>
                  <a:cubicBezTo>
                    <a:pt x="44" y="3"/>
                    <a:pt x="44" y="0"/>
                    <a:pt x="44" y="0"/>
                  </a:cubicBezTo>
                  <a:cubicBezTo>
                    <a:pt x="47" y="0"/>
                    <a:pt x="50" y="1"/>
                    <a:pt x="51" y="3"/>
                  </a:cubicBezTo>
                  <a:cubicBezTo>
                    <a:pt x="54" y="5"/>
                    <a:pt x="63" y="18"/>
                    <a:pt x="66" y="20"/>
                  </a:cubicBezTo>
                  <a:cubicBezTo>
                    <a:pt x="70" y="22"/>
                    <a:pt x="81" y="18"/>
                    <a:pt x="83" y="20"/>
                  </a:cubicBezTo>
                  <a:cubicBezTo>
                    <a:pt x="85" y="21"/>
                    <a:pt x="81" y="28"/>
                    <a:pt x="81" y="28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7" y="32"/>
                    <a:pt x="87" y="34"/>
                    <a:pt x="86" y="34"/>
                  </a:cubicBezTo>
                  <a:cubicBezTo>
                    <a:pt x="85" y="34"/>
                    <a:pt x="72" y="36"/>
                    <a:pt x="69" y="38"/>
                  </a:cubicBezTo>
                  <a:cubicBezTo>
                    <a:pt x="66" y="39"/>
                    <a:pt x="63" y="43"/>
                    <a:pt x="62" y="45"/>
                  </a:cubicBezTo>
                  <a:cubicBezTo>
                    <a:pt x="61" y="46"/>
                    <a:pt x="65" y="49"/>
                    <a:pt x="64" y="51"/>
                  </a:cubicBezTo>
                  <a:cubicBezTo>
                    <a:pt x="63" y="53"/>
                    <a:pt x="60" y="53"/>
                    <a:pt x="58" y="56"/>
                  </a:cubicBezTo>
                  <a:cubicBezTo>
                    <a:pt x="56" y="60"/>
                    <a:pt x="62" y="69"/>
                    <a:pt x="63" y="72"/>
                  </a:cubicBezTo>
                  <a:cubicBezTo>
                    <a:pt x="65" y="74"/>
                    <a:pt x="69" y="76"/>
                    <a:pt x="72" y="77"/>
                  </a:cubicBezTo>
                  <a:cubicBezTo>
                    <a:pt x="74" y="79"/>
                    <a:pt x="81" y="72"/>
                    <a:pt x="82" y="72"/>
                  </a:cubicBezTo>
                  <a:cubicBezTo>
                    <a:pt x="83" y="73"/>
                    <a:pt x="82" y="84"/>
                    <a:pt x="84" y="84"/>
                  </a:cubicBezTo>
                  <a:cubicBezTo>
                    <a:pt x="85" y="84"/>
                    <a:pt x="89" y="84"/>
                    <a:pt x="91" y="85"/>
                  </a:cubicBezTo>
                  <a:cubicBezTo>
                    <a:pt x="91" y="85"/>
                    <a:pt x="92" y="86"/>
                    <a:pt x="93" y="87"/>
                  </a:cubicBezTo>
                  <a:cubicBezTo>
                    <a:pt x="95" y="90"/>
                    <a:pt x="97" y="95"/>
                    <a:pt x="98" y="97"/>
                  </a:cubicBezTo>
                  <a:cubicBezTo>
                    <a:pt x="98" y="98"/>
                    <a:pt x="97" y="99"/>
                    <a:pt x="95" y="101"/>
                  </a:cubicBezTo>
                  <a:cubicBezTo>
                    <a:pt x="94" y="103"/>
                    <a:pt x="97" y="109"/>
                    <a:pt x="96" y="111"/>
                  </a:cubicBezTo>
                  <a:cubicBezTo>
                    <a:pt x="95" y="113"/>
                    <a:pt x="93" y="118"/>
                    <a:pt x="92" y="121"/>
                  </a:cubicBezTo>
                  <a:cubicBezTo>
                    <a:pt x="91" y="124"/>
                    <a:pt x="97" y="126"/>
                    <a:pt x="96" y="128"/>
                  </a:cubicBezTo>
                  <a:cubicBezTo>
                    <a:pt x="95" y="129"/>
                    <a:pt x="93" y="133"/>
                    <a:pt x="91" y="137"/>
                  </a:cubicBezTo>
                  <a:cubicBezTo>
                    <a:pt x="90" y="139"/>
                    <a:pt x="89" y="140"/>
                    <a:pt x="89" y="14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84" y="142"/>
                    <a:pt x="76" y="134"/>
                    <a:pt x="73" y="133"/>
                  </a:cubicBezTo>
                  <a:cubicBezTo>
                    <a:pt x="70" y="131"/>
                    <a:pt x="54" y="123"/>
                    <a:pt x="50" y="121"/>
                  </a:cubicBezTo>
                  <a:cubicBezTo>
                    <a:pt x="45" y="119"/>
                    <a:pt x="39" y="111"/>
                    <a:pt x="38" y="110"/>
                  </a:cubicBezTo>
                  <a:cubicBezTo>
                    <a:pt x="37" y="108"/>
                    <a:pt x="39" y="103"/>
                    <a:pt x="39" y="102"/>
                  </a:cubicBezTo>
                  <a:cubicBezTo>
                    <a:pt x="38" y="100"/>
                    <a:pt x="30" y="90"/>
                    <a:pt x="29" y="87"/>
                  </a:cubicBezTo>
                  <a:cubicBezTo>
                    <a:pt x="28" y="83"/>
                    <a:pt x="13" y="57"/>
                    <a:pt x="11" y="53"/>
                  </a:cubicBezTo>
                  <a:cubicBezTo>
                    <a:pt x="9" y="50"/>
                    <a:pt x="3" y="49"/>
                    <a:pt x="2" y="48"/>
                  </a:cubicBezTo>
                  <a:cubicBezTo>
                    <a:pt x="0" y="48"/>
                    <a:pt x="0" y="44"/>
                    <a:pt x="0" y="43"/>
                  </a:cubicBezTo>
                  <a:cubicBezTo>
                    <a:pt x="0" y="42"/>
                    <a:pt x="3" y="42"/>
                    <a:pt x="3" y="41"/>
                  </a:cubicBezTo>
                  <a:cubicBezTo>
                    <a:pt x="3" y="39"/>
                    <a:pt x="0" y="37"/>
                    <a:pt x="0" y="36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2" name="Freeform 216"/>
            <p:cNvSpPr>
              <a:spLocks/>
            </p:cNvSpPr>
            <p:nvPr/>
          </p:nvSpPr>
          <p:spPr bwMode="auto">
            <a:xfrm>
              <a:off x="3924742" y="4472064"/>
              <a:ext cx="122902" cy="57272"/>
            </a:xfrm>
            <a:custGeom>
              <a:avLst/>
              <a:gdLst>
                <a:gd name="T0" fmla="*/ 0 w 44"/>
                <a:gd name="T1" fmla="*/ 3000 h 22"/>
                <a:gd name="T2" fmla="*/ 5818 w 44"/>
                <a:gd name="T3" fmla="*/ 0 h 22"/>
                <a:gd name="T4" fmla="*/ 39617 w 44"/>
                <a:gd name="T5" fmla="*/ 1940 h 22"/>
                <a:gd name="T6" fmla="*/ 89619 w 44"/>
                <a:gd name="T7" fmla="*/ 693 h 22"/>
                <a:gd name="T8" fmla="*/ 134808 w 44"/>
                <a:gd name="T9" fmla="*/ 1940 h 22"/>
                <a:gd name="T10" fmla="*/ 144777 w 44"/>
                <a:gd name="T11" fmla="*/ 2407 h 22"/>
                <a:gd name="T12" fmla="*/ 141214 w 44"/>
                <a:gd name="T13" fmla="*/ 4172 h 22"/>
                <a:gd name="T14" fmla="*/ 125615 w 44"/>
                <a:gd name="T15" fmla="*/ 5095 h 22"/>
                <a:gd name="T16" fmla="*/ 125615 w 44"/>
                <a:gd name="T17" fmla="*/ 5095 h 22"/>
                <a:gd name="T18" fmla="*/ 114869 w 44"/>
                <a:gd name="T19" fmla="*/ 4227 h 22"/>
                <a:gd name="T20" fmla="*/ 121339 w 44"/>
                <a:gd name="T21" fmla="*/ 3000 h 22"/>
                <a:gd name="T22" fmla="*/ 96222 w 44"/>
                <a:gd name="T23" fmla="*/ 1940 h 22"/>
                <a:gd name="T24" fmla="*/ 81254 w 44"/>
                <a:gd name="T25" fmla="*/ 2734 h 22"/>
                <a:gd name="T26" fmla="*/ 65728 w 44"/>
                <a:gd name="T27" fmla="*/ 3392 h 22"/>
                <a:gd name="T28" fmla="*/ 73136 w 44"/>
                <a:gd name="T29" fmla="*/ 4780 h 22"/>
                <a:gd name="T30" fmla="*/ 54017 w 44"/>
                <a:gd name="T31" fmla="*/ 5348 h 22"/>
                <a:gd name="T32" fmla="*/ 39617 w 44"/>
                <a:gd name="T33" fmla="*/ 4227 h 22"/>
                <a:gd name="T34" fmla="*/ 19934 w 44"/>
                <a:gd name="T35" fmla="*/ 3392 h 22"/>
                <a:gd name="T36" fmla="*/ 0 w 44"/>
                <a:gd name="T37" fmla="*/ 300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4" h="22">
                  <a:moveTo>
                    <a:pt x="0" y="13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5" y="3"/>
                    <a:pt x="10" y="7"/>
                    <a:pt x="12" y="8"/>
                  </a:cubicBezTo>
                  <a:cubicBezTo>
                    <a:pt x="15" y="11"/>
                    <a:pt x="23" y="3"/>
                    <a:pt x="27" y="3"/>
                  </a:cubicBezTo>
                  <a:cubicBezTo>
                    <a:pt x="32" y="2"/>
                    <a:pt x="38" y="5"/>
                    <a:pt x="41" y="8"/>
                  </a:cubicBezTo>
                  <a:cubicBezTo>
                    <a:pt x="42" y="9"/>
                    <a:pt x="43" y="10"/>
                    <a:pt x="44" y="10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0"/>
                    <a:pt x="35" y="18"/>
                    <a:pt x="35" y="18"/>
                  </a:cubicBezTo>
                  <a:cubicBezTo>
                    <a:pt x="34" y="17"/>
                    <a:pt x="37" y="14"/>
                    <a:pt x="37" y="13"/>
                  </a:cubicBezTo>
                  <a:cubicBezTo>
                    <a:pt x="37" y="12"/>
                    <a:pt x="31" y="8"/>
                    <a:pt x="29" y="8"/>
                  </a:cubicBezTo>
                  <a:cubicBezTo>
                    <a:pt x="27" y="8"/>
                    <a:pt x="26" y="10"/>
                    <a:pt x="25" y="11"/>
                  </a:cubicBezTo>
                  <a:cubicBezTo>
                    <a:pt x="24" y="11"/>
                    <a:pt x="20" y="13"/>
                    <a:pt x="20" y="14"/>
                  </a:cubicBezTo>
                  <a:cubicBezTo>
                    <a:pt x="18" y="15"/>
                    <a:pt x="24" y="19"/>
                    <a:pt x="22" y="20"/>
                  </a:cubicBezTo>
                  <a:cubicBezTo>
                    <a:pt x="21" y="20"/>
                    <a:pt x="17" y="22"/>
                    <a:pt x="16" y="22"/>
                  </a:cubicBezTo>
                  <a:cubicBezTo>
                    <a:pt x="14" y="22"/>
                    <a:pt x="14" y="19"/>
                    <a:pt x="12" y="18"/>
                  </a:cubicBezTo>
                  <a:cubicBezTo>
                    <a:pt x="11" y="17"/>
                    <a:pt x="8" y="14"/>
                    <a:pt x="6" y="14"/>
                  </a:cubicBezTo>
                  <a:cubicBezTo>
                    <a:pt x="5" y="14"/>
                    <a:pt x="2" y="14"/>
                    <a:pt x="0" y="1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3" name="Freeform 217"/>
            <p:cNvSpPr>
              <a:spLocks/>
            </p:cNvSpPr>
            <p:nvPr/>
          </p:nvSpPr>
          <p:spPr bwMode="auto">
            <a:xfrm>
              <a:off x="3887703" y="4202332"/>
              <a:ext cx="227284" cy="73899"/>
            </a:xfrm>
            <a:custGeom>
              <a:avLst/>
              <a:gdLst>
                <a:gd name="T0" fmla="*/ 6147 w 81"/>
                <a:gd name="T1" fmla="*/ 3537 h 28"/>
                <a:gd name="T2" fmla="*/ 6147 w 81"/>
                <a:gd name="T3" fmla="*/ 3400 h 28"/>
                <a:gd name="T4" fmla="*/ 3688 w 81"/>
                <a:gd name="T5" fmla="*/ 2830 h 28"/>
                <a:gd name="T6" fmla="*/ 17075 w 81"/>
                <a:gd name="T7" fmla="*/ 1387 h 28"/>
                <a:gd name="T8" fmla="*/ 89597 w 81"/>
                <a:gd name="T9" fmla="*/ 0 h 28"/>
                <a:gd name="T10" fmla="*/ 99730 w 81"/>
                <a:gd name="T11" fmla="*/ 0 h 28"/>
                <a:gd name="T12" fmla="*/ 124037 w 81"/>
                <a:gd name="T13" fmla="*/ 0 h 28"/>
                <a:gd name="T14" fmla="*/ 149328 w 81"/>
                <a:gd name="T15" fmla="*/ 1456 h 28"/>
                <a:gd name="T16" fmla="*/ 181388 w 81"/>
                <a:gd name="T17" fmla="*/ 1981 h 28"/>
                <a:gd name="T18" fmla="*/ 229513 w 81"/>
                <a:gd name="T19" fmla="*/ 4386 h 28"/>
                <a:gd name="T20" fmla="*/ 287270 w 81"/>
                <a:gd name="T21" fmla="*/ 6939 h 28"/>
                <a:gd name="T22" fmla="*/ 261770 w 81"/>
                <a:gd name="T23" fmla="*/ 7910 h 28"/>
                <a:gd name="T24" fmla="*/ 187370 w 81"/>
                <a:gd name="T25" fmla="*/ 8387 h 28"/>
                <a:gd name="T26" fmla="*/ 201217 w 81"/>
                <a:gd name="T27" fmla="*/ 6063 h 28"/>
                <a:gd name="T28" fmla="*/ 174422 w 81"/>
                <a:gd name="T29" fmla="*/ 5537 h 28"/>
                <a:gd name="T30" fmla="*/ 163255 w 81"/>
                <a:gd name="T31" fmla="*/ 4043 h 28"/>
                <a:gd name="T32" fmla="*/ 131750 w 81"/>
                <a:gd name="T33" fmla="*/ 3400 h 28"/>
                <a:gd name="T34" fmla="*/ 86008 w 81"/>
                <a:gd name="T35" fmla="*/ 2830 h 28"/>
                <a:gd name="T36" fmla="*/ 57328 w 81"/>
                <a:gd name="T37" fmla="*/ 2080 h 28"/>
                <a:gd name="T38" fmla="*/ 28458 w 81"/>
                <a:gd name="T39" fmla="*/ 2971 h 28"/>
                <a:gd name="T40" fmla="*/ 6147 w 81"/>
                <a:gd name="T41" fmla="*/ 3537 h 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1" h="28">
                  <a:moveTo>
                    <a:pt x="2" y="12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0" y="8"/>
                    <a:pt x="3" y="5"/>
                    <a:pt x="5" y="4"/>
                  </a:cubicBezTo>
                  <a:cubicBezTo>
                    <a:pt x="7" y="3"/>
                    <a:pt x="22" y="0"/>
                    <a:pt x="25" y="0"/>
                  </a:cubicBezTo>
                  <a:cubicBezTo>
                    <a:pt x="25" y="0"/>
                    <a:pt x="27" y="0"/>
                    <a:pt x="28" y="0"/>
                  </a:cubicBezTo>
                  <a:cubicBezTo>
                    <a:pt x="31" y="0"/>
                    <a:pt x="33" y="0"/>
                    <a:pt x="35" y="0"/>
                  </a:cubicBezTo>
                  <a:cubicBezTo>
                    <a:pt x="37" y="1"/>
                    <a:pt x="39" y="4"/>
                    <a:pt x="42" y="5"/>
                  </a:cubicBezTo>
                  <a:cubicBezTo>
                    <a:pt x="44" y="5"/>
                    <a:pt x="47" y="4"/>
                    <a:pt x="51" y="6"/>
                  </a:cubicBezTo>
                  <a:cubicBezTo>
                    <a:pt x="55" y="9"/>
                    <a:pt x="63" y="14"/>
                    <a:pt x="65" y="15"/>
                  </a:cubicBezTo>
                  <a:cubicBezTo>
                    <a:pt x="68" y="16"/>
                    <a:pt x="81" y="21"/>
                    <a:pt x="81" y="23"/>
                  </a:cubicBezTo>
                  <a:cubicBezTo>
                    <a:pt x="81" y="24"/>
                    <a:pt x="77" y="26"/>
                    <a:pt x="74" y="26"/>
                  </a:cubicBezTo>
                  <a:cubicBezTo>
                    <a:pt x="71" y="26"/>
                    <a:pt x="55" y="28"/>
                    <a:pt x="53" y="28"/>
                  </a:cubicBezTo>
                  <a:cubicBezTo>
                    <a:pt x="51" y="27"/>
                    <a:pt x="59" y="21"/>
                    <a:pt x="57" y="20"/>
                  </a:cubicBezTo>
                  <a:cubicBezTo>
                    <a:pt x="55" y="18"/>
                    <a:pt x="51" y="20"/>
                    <a:pt x="49" y="18"/>
                  </a:cubicBezTo>
                  <a:cubicBezTo>
                    <a:pt x="47" y="17"/>
                    <a:pt x="49" y="13"/>
                    <a:pt x="46" y="13"/>
                  </a:cubicBezTo>
                  <a:cubicBezTo>
                    <a:pt x="44" y="12"/>
                    <a:pt x="40" y="13"/>
                    <a:pt x="37" y="11"/>
                  </a:cubicBezTo>
                  <a:cubicBezTo>
                    <a:pt x="33" y="10"/>
                    <a:pt x="25" y="10"/>
                    <a:pt x="24" y="9"/>
                  </a:cubicBezTo>
                  <a:cubicBezTo>
                    <a:pt x="23" y="9"/>
                    <a:pt x="19" y="6"/>
                    <a:pt x="16" y="7"/>
                  </a:cubicBezTo>
                  <a:cubicBezTo>
                    <a:pt x="13" y="8"/>
                    <a:pt x="10" y="9"/>
                    <a:pt x="8" y="10"/>
                  </a:cubicBezTo>
                  <a:cubicBezTo>
                    <a:pt x="6" y="10"/>
                    <a:pt x="3" y="12"/>
                    <a:pt x="2" y="12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4" name="Freeform 218"/>
            <p:cNvSpPr>
              <a:spLocks/>
            </p:cNvSpPr>
            <p:nvPr/>
          </p:nvSpPr>
          <p:spPr bwMode="auto">
            <a:xfrm>
              <a:off x="3857399" y="4449894"/>
              <a:ext cx="72394" cy="57272"/>
            </a:xfrm>
            <a:custGeom>
              <a:avLst/>
              <a:gdLst>
                <a:gd name="T0" fmla="*/ 25092 w 26"/>
                <a:gd name="T1" fmla="*/ 7257 h 21"/>
                <a:gd name="T2" fmla="*/ 5547 w 26"/>
                <a:gd name="T3" fmla="*/ 4417 h 21"/>
                <a:gd name="T4" fmla="*/ 9174 w 26"/>
                <a:gd name="T5" fmla="*/ 930 h 21"/>
                <a:gd name="T6" fmla="*/ 5547 w 26"/>
                <a:gd name="T7" fmla="*/ 0 h 21"/>
                <a:gd name="T8" fmla="*/ 57360 w 26"/>
                <a:gd name="T9" fmla="*/ 0 h 21"/>
                <a:gd name="T10" fmla="*/ 81252 w 26"/>
                <a:gd name="T11" fmla="*/ 4265 h 21"/>
                <a:gd name="T12" fmla="*/ 75425 w 26"/>
                <a:gd name="T13" fmla="*/ 10713 h 21"/>
                <a:gd name="T14" fmla="*/ 63250 w 26"/>
                <a:gd name="T15" fmla="*/ 10323 h 21"/>
                <a:gd name="T16" fmla="*/ 57360 w 26"/>
                <a:gd name="T17" fmla="*/ 7418 h 21"/>
                <a:gd name="T18" fmla="*/ 31832 w 26"/>
                <a:gd name="T19" fmla="*/ 4265 h 21"/>
                <a:gd name="T20" fmla="*/ 25092 w 26"/>
                <a:gd name="T21" fmla="*/ 7257 h 2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1">
                  <a:moveTo>
                    <a:pt x="8" y="14"/>
                  </a:moveTo>
                  <a:cubicBezTo>
                    <a:pt x="7" y="13"/>
                    <a:pt x="4" y="11"/>
                    <a:pt x="2" y="9"/>
                  </a:cubicBezTo>
                  <a:cubicBezTo>
                    <a:pt x="0" y="7"/>
                    <a:pt x="3" y="3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22" y="5"/>
                    <a:pt x="26" y="8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2" y="21"/>
                    <a:pt x="21" y="20"/>
                    <a:pt x="20" y="20"/>
                  </a:cubicBezTo>
                  <a:cubicBezTo>
                    <a:pt x="19" y="19"/>
                    <a:pt x="20" y="16"/>
                    <a:pt x="18" y="15"/>
                  </a:cubicBezTo>
                  <a:cubicBezTo>
                    <a:pt x="17" y="13"/>
                    <a:pt x="11" y="8"/>
                    <a:pt x="10" y="8"/>
                  </a:cubicBezTo>
                  <a:cubicBezTo>
                    <a:pt x="9" y="7"/>
                    <a:pt x="9" y="15"/>
                    <a:pt x="8" y="1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5" name="Freeform 219"/>
            <p:cNvSpPr>
              <a:spLocks/>
            </p:cNvSpPr>
            <p:nvPr/>
          </p:nvSpPr>
          <p:spPr bwMode="auto">
            <a:xfrm>
              <a:off x="3828778" y="4364910"/>
              <a:ext cx="92597" cy="84984"/>
            </a:xfrm>
            <a:custGeom>
              <a:avLst/>
              <a:gdLst>
                <a:gd name="T0" fmla="*/ 0 w 33"/>
                <a:gd name="T1" fmla="*/ 3794 h 33"/>
                <a:gd name="T2" fmla="*/ 21542 w 33"/>
                <a:gd name="T3" fmla="*/ 3432 h 33"/>
                <a:gd name="T4" fmla="*/ 25292 w 33"/>
                <a:gd name="T5" fmla="*/ 2175 h 33"/>
                <a:gd name="T6" fmla="*/ 57328 w 33"/>
                <a:gd name="T7" fmla="*/ 1560 h 33"/>
                <a:gd name="T8" fmla="*/ 70255 w 33"/>
                <a:gd name="T9" fmla="*/ 803 h 33"/>
                <a:gd name="T10" fmla="*/ 91797 w 33"/>
                <a:gd name="T11" fmla="*/ 803 h 33"/>
                <a:gd name="T12" fmla="*/ 112422 w 33"/>
                <a:gd name="T13" fmla="*/ 0 h 33"/>
                <a:gd name="T14" fmla="*/ 117092 w 33"/>
                <a:gd name="T15" fmla="*/ 1560 h 33"/>
                <a:gd name="T16" fmla="*/ 105495 w 33"/>
                <a:gd name="T17" fmla="*/ 2462 h 33"/>
                <a:gd name="T18" fmla="*/ 105495 w 33"/>
                <a:gd name="T19" fmla="*/ 4494 h 33"/>
                <a:gd name="T20" fmla="*/ 99730 w 33"/>
                <a:gd name="T21" fmla="*/ 6669 h 33"/>
                <a:gd name="T22" fmla="*/ 42153 w 33"/>
                <a:gd name="T23" fmla="*/ 6669 h 33"/>
                <a:gd name="T24" fmla="*/ 35903 w 33"/>
                <a:gd name="T25" fmla="*/ 6264 h 33"/>
                <a:gd name="T26" fmla="*/ 0 w 33"/>
                <a:gd name="T27" fmla="*/ 4226 h 33"/>
                <a:gd name="T28" fmla="*/ 0 w 33"/>
                <a:gd name="T29" fmla="*/ 3794 h 3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3">
                  <a:moveTo>
                    <a:pt x="0" y="19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7" y="15"/>
                    <a:pt x="5" y="12"/>
                    <a:pt x="7" y="11"/>
                  </a:cubicBezTo>
                  <a:cubicBezTo>
                    <a:pt x="8" y="11"/>
                    <a:pt x="15" y="9"/>
                    <a:pt x="16" y="8"/>
                  </a:cubicBezTo>
                  <a:cubicBezTo>
                    <a:pt x="17" y="8"/>
                    <a:pt x="18" y="4"/>
                    <a:pt x="20" y="4"/>
                  </a:cubicBezTo>
                  <a:cubicBezTo>
                    <a:pt x="21" y="3"/>
                    <a:pt x="26" y="4"/>
                    <a:pt x="26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1"/>
                    <a:pt x="33" y="5"/>
                    <a:pt x="33" y="8"/>
                  </a:cubicBezTo>
                  <a:cubicBezTo>
                    <a:pt x="33" y="10"/>
                    <a:pt x="30" y="11"/>
                    <a:pt x="30" y="12"/>
                  </a:cubicBezTo>
                  <a:cubicBezTo>
                    <a:pt x="30" y="14"/>
                    <a:pt x="30" y="20"/>
                    <a:pt x="30" y="22"/>
                  </a:cubicBezTo>
                  <a:cubicBezTo>
                    <a:pt x="30" y="25"/>
                    <a:pt x="28" y="29"/>
                    <a:pt x="28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2"/>
                    <a:pt x="11" y="31"/>
                    <a:pt x="10" y="31"/>
                  </a:cubicBezTo>
                  <a:cubicBezTo>
                    <a:pt x="9" y="30"/>
                    <a:pt x="2" y="21"/>
                    <a:pt x="0" y="21"/>
                  </a:cubicBezTo>
                  <a:cubicBezTo>
                    <a:pt x="0" y="21"/>
                    <a:pt x="0" y="20"/>
                    <a:pt x="0" y="19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6" name="Freeform 220"/>
            <p:cNvSpPr>
              <a:spLocks/>
            </p:cNvSpPr>
            <p:nvPr/>
          </p:nvSpPr>
          <p:spPr bwMode="auto">
            <a:xfrm>
              <a:off x="3790055" y="4348283"/>
              <a:ext cx="127952" cy="66509"/>
            </a:xfrm>
            <a:custGeom>
              <a:avLst/>
              <a:gdLst>
                <a:gd name="T0" fmla="*/ 0 w 46"/>
                <a:gd name="T1" fmla="*/ 3813 h 25"/>
                <a:gd name="T2" fmla="*/ 3243 w 46"/>
                <a:gd name="T3" fmla="*/ 3100 h 25"/>
                <a:gd name="T4" fmla="*/ 24163 w 46"/>
                <a:gd name="T5" fmla="*/ 721 h 25"/>
                <a:gd name="T6" fmla="*/ 43014 w 46"/>
                <a:gd name="T7" fmla="*/ 721 h 25"/>
                <a:gd name="T8" fmla="*/ 79871 w 46"/>
                <a:gd name="T9" fmla="*/ 0 h 25"/>
                <a:gd name="T10" fmla="*/ 117415 w 46"/>
                <a:gd name="T11" fmla="*/ 1 h 25"/>
                <a:gd name="T12" fmla="*/ 142175 w 46"/>
                <a:gd name="T13" fmla="*/ 2153 h 25"/>
                <a:gd name="T14" fmla="*/ 122937 w 46"/>
                <a:gd name="T15" fmla="*/ 3319 h 25"/>
                <a:gd name="T16" fmla="*/ 105215 w 46"/>
                <a:gd name="T17" fmla="*/ 3319 h 25"/>
                <a:gd name="T18" fmla="*/ 93378 w 46"/>
                <a:gd name="T19" fmla="*/ 4779 h 25"/>
                <a:gd name="T20" fmla="*/ 65956 w 46"/>
                <a:gd name="T21" fmla="*/ 5754 h 25"/>
                <a:gd name="T22" fmla="*/ 62133 w 46"/>
                <a:gd name="T23" fmla="*/ 7907 h 25"/>
                <a:gd name="T24" fmla="*/ 43014 w 46"/>
                <a:gd name="T25" fmla="*/ 8630 h 25"/>
                <a:gd name="T26" fmla="*/ 39921 w 46"/>
                <a:gd name="T27" fmla="*/ 7560 h 25"/>
                <a:gd name="T28" fmla="*/ 34208 w 46"/>
                <a:gd name="T29" fmla="*/ 7059 h 25"/>
                <a:gd name="T30" fmla="*/ 37607 w 46"/>
                <a:gd name="T31" fmla="*/ 4779 h 25"/>
                <a:gd name="T32" fmla="*/ 0 w 46"/>
                <a:gd name="T33" fmla="*/ 3813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25">
                  <a:moveTo>
                    <a:pt x="0" y="11"/>
                  </a:moveTo>
                  <a:cubicBezTo>
                    <a:pt x="0" y="10"/>
                    <a:pt x="1" y="9"/>
                    <a:pt x="1" y="9"/>
                  </a:cubicBezTo>
                  <a:cubicBezTo>
                    <a:pt x="3" y="7"/>
                    <a:pt x="8" y="2"/>
                    <a:pt x="8" y="2"/>
                  </a:cubicBezTo>
                  <a:cubicBezTo>
                    <a:pt x="10" y="2"/>
                    <a:pt x="13" y="2"/>
                    <a:pt x="14" y="2"/>
                  </a:cubicBezTo>
                  <a:cubicBezTo>
                    <a:pt x="16" y="2"/>
                    <a:pt x="23" y="0"/>
                    <a:pt x="26" y="0"/>
                  </a:cubicBezTo>
                  <a:cubicBezTo>
                    <a:pt x="30" y="0"/>
                    <a:pt x="35" y="0"/>
                    <a:pt x="38" y="1"/>
                  </a:cubicBezTo>
                  <a:cubicBezTo>
                    <a:pt x="40" y="1"/>
                    <a:pt x="44" y="4"/>
                    <a:pt x="46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35" y="9"/>
                    <a:pt x="34" y="10"/>
                  </a:cubicBezTo>
                  <a:cubicBezTo>
                    <a:pt x="32" y="10"/>
                    <a:pt x="31" y="14"/>
                    <a:pt x="30" y="14"/>
                  </a:cubicBezTo>
                  <a:cubicBezTo>
                    <a:pt x="29" y="15"/>
                    <a:pt x="22" y="17"/>
                    <a:pt x="21" y="17"/>
                  </a:cubicBezTo>
                  <a:cubicBezTo>
                    <a:pt x="19" y="18"/>
                    <a:pt x="21" y="21"/>
                    <a:pt x="20" y="23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4"/>
                    <a:pt x="14" y="23"/>
                    <a:pt x="13" y="22"/>
                  </a:cubicBezTo>
                  <a:cubicBezTo>
                    <a:pt x="13" y="21"/>
                    <a:pt x="12" y="21"/>
                    <a:pt x="11" y="21"/>
                  </a:cubicBezTo>
                  <a:cubicBezTo>
                    <a:pt x="11" y="21"/>
                    <a:pt x="14" y="16"/>
                    <a:pt x="12" y="14"/>
                  </a:cubicBezTo>
                  <a:cubicBezTo>
                    <a:pt x="11" y="13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7" name="Freeform 221"/>
            <p:cNvSpPr>
              <a:spLocks/>
            </p:cNvSpPr>
            <p:nvPr/>
          </p:nvSpPr>
          <p:spPr bwMode="auto">
            <a:xfrm>
              <a:off x="3776587" y="4379690"/>
              <a:ext cx="52191" cy="27712"/>
            </a:xfrm>
            <a:custGeom>
              <a:avLst/>
              <a:gdLst>
                <a:gd name="T0" fmla="*/ 0 w 19"/>
                <a:gd name="T1" fmla="*/ 1062 h 11"/>
                <a:gd name="T2" fmla="*/ 12070 w 19"/>
                <a:gd name="T3" fmla="*/ 0 h 11"/>
                <a:gd name="T4" fmla="*/ 43426 w 19"/>
                <a:gd name="T5" fmla="*/ 419 h 11"/>
                <a:gd name="T6" fmla="*/ 40059 w 19"/>
                <a:gd name="T7" fmla="*/ 1448 h 11"/>
                <a:gd name="T8" fmla="*/ 22676 w 19"/>
                <a:gd name="T9" fmla="*/ 1519 h 11"/>
                <a:gd name="T10" fmla="*/ 0 w 19"/>
                <a:gd name="T11" fmla="*/ 1062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" h="11">
                  <a:moveTo>
                    <a:pt x="0" y="7"/>
                  </a:moveTo>
                  <a:cubicBezTo>
                    <a:pt x="2" y="5"/>
                    <a:pt x="4" y="2"/>
                    <a:pt x="5" y="0"/>
                  </a:cubicBezTo>
                  <a:cubicBezTo>
                    <a:pt x="5" y="0"/>
                    <a:pt x="16" y="2"/>
                    <a:pt x="17" y="3"/>
                  </a:cubicBezTo>
                  <a:cubicBezTo>
                    <a:pt x="19" y="5"/>
                    <a:pt x="16" y="10"/>
                    <a:pt x="16" y="10"/>
                  </a:cubicBezTo>
                  <a:cubicBezTo>
                    <a:pt x="14" y="11"/>
                    <a:pt x="12" y="11"/>
                    <a:pt x="9" y="11"/>
                  </a:cubicBezTo>
                  <a:cubicBezTo>
                    <a:pt x="6" y="10"/>
                    <a:pt x="3" y="8"/>
                    <a:pt x="0" y="7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8" name="Freeform 222"/>
            <p:cNvSpPr>
              <a:spLocks/>
            </p:cNvSpPr>
            <p:nvPr/>
          </p:nvSpPr>
          <p:spPr bwMode="auto">
            <a:xfrm>
              <a:off x="3788372" y="4292858"/>
              <a:ext cx="35355" cy="57272"/>
            </a:xfrm>
            <a:custGeom>
              <a:avLst/>
              <a:gdLst>
                <a:gd name="T0" fmla="*/ 2560 w 13"/>
                <a:gd name="T1" fmla="*/ 5095 h 22"/>
                <a:gd name="T2" fmla="*/ 2560 w 13"/>
                <a:gd name="T3" fmla="*/ 1708 h 22"/>
                <a:gd name="T4" fmla="*/ 17432 w 13"/>
                <a:gd name="T5" fmla="*/ 0 h 22"/>
                <a:gd name="T6" fmla="*/ 28159 w 13"/>
                <a:gd name="T7" fmla="*/ 492 h 22"/>
                <a:gd name="T8" fmla="*/ 21551 w 13"/>
                <a:gd name="T9" fmla="*/ 3000 h 22"/>
                <a:gd name="T10" fmla="*/ 14892 w 13"/>
                <a:gd name="T11" fmla="*/ 4666 h 22"/>
                <a:gd name="T12" fmla="*/ 2560 w 13"/>
                <a:gd name="T13" fmla="*/ 5095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22">
                  <a:moveTo>
                    <a:pt x="1" y="21"/>
                  </a:moveTo>
                  <a:cubicBezTo>
                    <a:pt x="0" y="21"/>
                    <a:pt x="1" y="7"/>
                    <a:pt x="1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5"/>
                    <a:pt x="11" y="11"/>
                    <a:pt x="10" y="13"/>
                  </a:cubicBezTo>
                  <a:cubicBezTo>
                    <a:pt x="9" y="15"/>
                    <a:pt x="7" y="17"/>
                    <a:pt x="7" y="19"/>
                  </a:cubicBezTo>
                  <a:cubicBezTo>
                    <a:pt x="7" y="19"/>
                    <a:pt x="2" y="22"/>
                    <a:pt x="1" y="21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09" name="Freeform 223"/>
            <p:cNvSpPr>
              <a:spLocks/>
            </p:cNvSpPr>
            <p:nvPr/>
          </p:nvSpPr>
          <p:spPr bwMode="auto">
            <a:xfrm>
              <a:off x="3722712" y="4313181"/>
              <a:ext cx="89230" cy="83136"/>
            </a:xfrm>
            <a:custGeom>
              <a:avLst/>
              <a:gdLst>
                <a:gd name="T0" fmla="*/ 0 w 32"/>
                <a:gd name="T1" fmla="*/ 5729 h 32"/>
                <a:gd name="T2" fmla="*/ 9310 w 32"/>
                <a:gd name="T3" fmla="*/ 4601 h 32"/>
                <a:gd name="T4" fmla="*/ 19595 w 32"/>
                <a:gd name="T5" fmla="*/ 3544 h 32"/>
                <a:gd name="T6" fmla="*/ 44283 w 32"/>
                <a:gd name="T7" fmla="*/ 2925 h 32"/>
                <a:gd name="T8" fmla="*/ 44283 w 32"/>
                <a:gd name="T9" fmla="*/ 1792 h 32"/>
                <a:gd name="T10" fmla="*/ 29059 w 32"/>
                <a:gd name="T11" fmla="*/ 644 h 32"/>
                <a:gd name="T12" fmla="*/ 29059 w 32"/>
                <a:gd name="T13" fmla="*/ 0 h 32"/>
                <a:gd name="T14" fmla="*/ 77160 w 32"/>
                <a:gd name="T15" fmla="*/ 0 h 32"/>
                <a:gd name="T16" fmla="*/ 77160 w 32"/>
                <a:gd name="T17" fmla="*/ 3272 h 32"/>
                <a:gd name="T18" fmla="*/ 96786 w 32"/>
                <a:gd name="T19" fmla="*/ 2897 h 32"/>
                <a:gd name="T20" fmla="*/ 96786 w 32"/>
                <a:gd name="T21" fmla="*/ 3544 h 32"/>
                <a:gd name="T22" fmla="*/ 103198 w 32"/>
                <a:gd name="T23" fmla="*/ 3793 h 32"/>
                <a:gd name="T24" fmla="*/ 79714 w 32"/>
                <a:gd name="T25" fmla="*/ 5334 h 32"/>
                <a:gd name="T26" fmla="*/ 77160 w 32"/>
                <a:gd name="T27" fmla="*/ 5784 h 32"/>
                <a:gd name="T28" fmla="*/ 59178 w 32"/>
                <a:gd name="T29" fmla="*/ 7501 h 32"/>
                <a:gd name="T30" fmla="*/ 52781 w 32"/>
                <a:gd name="T31" fmla="*/ 7310 h 32"/>
                <a:gd name="T32" fmla="*/ 29059 w 32"/>
                <a:gd name="T33" fmla="*/ 7009 h 32"/>
                <a:gd name="T34" fmla="*/ 0 w 32"/>
                <a:gd name="T35" fmla="*/ 5729 h 3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2">
                  <a:moveTo>
                    <a:pt x="0" y="2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14"/>
                    <a:pt x="24" y="14"/>
                  </a:cubicBezTo>
                  <a:cubicBezTo>
                    <a:pt x="25" y="15"/>
                    <a:pt x="30" y="12"/>
                    <a:pt x="30" y="12"/>
                  </a:cubicBezTo>
                  <a:cubicBezTo>
                    <a:pt x="29" y="14"/>
                    <a:pt x="28" y="14"/>
                    <a:pt x="30" y="15"/>
                  </a:cubicBezTo>
                  <a:cubicBezTo>
                    <a:pt x="30" y="15"/>
                    <a:pt x="31" y="16"/>
                    <a:pt x="32" y="16"/>
                  </a:cubicBezTo>
                  <a:cubicBezTo>
                    <a:pt x="32" y="16"/>
                    <a:pt x="27" y="21"/>
                    <a:pt x="25" y="23"/>
                  </a:cubicBezTo>
                  <a:cubicBezTo>
                    <a:pt x="25" y="23"/>
                    <a:pt x="24" y="24"/>
                    <a:pt x="24" y="25"/>
                  </a:cubicBezTo>
                  <a:cubicBezTo>
                    <a:pt x="23" y="27"/>
                    <a:pt x="21" y="30"/>
                    <a:pt x="19" y="32"/>
                  </a:cubicBezTo>
                  <a:cubicBezTo>
                    <a:pt x="18" y="32"/>
                    <a:pt x="17" y="31"/>
                    <a:pt x="16" y="31"/>
                  </a:cubicBezTo>
                  <a:cubicBezTo>
                    <a:pt x="14" y="30"/>
                    <a:pt x="12" y="31"/>
                    <a:pt x="9" y="30"/>
                  </a:cubicBezTo>
                  <a:cubicBezTo>
                    <a:pt x="7" y="30"/>
                    <a:pt x="2" y="25"/>
                    <a:pt x="0" y="2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10" name="Freeform 224"/>
            <p:cNvSpPr>
              <a:spLocks/>
            </p:cNvSpPr>
            <p:nvPr/>
          </p:nvSpPr>
          <p:spPr bwMode="auto">
            <a:xfrm>
              <a:off x="3197434" y="3986177"/>
              <a:ext cx="656598" cy="389818"/>
            </a:xfrm>
            <a:custGeom>
              <a:avLst/>
              <a:gdLst>
                <a:gd name="T0" fmla="*/ 0 w 236"/>
                <a:gd name="T1" fmla="*/ 925 h 148"/>
                <a:gd name="T2" fmla="*/ 56619 w 236"/>
                <a:gd name="T3" fmla="*/ 0 h 148"/>
                <a:gd name="T4" fmla="*/ 142667 w 236"/>
                <a:gd name="T5" fmla="*/ 4097 h 148"/>
                <a:gd name="T6" fmla="*/ 209924 w 236"/>
                <a:gd name="T7" fmla="*/ 2874 h 148"/>
                <a:gd name="T8" fmla="*/ 279147 w 236"/>
                <a:gd name="T9" fmla="*/ 5366 h 148"/>
                <a:gd name="T10" fmla="*/ 327744 w 236"/>
                <a:gd name="T11" fmla="*/ 9646 h 148"/>
                <a:gd name="T12" fmla="*/ 378204 w 236"/>
                <a:gd name="T13" fmla="*/ 8126 h 148"/>
                <a:gd name="T14" fmla="*/ 458795 w 236"/>
                <a:gd name="T15" fmla="*/ 17556 h 148"/>
                <a:gd name="T16" fmla="*/ 475757 w 236"/>
                <a:gd name="T17" fmla="*/ 16926 h 148"/>
                <a:gd name="T18" fmla="*/ 461302 w 236"/>
                <a:gd name="T19" fmla="*/ 21253 h 148"/>
                <a:gd name="T20" fmla="*/ 473655 w 236"/>
                <a:gd name="T21" fmla="*/ 27216 h 148"/>
                <a:gd name="T22" fmla="*/ 488144 w 236"/>
                <a:gd name="T23" fmla="*/ 31269 h 148"/>
                <a:gd name="T24" fmla="*/ 529613 w 236"/>
                <a:gd name="T25" fmla="*/ 34403 h 148"/>
                <a:gd name="T26" fmla="*/ 584712 w 236"/>
                <a:gd name="T27" fmla="*/ 34403 h 148"/>
                <a:gd name="T28" fmla="*/ 628060 w 236"/>
                <a:gd name="T29" fmla="*/ 30873 h 148"/>
                <a:gd name="T30" fmla="*/ 681963 w 236"/>
                <a:gd name="T31" fmla="*/ 27216 h 148"/>
                <a:gd name="T32" fmla="*/ 717081 w 236"/>
                <a:gd name="T33" fmla="*/ 27337 h 148"/>
                <a:gd name="T34" fmla="*/ 702471 w 236"/>
                <a:gd name="T35" fmla="*/ 31633 h 148"/>
                <a:gd name="T36" fmla="*/ 681963 w 236"/>
                <a:gd name="T37" fmla="*/ 34065 h 148"/>
                <a:gd name="T38" fmla="*/ 611456 w 236"/>
                <a:gd name="T39" fmla="*/ 36114 h 148"/>
                <a:gd name="T40" fmla="*/ 628060 w 236"/>
                <a:gd name="T41" fmla="*/ 38450 h 148"/>
                <a:gd name="T42" fmla="*/ 602687 w 236"/>
                <a:gd name="T43" fmla="*/ 40415 h 148"/>
                <a:gd name="T44" fmla="*/ 584712 w 236"/>
                <a:gd name="T45" fmla="*/ 43198 h 148"/>
                <a:gd name="T46" fmla="*/ 503968 w 236"/>
                <a:gd name="T47" fmla="*/ 40415 h 148"/>
                <a:gd name="T48" fmla="*/ 399165 w 236"/>
                <a:gd name="T49" fmla="*/ 38285 h 148"/>
                <a:gd name="T50" fmla="*/ 298899 w 236"/>
                <a:gd name="T51" fmla="*/ 33272 h 148"/>
                <a:gd name="T52" fmla="*/ 275370 w 236"/>
                <a:gd name="T53" fmla="*/ 30000 h 148"/>
                <a:gd name="T54" fmla="*/ 269321 w 236"/>
                <a:gd name="T55" fmla="*/ 25331 h 148"/>
                <a:gd name="T56" fmla="*/ 183830 w 236"/>
                <a:gd name="T57" fmla="*/ 17768 h 148"/>
                <a:gd name="T58" fmla="*/ 164639 w 236"/>
                <a:gd name="T59" fmla="*/ 14402 h 148"/>
                <a:gd name="T60" fmla="*/ 138491 w 236"/>
                <a:gd name="T61" fmla="*/ 11585 h 148"/>
                <a:gd name="T62" fmla="*/ 95376 w 236"/>
                <a:gd name="T63" fmla="*/ 4301 h 148"/>
                <a:gd name="T64" fmla="*/ 56619 w 236"/>
                <a:gd name="T65" fmla="*/ 4746 h 148"/>
                <a:gd name="T66" fmla="*/ 76870 w 236"/>
                <a:gd name="T67" fmla="*/ 8327 h 148"/>
                <a:gd name="T68" fmla="*/ 117737 w 236"/>
                <a:gd name="T69" fmla="*/ 13752 h 148"/>
                <a:gd name="T70" fmla="*/ 146166 w 236"/>
                <a:gd name="T71" fmla="*/ 17909 h 148"/>
                <a:gd name="T72" fmla="*/ 170133 w 236"/>
                <a:gd name="T73" fmla="*/ 21253 h 148"/>
                <a:gd name="T74" fmla="*/ 166634 w 236"/>
                <a:gd name="T75" fmla="*/ 24854 h 148"/>
                <a:gd name="T76" fmla="*/ 146166 w 236"/>
                <a:gd name="T77" fmla="*/ 21933 h 148"/>
                <a:gd name="T78" fmla="*/ 117737 w 236"/>
                <a:gd name="T79" fmla="*/ 17556 h 148"/>
                <a:gd name="T80" fmla="*/ 67315 w 236"/>
                <a:gd name="T81" fmla="*/ 14907 h 148"/>
                <a:gd name="T82" fmla="*/ 66069 w 236"/>
                <a:gd name="T83" fmla="*/ 12463 h 148"/>
                <a:gd name="T84" fmla="*/ 34262 w 236"/>
                <a:gd name="T85" fmla="*/ 7767 h 1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36" h="148">
                  <a:moveTo>
                    <a:pt x="4" y="12"/>
                  </a:moveTo>
                  <a:cubicBezTo>
                    <a:pt x="3" y="10"/>
                    <a:pt x="1" y="6"/>
                    <a:pt x="0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10"/>
                    <a:pt x="88" y="16"/>
                    <a:pt x="90" y="18"/>
                  </a:cubicBezTo>
                  <a:cubicBezTo>
                    <a:pt x="93" y="19"/>
                    <a:pt x="94" y="21"/>
                    <a:pt x="95" y="25"/>
                  </a:cubicBezTo>
                  <a:cubicBezTo>
                    <a:pt x="96" y="29"/>
                    <a:pt x="102" y="31"/>
                    <a:pt x="106" y="33"/>
                  </a:cubicBezTo>
                  <a:cubicBezTo>
                    <a:pt x="110" y="34"/>
                    <a:pt x="110" y="27"/>
                    <a:pt x="112" y="26"/>
                  </a:cubicBezTo>
                  <a:cubicBezTo>
                    <a:pt x="114" y="26"/>
                    <a:pt x="117" y="26"/>
                    <a:pt x="122" y="28"/>
                  </a:cubicBezTo>
                  <a:cubicBezTo>
                    <a:pt x="126" y="30"/>
                    <a:pt x="137" y="54"/>
                    <a:pt x="138" y="55"/>
                  </a:cubicBezTo>
                  <a:cubicBezTo>
                    <a:pt x="139" y="56"/>
                    <a:pt x="148" y="60"/>
                    <a:pt x="148" y="60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54" y="59"/>
                    <a:pt x="154" y="59"/>
                    <a:pt x="154" y="60"/>
                  </a:cubicBezTo>
                  <a:cubicBezTo>
                    <a:pt x="154" y="63"/>
                    <a:pt x="149" y="70"/>
                    <a:pt x="149" y="73"/>
                  </a:cubicBezTo>
                  <a:cubicBezTo>
                    <a:pt x="148" y="75"/>
                    <a:pt x="148" y="84"/>
                    <a:pt x="148" y="87"/>
                  </a:cubicBezTo>
                  <a:cubicBezTo>
                    <a:pt x="148" y="89"/>
                    <a:pt x="152" y="92"/>
                    <a:pt x="153" y="93"/>
                  </a:cubicBezTo>
                  <a:cubicBezTo>
                    <a:pt x="154" y="95"/>
                    <a:pt x="151" y="96"/>
                    <a:pt x="151" y="98"/>
                  </a:cubicBezTo>
                  <a:cubicBezTo>
                    <a:pt x="151" y="99"/>
                    <a:pt x="155" y="103"/>
                    <a:pt x="158" y="107"/>
                  </a:cubicBezTo>
                  <a:cubicBezTo>
                    <a:pt x="161" y="110"/>
                    <a:pt x="159" y="111"/>
                    <a:pt x="161" y="115"/>
                  </a:cubicBezTo>
                  <a:cubicBezTo>
                    <a:pt x="164" y="118"/>
                    <a:pt x="168" y="116"/>
                    <a:pt x="171" y="118"/>
                  </a:cubicBezTo>
                  <a:cubicBezTo>
                    <a:pt x="173" y="120"/>
                    <a:pt x="173" y="122"/>
                    <a:pt x="176" y="121"/>
                  </a:cubicBezTo>
                  <a:cubicBezTo>
                    <a:pt x="178" y="120"/>
                    <a:pt x="186" y="119"/>
                    <a:pt x="189" y="118"/>
                  </a:cubicBezTo>
                  <a:cubicBezTo>
                    <a:pt x="192" y="118"/>
                    <a:pt x="198" y="116"/>
                    <a:pt x="200" y="114"/>
                  </a:cubicBezTo>
                  <a:cubicBezTo>
                    <a:pt x="202" y="112"/>
                    <a:pt x="203" y="108"/>
                    <a:pt x="203" y="106"/>
                  </a:cubicBezTo>
                  <a:cubicBezTo>
                    <a:pt x="203" y="105"/>
                    <a:pt x="204" y="99"/>
                    <a:pt x="206" y="97"/>
                  </a:cubicBezTo>
                  <a:cubicBezTo>
                    <a:pt x="208" y="95"/>
                    <a:pt x="216" y="94"/>
                    <a:pt x="220" y="93"/>
                  </a:cubicBezTo>
                  <a:cubicBezTo>
                    <a:pt x="224" y="93"/>
                    <a:pt x="226" y="92"/>
                    <a:pt x="229" y="93"/>
                  </a:cubicBezTo>
                  <a:cubicBezTo>
                    <a:pt x="230" y="93"/>
                    <a:pt x="231" y="94"/>
                    <a:pt x="232" y="94"/>
                  </a:cubicBezTo>
                  <a:cubicBezTo>
                    <a:pt x="236" y="96"/>
                    <a:pt x="231" y="100"/>
                    <a:pt x="230" y="102"/>
                  </a:cubicBezTo>
                  <a:cubicBezTo>
                    <a:pt x="229" y="103"/>
                    <a:pt x="227" y="108"/>
                    <a:pt x="227" y="109"/>
                  </a:cubicBezTo>
                  <a:cubicBezTo>
                    <a:pt x="227" y="111"/>
                    <a:pt x="225" y="116"/>
                    <a:pt x="225" y="119"/>
                  </a:cubicBezTo>
                  <a:cubicBezTo>
                    <a:pt x="220" y="117"/>
                    <a:pt x="220" y="117"/>
                    <a:pt x="220" y="117"/>
                  </a:cubicBezTo>
                  <a:cubicBezTo>
                    <a:pt x="213" y="124"/>
                    <a:pt x="213" y="124"/>
                    <a:pt x="213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3" y="132"/>
                    <a:pt x="203" y="132"/>
                    <a:pt x="203" y="132"/>
                  </a:cubicBezTo>
                  <a:cubicBezTo>
                    <a:pt x="203" y="137"/>
                    <a:pt x="203" y="137"/>
                    <a:pt x="203" y="137"/>
                  </a:cubicBezTo>
                  <a:cubicBezTo>
                    <a:pt x="195" y="139"/>
                    <a:pt x="195" y="139"/>
                    <a:pt x="195" y="139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8" y="147"/>
                    <a:pt x="177" y="137"/>
                    <a:pt x="173" y="136"/>
                  </a:cubicBezTo>
                  <a:cubicBezTo>
                    <a:pt x="169" y="134"/>
                    <a:pt x="166" y="138"/>
                    <a:pt x="163" y="139"/>
                  </a:cubicBezTo>
                  <a:cubicBezTo>
                    <a:pt x="161" y="141"/>
                    <a:pt x="157" y="141"/>
                    <a:pt x="153" y="140"/>
                  </a:cubicBezTo>
                  <a:cubicBezTo>
                    <a:pt x="149" y="139"/>
                    <a:pt x="132" y="132"/>
                    <a:pt x="129" y="131"/>
                  </a:cubicBezTo>
                  <a:cubicBezTo>
                    <a:pt x="127" y="131"/>
                    <a:pt x="115" y="124"/>
                    <a:pt x="113" y="123"/>
                  </a:cubicBezTo>
                  <a:cubicBezTo>
                    <a:pt x="110" y="123"/>
                    <a:pt x="101" y="117"/>
                    <a:pt x="97" y="114"/>
                  </a:cubicBezTo>
                  <a:cubicBezTo>
                    <a:pt x="93" y="112"/>
                    <a:pt x="91" y="109"/>
                    <a:pt x="89" y="108"/>
                  </a:cubicBezTo>
                  <a:cubicBezTo>
                    <a:pt x="88" y="106"/>
                    <a:pt x="87" y="103"/>
                    <a:pt x="89" y="103"/>
                  </a:cubicBezTo>
                  <a:cubicBezTo>
                    <a:pt x="90" y="102"/>
                    <a:pt x="91" y="99"/>
                    <a:pt x="91" y="97"/>
                  </a:cubicBezTo>
                  <a:cubicBezTo>
                    <a:pt x="91" y="95"/>
                    <a:pt x="89" y="89"/>
                    <a:pt x="87" y="87"/>
                  </a:cubicBezTo>
                  <a:cubicBezTo>
                    <a:pt x="86" y="84"/>
                    <a:pt x="74" y="72"/>
                    <a:pt x="71" y="70"/>
                  </a:cubicBezTo>
                  <a:cubicBezTo>
                    <a:pt x="68" y="68"/>
                    <a:pt x="61" y="62"/>
                    <a:pt x="59" y="61"/>
                  </a:cubicBezTo>
                  <a:cubicBezTo>
                    <a:pt x="57" y="61"/>
                    <a:pt x="61" y="57"/>
                    <a:pt x="59" y="54"/>
                  </a:cubicBezTo>
                  <a:cubicBezTo>
                    <a:pt x="59" y="52"/>
                    <a:pt x="54" y="49"/>
                    <a:pt x="53" y="49"/>
                  </a:cubicBezTo>
                  <a:cubicBezTo>
                    <a:pt x="51" y="48"/>
                    <a:pt x="51" y="44"/>
                    <a:pt x="51" y="43"/>
                  </a:cubicBezTo>
                  <a:cubicBezTo>
                    <a:pt x="51" y="41"/>
                    <a:pt x="46" y="41"/>
                    <a:pt x="45" y="40"/>
                  </a:cubicBezTo>
                  <a:cubicBezTo>
                    <a:pt x="43" y="39"/>
                    <a:pt x="36" y="29"/>
                    <a:pt x="35" y="27"/>
                  </a:cubicBezTo>
                  <a:cubicBezTo>
                    <a:pt x="34" y="26"/>
                    <a:pt x="32" y="16"/>
                    <a:pt x="31" y="15"/>
                  </a:cubicBezTo>
                  <a:cubicBezTo>
                    <a:pt x="30" y="15"/>
                    <a:pt x="19" y="10"/>
                    <a:pt x="18" y="10"/>
                  </a:cubicBezTo>
                  <a:cubicBezTo>
                    <a:pt x="17" y="10"/>
                    <a:pt x="18" y="14"/>
                    <a:pt x="18" y="16"/>
                  </a:cubicBezTo>
                  <a:cubicBezTo>
                    <a:pt x="18" y="17"/>
                    <a:pt x="19" y="22"/>
                    <a:pt x="20" y="24"/>
                  </a:cubicBezTo>
                  <a:cubicBezTo>
                    <a:pt x="21" y="26"/>
                    <a:pt x="23" y="27"/>
                    <a:pt x="25" y="29"/>
                  </a:cubicBezTo>
                  <a:cubicBezTo>
                    <a:pt x="27" y="31"/>
                    <a:pt x="30" y="35"/>
                    <a:pt x="31" y="36"/>
                  </a:cubicBezTo>
                  <a:cubicBezTo>
                    <a:pt x="32" y="38"/>
                    <a:pt x="36" y="45"/>
                    <a:pt x="38" y="47"/>
                  </a:cubicBezTo>
                  <a:cubicBezTo>
                    <a:pt x="40" y="49"/>
                    <a:pt x="41" y="51"/>
                    <a:pt x="43" y="54"/>
                  </a:cubicBezTo>
                  <a:cubicBezTo>
                    <a:pt x="44" y="56"/>
                    <a:pt x="45" y="60"/>
                    <a:pt x="47" y="62"/>
                  </a:cubicBezTo>
                  <a:cubicBezTo>
                    <a:pt x="48" y="65"/>
                    <a:pt x="49" y="67"/>
                    <a:pt x="50" y="69"/>
                  </a:cubicBezTo>
                  <a:cubicBezTo>
                    <a:pt x="51" y="72"/>
                    <a:pt x="54" y="71"/>
                    <a:pt x="55" y="73"/>
                  </a:cubicBezTo>
                  <a:cubicBezTo>
                    <a:pt x="56" y="76"/>
                    <a:pt x="60" y="77"/>
                    <a:pt x="60" y="80"/>
                  </a:cubicBezTo>
                  <a:cubicBezTo>
                    <a:pt x="59" y="82"/>
                    <a:pt x="55" y="85"/>
                    <a:pt x="54" y="85"/>
                  </a:cubicBezTo>
                  <a:cubicBezTo>
                    <a:pt x="52" y="84"/>
                    <a:pt x="52" y="80"/>
                    <a:pt x="51" y="79"/>
                  </a:cubicBezTo>
                  <a:cubicBezTo>
                    <a:pt x="51" y="78"/>
                    <a:pt x="47" y="76"/>
                    <a:pt x="47" y="75"/>
                  </a:cubicBezTo>
                  <a:cubicBezTo>
                    <a:pt x="46" y="74"/>
                    <a:pt x="39" y="72"/>
                    <a:pt x="38" y="71"/>
                  </a:cubicBezTo>
                  <a:cubicBezTo>
                    <a:pt x="37" y="69"/>
                    <a:pt x="39" y="63"/>
                    <a:pt x="38" y="60"/>
                  </a:cubicBezTo>
                  <a:cubicBezTo>
                    <a:pt x="37" y="57"/>
                    <a:pt x="33" y="57"/>
                    <a:pt x="31" y="54"/>
                  </a:cubicBezTo>
                  <a:cubicBezTo>
                    <a:pt x="29" y="52"/>
                    <a:pt x="26" y="52"/>
                    <a:pt x="22" y="51"/>
                  </a:cubicBezTo>
                  <a:cubicBezTo>
                    <a:pt x="19" y="49"/>
                    <a:pt x="14" y="43"/>
                    <a:pt x="15" y="43"/>
                  </a:cubicBezTo>
                  <a:cubicBezTo>
                    <a:pt x="16" y="43"/>
                    <a:pt x="20" y="43"/>
                    <a:pt x="21" y="43"/>
                  </a:cubicBezTo>
                  <a:cubicBezTo>
                    <a:pt x="23" y="43"/>
                    <a:pt x="24" y="40"/>
                    <a:pt x="23" y="37"/>
                  </a:cubicBezTo>
                  <a:cubicBezTo>
                    <a:pt x="23" y="35"/>
                    <a:pt x="13" y="29"/>
                    <a:pt x="11" y="27"/>
                  </a:cubicBezTo>
                  <a:cubicBezTo>
                    <a:pt x="9" y="25"/>
                    <a:pt x="6" y="16"/>
                    <a:pt x="4" y="12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511" name="Group 225"/>
            <p:cNvGrpSpPr>
              <a:grpSpLocks/>
            </p:cNvGrpSpPr>
            <p:nvPr/>
          </p:nvGrpSpPr>
          <p:grpSpPr bwMode="auto">
            <a:xfrm>
              <a:off x="2685624" y="2415822"/>
              <a:ext cx="1888981" cy="1361590"/>
              <a:chOff x="535" y="821"/>
              <a:chExt cx="1371" cy="1049"/>
            </a:xfrm>
            <a:solidFill>
              <a:srgbClr val="EBEBE3"/>
            </a:solidFill>
          </p:grpSpPr>
          <p:sp>
            <p:nvSpPr>
              <p:cNvPr id="537" name="Freeform 226"/>
              <p:cNvSpPr>
                <a:spLocks/>
              </p:cNvSpPr>
              <p:nvPr/>
            </p:nvSpPr>
            <p:spPr bwMode="auto">
              <a:xfrm>
                <a:off x="1798" y="1686"/>
                <a:ext cx="108" cy="99"/>
              </a:xfrm>
              <a:custGeom>
                <a:avLst/>
                <a:gdLst>
                  <a:gd name="T0" fmla="*/ 169110 w 53"/>
                  <a:gd name="T1" fmla="*/ 3020405 h 49"/>
                  <a:gd name="T2" fmla="*/ 82989 w 53"/>
                  <a:gd name="T3" fmla="*/ 2702231 h 49"/>
                  <a:gd name="T4" fmla="*/ 785189 w 53"/>
                  <a:gd name="T5" fmla="*/ 2327086 h 49"/>
                  <a:gd name="T6" fmla="*/ 513709 w 53"/>
                  <a:gd name="T7" fmla="*/ 2017194 h 49"/>
                  <a:gd name="T8" fmla="*/ 1255162 w 53"/>
                  <a:gd name="T9" fmla="*/ 1151790 h 49"/>
                  <a:gd name="T10" fmla="*/ 1871497 w 53"/>
                  <a:gd name="T11" fmla="*/ 375487 h 49"/>
                  <a:gd name="T12" fmla="*/ 2644468 w 53"/>
                  <a:gd name="T13" fmla="*/ 0 h 49"/>
                  <a:gd name="T14" fmla="*/ 2465177 w 53"/>
                  <a:gd name="T15" fmla="*/ 448739 h 49"/>
                  <a:gd name="T16" fmla="*/ 1783940 w 53"/>
                  <a:gd name="T17" fmla="*/ 1300872 h 49"/>
                  <a:gd name="T18" fmla="*/ 2557689 w 53"/>
                  <a:gd name="T19" fmla="*/ 1225325 h 49"/>
                  <a:gd name="T20" fmla="*/ 2915825 w 53"/>
                  <a:gd name="T21" fmla="*/ 1532756 h 49"/>
                  <a:gd name="T22" fmla="*/ 3725721 w 53"/>
                  <a:gd name="T23" fmla="*/ 1373863 h 49"/>
                  <a:gd name="T24" fmla="*/ 3977801 w 53"/>
                  <a:gd name="T25" fmla="*/ 1682939 h 49"/>
                  <a:gd name="T26" fmla="*/ 3896124 w 53"/>
                  <a:gd name="T27" fmla="*/ 2170502 h 49"/>
                  <a:gd name="T28" fmla="*/ 4346711 w 53"/>
                  <a:gd name="T29" fmla="*/ 2244021 h 49"/>
                  <a:gd name="T30" fmla="*/ 3977801 w 53"/>
                  <a:gd name="T31" fmla="*/ 2869893 h 49"/>
                  <a:gd name="T32" fmla="*/ 4598530 w 53"/>
                  <a:gd name="T33" fmla="*/ 2775764 h 49"/>
                  <a:gd name="T34" fmla="*/ 4258813 w 53"/>
                  <a:gd name="T35" fmla="*/ 3776513 h 49"/>
                  <a:gd name="T36" fmla="*/ 3635198 w 53"/>
                  <a:gd name="T37" fmla="*/ 3626881 h 49"/>
                  <a:gd name="T38" fmla="*/ 3423341 w 53"/>
                  <a:gd name="T39" fmla="*/ 3168976 h 49"/>
                  <a:gd name="T40" fmla="*/ 2726731 w 53"/>
                  <a:gd name="T41" fmla="*/ 3554294 h 49"/>
                  <a:gd name="T42" fmla="*/ 2295931 w 53"/>
                  <a:gd name="T43" fmla="*/ 3554294 h 49"/>
                  <a:gd name="T44" fmla="*/ 2644468 w 53"/>
                  <a:gd name="T45" fmla="*/ 3020405 h 49"/>
                  <a:gd name="T46" fmla="*/ 2213686 w 53"/>
                  <a:gd name="T47" fmla="*/ 2942345 h 49"/>
                  <a:gd name="T48" fmla="*/ 1512031 w 53"/>
                  <a:gd name="T49" fmla="*/ 3096793 h 49"/>
                  <a:gd name="T50" fmla="*/ 875452 w 53"/>
                  <a:gd name="T51" fmla="*/ 2942345 h 49"/>
                  <a:gd name="T52" fmla="*/ 169110 w 53"/>
                  <a:gd name="T53" fmla="*/ 3020405 h 4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53" h="49">
                    <a:moveTo>
                      <a:pt x="2" y="39"/>
                    </a:moveTo>
                    <a:cubicBezTo>
                      <a:pt x="0" y="39"/>
                      <a:pt x="0" y="36"/>
                      <a:pt x="1" y="35"/>
                    </a:cubicBezTo>
                    <a:cubicBezTo>
                      <a:pt x="1" y="34"/>
                      <a:pt x="9" y="31"/>
                      <a:pt x="9" y="30"/>
                    </a:cubicBezTo>
                    <a:cubicBezTo>
                      <a:pt x="9" y="29"/>
                      <a:pt x="5" y="28"/>
                      <a:pt x="6" y="26"/>
                    </a:cubicBezTo>
                    <a:cubicBezTo>
                      <a:pt x="6" y="25"/>
                      <a:pt x="13" y="17"/>
                      <a:pt x="14" y="15"/>
                    </a:cubicBezTo>
                    <a:cubicBezTo>
                      <a:pt x="14" y="13"/>
                      <a:pt x="18" y="6"/>
                      <a:pt x="21" y="5"/>
                    </a:cubicBezTo>
                    <a:cubicBezTo>
                      <a:pt x="23" y="4"/>
                      <a:pt x="28" y="0"/>
                      <a:pt x="30" y="0"/>
                    </a:cubicBezTo>
                    <a:cubicBezTo>
                      <a:pt x="31" y="0"/>
                      <a:pt x="29" y="4"/>
                      <a:pt x="28" y="6"/>
                    </a:cubicBezTo>
                    <a:cubicBezTo>
                      <a:pt x="27" y="9"/>
                      <a:pt x="20" y="16"/>
                      <a:pt x="20" y="17"/>
                    </a:cubicBezTo>
                    <a:cubicBezTo>
                      <a:pt x="22" y="19"/>
                      <a:pt x="27" y="15"/>
                      <a:pt x="29" y="16"/>
                    </a:cubicBezTo>
                    <a:cubicBezTo>
                      <a:pt x="31" y="17"/>
                      <a:pt x="31" y="20"/>
                      <a:pt x="33" y="20"/>
                    </a:cubicBezTo>
                    <a:cubicBezTo>
                      <a:pt x="35" y="20"/>
                      <a:pt x="39" y="17"/>
                      <a:pt x="42" y="18"/>
                    </a:cubicBezTo>
                    <a:cubicBezTo>
                      <a:pt x="44" y="19"/>
                      <a:pt x="45" y="20"/>
                      <a:pt x="45" y="22"/>
                    </a:cubicBezTo>
                    <a:cubicBezTo>
                      <a:pt x="46" y="23"/>
                      <a:pt x="42" y="27"/>
                      <a:pt x="44" y="28"/>
                    </a:cubicBezTo>
                    <a:cubicBezTo>
                      <a:pt x="45" y="30"/>
                      <a:pt x="48" y="28"/>
                      <a:pt x="49" y="29"/>
                    </a:cubicBezTo>
                    <a:cubicBezTo>
                      <a:pt x="50" y="29"/>
                      <a:pt x="43" y="36"/>
                      <a:pt x="45" y="37"/>
                    </a:cubicBezTo>
                    <a:cubicBezTo>
                      <a:pt x="47" y="39"/>
                      <a:pt x="51" y="36"/>
                      <a:pt x="52" y="36"/>
                    </a:cubicBezTo>
                    <a:cubicBezTo>
                      <a:pt x="53" y="37"/>
                      <a:pt x="49" y="49"/>
                      <a:pt x="48" y="49"/>
                    </a:cubicBezTo>
                    <a:cubicBezTo>
                      <a:pt x="46" y="49"/>
                      <a:pt x="41" y="49"/>
                      <a:pt x="41" y="47"/>
                    </a:cubicBezTo>
                    <a:cubicBezTo>
                      <a:pt x="41" y="45"/>
                      <a:pt x="42" y="42"/>
                      <a:pt x="39" y="41"/>
                    </a:cubicBezTo>
                    <a:cubicBezTo>
                      <a:pt x="37" y="41"/>
                      <a:pt x="34" y="46"/>
                      <a:pt x="31" y="46"/>
                    </a:cubicBezTo>
                    <a:cubicBezTo>
                      <a:pt x="28" y="46"/>
                      <a:pt x="26" y="47"/>
                      <a:pt x="26" y="46"/>
                    </a:cubicBezTo>
                    <a:cubicBezTo>
                      <a:pt x="25" y="44"/>
                      <a:pt x="31" y="40"/>
                      <a:pt x="30" y="39"/>
                    </a:cubicBezTo>
                    <a:cubicBezTo>
                      <a:pt x="30" y="37"/>
                      <a:pt x="27" y="38"/>
                      <a:pt x="25" y="38"/>
                    </a:cubicBezTo>
                    <a:cubicBezTo>
                      <a:pt x="23" y="38"/>
                      <a:pt x="20" y="41"/>
                      <a:pt x="17" y="40"/>
                    </a:cubicBezTo>
                    <a:cubicBezTo>
                      <a:pt x="14" y="40"/>
                      <a:pt x="12" y="39"/>
                      <a:pt x="10" y="38"/>
                    </a:cubicBezTo>
                    <a:cubicBezTo>
                      <a:pt x="8" y="38"/>
                      <a:pt x="4" y="39"/>
                      <a:pt x="2" y="3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8" name="Freeform 227"/>
              <p:cNvSpPr>
                <a:spLocks/>
              </p:cNvSpPr>
              <p:nvPr/>
            </p:nvSpPr>
            <p:spPr bwMode="auto">
              <a:xfrm>
                <a:off x="1726" y="1720"/>
                <a:ext cx="40" cy="21"/>
              </a:xfrm>
              <a:custGeom>
                <a:avLst/>
                <a:gdLst>
                  <a:gd name="T0" fmla="*/ 65536 w 20"/>
                  <a:gd name="T1" fmla="*/ 267061 h 10"/>
                  <a:gd name="T2" fmla="*/ 196608 w 20"/>
                  <a:gd name="T3" fmla="*/ 0 h 10"/>
                  <a:gd name="T4" fmla="*/ 1310720 w 20"/>
                  <a:gd name="T5" fmla="*/ 882380 h 10"/>
                  <a:gd name="T6" fmla="*/ 983040 w 20"/>
                  <a:gd name="T7" fmla="*/ 1419443 h 10"/>
                  <a:gd name="T8" fmla="*/ 327680 w 20"/>
                  <a:gd name="T9" fmla="*/ 882380 h 10"/>
                  <a:gd name="T10" fmla="*/ 65536 w 20"/>
                  <a:gd name="T11" fmla="*/ 267061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0">
                    <a:moveTo>
                      <a:pt x="1" y="2"/>
                    </a:moveTo>
                    <a:cubicBezTo>
                      <a:pt x="0" y="1"/>
                      <a:pt x="2" y="0"/>
                      <a:pt x="3" y="0"/>
                    </a:cubicBezTo>
                    <a:cubicBezTo>
                      <a:pt x="4" y="0"/>
                      <a:pt x="20" y="5"/>
                      <a:pt x="20" y="6"/>
                    </a:cubicBezTo>
                    <a:cubicBezTo>
                      <a:pt x="20" y="8"/>
                      <a:pt x="18" y="10"/>
                      <a:pt x="15" y="10"/>
                    </a:cubicBezTo>
                    <a:cubicBezTo>
                      <a:pt x="13" y="9"/>
                      <a:pt x="7" y="7"/>
                      <a:pt x="5" y="6"/>
                    </a:cubicBezTo>
                    <a:cubicBezTo>
                      <a:pt x="4" y="4"/>
                      <a:pt x="2" y="2"/>
                      <a:pt x="1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9" name="Freeform 228"/>
              <p:cNvSpPr>
                <a:spLocks/>
              </p:cNvSpPr>
              <p:nvPr/>
            </p:nvSpPr>
            <p:spPr bwMode="auto">
              <a:xfrm>
                <a:off x="1521" y="1295"/>
                <a:ext cx="39" cy="28"/>
              </a:xfrm>
              <a:custGeom>
                <a:avLst/>
                <a:gdLst>
                  <a:gd name="T0" fmla="*/ 286476 w 19"/>
                  <a:gd name="T1" fmla="*/ 917504 h 14"/>
                  <a:gd name="T2" fmla="*/ 90443 w 19"/>
                  <a:gd name="T3" fmla="*/ 458752 h 14"/>
                  <a:gd name="T4" fmla="*/ 782182 w 19"/>
                  <a:gd name="T5" fmla="*/ 0 h 14"/>
                  <a:gd name="T6" fmla="*/ 1700457 w 19"/>
                  <a:gd name="T7" fmla="*/ 65536 h 14"/>
                  <a:gd name="T8" fmla="*/ 1700457 w 19"/>
                  <a:gd name="T9" fmla="*/ 589824 h 14"/>
                  <a:gd name="T10" fmla="*/ 1297165 w 19"/>
                  <a:gd name="T11" fmla="*/ 851968 h 14"/>
                  <a:gd name="T12" fmla="*/ 286476 w 19"/>
                  <a:gd name="T13" fmla="*/ 91750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14">
                    <a:moveTo>
                      <a:pt x="3" y="14"/>
                    </a:moveTo>
                    <a:cubicBezTo>
                      <a:pt x="0" y="14"/>
                      <a:pt x="0" y="9"/>
                      <a:pt x="1" y="7"/>
                    </a:cubicBezTo>
                    <a:cubicBezTo>
                      <a:pt x="2" y="5"/>
                      <a:pt x="6" y="0"/>
                      <a:pt x="8" y="0"/>
                    </a:cubicBezTo>
                    <a:cubicBezTo>
                      <a:pt x="8" y="0"/>
                      <a:pt x="16" y="0"/>
                      <a:pt x="17" y="1"/>
                    </a:cubicBezTo>
                    <a:cubicBezTo>
                      <a:pt x="19" y="1"/>
                      <a:pt x="17" y="7"/>
                      <a:pt x="17" y="9"/>
                    </a:cubicBezTo>
                    <a:cubicBezTo>
                      <a:pt x="17" y="11"/>
                      <a:pt x="15" y="13"/>
                      <a:pt x="13" y="13"/>
                    </a:cubicBezTo>
                    <a:cubicBezTo>
                      <a:pt x="11" y="14"/>
                      <a:pt x="5" y="14"/>
                      <a:pt x="3" y="1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0" name="Freeform 229"/>
              <p:cNvSpPr>
                <a:spLocks/>
              </p:cNvSpPr>
              <p:nvPr/>
            </p:nvSpPr>
            <p:spPr bwMode="auto">
              <a:xfrm>
                <a:off x="1475" y="1441"/>
                <a:ext cx="18" cy="24"/>
              </a:xfrm>
              <a:custGeom>
                <a:avLst/>
                <a:gdLst>
                  <a:gd name="T0" fmla="*/ 0 w 9"/>
                  <a:gd name="T1" fmla="*/ 458752 h 12"/>
                  <a:gd name="T2" fmla="*/ 196608 w 9"/>
                  <a:gd name="T3" fmla="*/ 65536 h 12"/>
                  <a:gd name="T4" fmla="*/ 327680 w 9"/>
                  <a:gd name="T5" fmla="*/ 0 h 12"/>
                  <a:gd name="T6" fmla="*/ 589824 w 9"/>
                  <a:gd name="T7" fmla="*/ 196608 h 12"/>
                  <a:gd name="T8" fmla="*/ 589824 w 9"/>
                  <a:gd name="T9" fmla="*/ 262144 h 12"/>
                  <a:gd name="T10" fmla="*/ 524288 w 9"/>
                  <a:gd name="T11" fmla="*/ 589824 h 12"/>
                  <a:gd name="T12" fmla="*/ 327680 w 9"/>
                  <a:gd name="T13" fmla="*/ 786432 h 12"/>
                  <a:gd name="T14" fmla="*/ 0 w 9"/>
                  <a:gd name="T15" fmla="*/ 458752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" h="12">
                    <a:moveTo>
                      <a:pt x="0" y="7"/>
                    </a:moveTo>
                    <a:cubicBezTo>
                      <a:pt x="0" y="5"/>
                      <a:pt x="1" y="2"/>
                      <a:pt x="3" y="1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7" y="0"/>
                      <a:pt x="9" y="1"/>
                      <a:pt x="9" y="3"/>
                    </a:cubicBezTo>
                    <a:cubicBezTo>
                      <a:pt x="9" y="3"/>
                      <a:pt x="9" y="4"/>
                      <a:pt x="9" y="4"/>
                    </a:cubicBezTo>
                    <a:cubicBezTo>
                      <a:pt x="9" y="6"/>
                      <a:pt x="8" y="8"/>
                      <a:pt x="8" y="9"/>
                    </a:cubicBezTo>
                    <a:cubicBezTo>
                      <a:pt x="7" y="10"/>
                      <a:pt x="5" y="12"/>
                      <a:pt x="5" y="12"/>
                    </a:cubicBezTo>
                    <a:cubicBezTo>
                      <a:pt x="4" y="12"/>
                      <a:pt x="0" y="10"/>
                      <a:pt x="0" y="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1" name="Freeform 230"/>
              <p:cNvSpPr>
                <a:spLocks/>
              </p:cNvSpPr>
              <p:nvPr/>
            </p:nvSpPr>
            <p:spPr bwMode="auto">
              <a:xfrm>
                <a:off x="1477" y="1572"/>
                <a:ext cx="28" cy="29"/>
              </a:xfrm>
              <a:custGeom>
                <a:avLst/>
                <a:gdLst>
                  <a:gd name="T0" fmla="*/ 131072 w 14"/>
                  <a:gd name="T1" fmla="*/ 674878 h 14"/>
                  <a:gd name="T2" fmla="*/ 458752 w 14"/>
                  <a:gd name="T3" fmla="*/ 0 h 14"/>
                  <a:gd name="T4" fmla="*/ 655360 w 14"/>
                  <a:gd name="T5" fmla="*/ 325803 h 14"/>
                  <a:gd name="T6" fmla="*/ 851968 w 14"/>
                  <a:gd name="T7" fmla="*/ 570155 h 14"/>
                  <a:gd name="T8" fmla="*/ 589824 w 14"/>
                  <a:gd name="T9" fmla="*/ 1498297 h 14"/>
                  <a:gd name="T10" fmla="*/ 393216 w 14"/>
                  <a:gd name="T11" fmla="*/ 1181035 h 14"/>
                  <a:gd name="T12" fmla="*/ 65536 w 14"/>
                  <a:gd name="T13" fmla="*/ 1181035 h 14"/>
                  <a:gd name="T14" fmla="*/ 131072 w 14"/>
                  <a:gd name="T15" fmla="*/ 674878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6"/>
                    </a:moveTo>
                    <a:cubicBezTo>
                      <a:pt x="2" y="5"/>
                      <a:pt x="7" y="0"/>
                      <a:pt x="7" y="0"/>
                    </a:cubicBezTo>
                    <a:cubicBezTo>
                      <a:pt x="8" y="0"/>
                      <a:pt x="9" y="1"/>
                      <a:pt x="10" y="3"/>
                    </a:cubicBezTo>
                    <a:cubicBezTo>
                      <a:pt x="11" y="4"/>
                      <a:pt x="14" y="3"/>
                      <a:pt x="13" y="5"/>
                    </a:cubicBezTo>
                    <a:cubicBezTo>
                      <a:pt x="12" y="6"/>
                      <a:pt x="11" y="12"/>
                      <a:pt x="9" y="13"/>
                    </a:cubicBezTo>
                    <a:cubicBezTo>
                      <a:pt x="7" y="14"/>
                      <a:pt x="7" y="11"/>
                      <a:pt x="6" y="10"/>
                    </a:cubicBezTo>
                    <a:cubicBezTo>
                      <a:pt x="5" y="9"/>
                      <a:pt x="3" y="11"/>
                      <a:pt x="1" y="10"/>
                    </a:cubicBezTo>
                    <a:cubicBezTo>
                      <a:pt x="0" y="9"/>
                      <a:pt x="1" y="6"/>
                      <a:pt x="2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2" name="Freeform 231"/>
              <p:cNvSpPr>
                <a:spLocks/>
              </p:cNvSpPr>
              <p:nvPr/>
            </p:nvSpPr>
            <p:spPr bwMode="auto">
              <a:xfrm>
                <a:off x="1471" y="1137"/>
                <a:ext cx="68" cy="35"/>
              </a:xfrm>
              <a:custGeom>
                <a:avLst/>
                <a:gdLst>
                  <a:gd name="T0" fmla="*/ 327680 w 34"/>
                  <a:gd name="T1" fmla="*/ 957839 h 17"/>
                  <a:gd name="T2" fmla="*/ 65536 w 34"/>
                  <a:gd name="T3" fmla="*/ 608796 h 17"/>
                  <a:gd name="T4" fmla="*/ 0 w 34"/>
                  <a:gd name="T5" fmla="*/ 191460 h 17"/>
                  <a:gd name="T6" fmla="*/ 262144 w 34"/>
                  <a:gd name="T7" fmla="*/ 191460 h 17"/>
                  <a:gd name="T8" fmla="*/ 1048576 w 34"/>
                  <a:gd name="T9" fmla="*/ 295701 h 17"/>
                  <a:gd name="T10" fmla="*/ 1835008 w 34"/>
                  <a:gd name="T11" fmla="*/ 718630 h 17"/>
                  <a:gd name="T12" fmla="*/ 2162688 w 34"/>
                  <a:gd name="T13" fmla="*/ 1253404 h 17"/>
                  <a:gd name="T14" fmla="*/ 1638400 w 34"/>
                  <a:gd name="T15" fmla="*/ 1253404 h 17"/>
                  <a:gd name="T16" fmla="*/ 1048576 w 34"/>
                  <a:gd name="T17" fmla="*/ 1479532 h 17"/>
                  <a:gd name="T18" fmla="*/ 458752 w 34"/>
                  <a:gd name="T19" fmla="*/ 1375255 h 17"/>
                  <a:gd name="T20" fmla="*/ 327680 w 34"/>
                  <a:gd name="T21" fmla="*/ 957839 h 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4" h="17">
                    <a:moveTo>
                      <a:pt x="5" y="9"/>
                    </a:moveTo>
                    <a:cubicBezTo>
                      <a:pt x="4" y="7"/>
                      <a:pt x="1" y="6"/>
                      <a:pt x="1" y="6"/>
                    </a:cubicBezTo>
                    <a:cubicBezTo>
                      <a:pt x="1" y="6"/>
                      <a:pt x="0" y="3"/>
                      <a:pt x="0" y="2"/>
                    </a:cubicBezTo>
                    <a:cubicBezTo>
                      <a:pt x="0" y="0"/>
                      <a:pt x="4" y="2"/>
                      <a:pt x="4" y="2"/>
                    </a:cubicBezTo>
                    <a:cubicBezTo>
                      <a:pt x="7" y="2"/>
                      <a:pt x="14" y="2"/>
                      <a:pt x="16" y="3"/>
                    </a:cubicBezTo>
                    <a:cubicBezTo>
                      <a:pt x="19" y="3"/>
                      <a:pt x="26" y="5"/>
                      <a:pt x="28" y="7"/>
                    </a:cubicBezTo>
                    <a:cubicBezTo>
                      <a:pt x="29" y="8"/>
                      <a:pt x="34" y="11"/>
                      <a:pt x="33" y="12"/>
                    </a:cubicBezTo>
                    <a:cubicBezTo>
                      <a:pt x="32" y="12"/>
                      <a:pt x="28" y="12"/>
                      <a:pt x="25" y="12"/>
                    </a:cubicBezTo>
                    <a:cubicBezTo>
                      <a:pt x="21" y="12"/>
                      <a:pt x="19" y="14"/>
                      <a:pt x="16" y="14"/>
                    </a:cubicBezTo>
                    <a:cubicBezTo>
                      <a:pt x="12" y="14"/>
                      <a:pt x="9" y="17"/>
                      <a:pt x="7" y="13"/>
                    </a:cubicBezTo>
                    <a:cubicBezTo>
                      <a:pt x="5" y="9"/>
                      <a:pt x="6" y="11"/>
                      <a:pt x="5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3" name="Freeform 232"/>
              <p:cNvSpPr>
                <a:spLocks/>
              </p:cNvSpPr>
              <p:nvPr/>
            </p:nvSpPr>
            <p:spPr bwMode="auto">
              <a:xfrm>
                <a:off x="1418" y="1431"/>
                <a:ext cx="34" cy="20"/>
              </a:xfrm>
              <a:custGeom>
                <a:avLst/>
                <a:gdLst>
                  <a:gd name="T0" fmla="*/ 131072 w 17"/>
                  <a:gd name="T1" fmla="*/ 589824 h 10"/>
                  <a:gd name="T2" fmla="*/ 196608 w 17"/>
                  <a:gd name="T3" fmla="*/ 262144 h 10"/>
                  <a:gd name="T4" fmla="*/ 786432 w 17"/>
                  <a:gd name="T5" fmla="*/ 0 h 10"/>
                  <a:gd name="T6" fmla="*/ 1048576 w 17"/>
                  <a:gd name="T7" fmla="*/ 65536 h 10"/>
                  <a:gd name="T8" fmla="*/ 1114112 w 17"/>
                  <a:gd name="T9" fmla="*/ 65536 h 10"/>
                  <a:gd name="T10" fmla="*/ 1048576 w 17"/>
                  <a:gd name="T11" fmla="*/ 327680 h 10"/>
                  <a:gd name="T12" fmla="*/ 1048576 w 17"/>
                  <a:gd name="T13" fmla="*/ 393216 h 10"/>
                  <a:gd name="T14" fmla="*/ 524288 w 17"/>
                  <a:gd name="T15" fmla="*/ 589824 h 10"/>
                  <a:gd name="T16" fmla="*/ 131072 w 17"/>
                  <a:gd name="T17" fmla="*/ 589824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" h="10">
                    <a:moveTo>
                      <a:pt x="2" y="9"/>
                    </a:moveTo>
                    <a:cubicBezTo>
                      <a:pt x="0" y="9"/>
                      <a:pt x="1" y="5"/>
                      <a:pt x="3" y="4"/>
                    </a:cubicBezTo>
                    <a:cubicBezTo>
                      <a:pt x="6" y="2"/>
                      <a:pt x="8" y="0"/>
                      <a:pt x="12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1"/>
                      <a:pt x="17" y="3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8"/>
                      <a:pt x="9" y="9"/>
                      <a:pt x="8" y="9"/>
                    </a:cubicBezTo>
                    <a:cubicBezTo>
                      <a:pt x="6" y="9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4" name="Freeform 233"/>
              <p:cNvSpPr>
                <a:spLocks/>
              </p:cNvSpPr>
              <p:nvPr/>
            </p:nvSpPr>
            <p:spPr bwMode="auto">
              <a:xfrm>
                <a:off x="1367" y="1362"/>
                <a:ext cx="112" cy="73"/>
              </a:xfrm>
              <a:custGeom>
                <a:avLst/>
                <a:gdLst>
                  <a:gd name="T0" fmla="*/ 166854 w 55"/>
                  <a:gd name="T1" fmla="*/ 2304653 h 36"/>
                  <a:gd name="T2" fmla="*/ 778612 w 55"/>
                  <a:gd name="T3" fmla="*/ 1646904 h 36"/>
                  <a:gd name="T4" fmla="*/ 778612 w 55"/>
                  <a:gd name="T5" fmla="*/ 972186 h 36"/>
                  <a:gd name="T6" fmla="*/ 859303 w 55"/>
                  <a:gd name="T7" fmla="*/ 812172 h 36"/>
                  <a:gd name="T8" fmla="*/ 1036391 w 55"/>
                  <a:gd name="T9" fmla="*/ 155245 h 36"/>
                  <a:gd name="T10" fmla="*/ 1408970 w 55"/>
                  <a:gd name="T11" fmla="*/ 76559 h 36"/>
                  <a:gd name="T12" fmla="*/ 1749853 w 55"/>
                  <a:gd name="T13" fmla="*/ 638349 h 36"/>
                  <a:gd name="T14" fmla="*/ 2197277 w 55"/>
                  <a:gd name="T15" fmla="*/ 400523 h 36"/>
                  <a:gd name="T16" fmla="*/ 2787228 w 55"/>
                  <a:gd name="T17" fmla="*/ 812172 h 36"/>
                  <a:gd name="T18" fmla="*/ 3478565 w 55"/>
                  <a:gd name="T19" fmla="*/ 1213236 h 36"/>
                  <a:gd name="T20" fmla="*/ 4027640 w 55"/>
                  <a:gd name="T21" fmla="*/ 1725823 h 36"/>
                  <a:gd name="T22" fmla="*/ 4803896 w 55"/>
                  <a:gd name="T23" fmla="*/ 2126346 h 36"/>
                  <a:gd name="T24" fmla="*/ 4297682 w 55"/>
                  <a:gd name="T25" fmla="*/ 2548262 h 36"/>
                  <a:gd name="T26" fmla="*/ 3685804 w 55"/>
                  <a:gd name="T27" fmla="*/ 2304653 h 36"/>
                  <a:gd name="T28" fmla="*/ 3315361 w 55"/>
                  <a:gd name="T29" fmla="*/ 2126346 h 36"/>
                  <a:gd name="T30" fmla="*/ 2869175 w 55"/>
                  <a:gd name="T31" fmla="*/ 1725823 h 36"/>
                  <a:gd name="T32" fmla="*/ 2527349 w 55"/>
                  <a:gd name="T33" fmla="*/ 2126346 h 36"/>
                  <a:gd name="T34" fmla="*/ 1749853 w 55"/>
                  <a:gd name="T35" fmla="*/ 2708296 h 36"/>
                  <a:gd name="T36" fmla="*/ 1325314 w 55"/>
                  <a:gd name="T37" fmla="*/ 2783378 h 36"/>
                  <a:gd name="T38" fmla="*/ 1241109 w 55"/>
                  <a:gd name="T39" fmla="*/ 2224290 h 36"/>
                  <a:gd name="T40" fmla="*/ 166854 w 55"/>
                  <a:gd name="T41" fmla="*/ 2304653 h 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5" h="36">
                    <a:moveTo>
                      <a:pt x="2" y="28"/>
                    </a:moveTo>
                    <a:cubicBezTo>
                      <a:pt x="0" y="28"/>
                      <a:pt x="7" y="21"/>
                      <a:pt x="9" y="20"/>
                    </a:cubicBezTo>
                    <a:cubicBezTo>
                      <a:pt x="11" y="19"/>
                      <a:pt x="9" y="14"/>
                      <a:pt x="9" y="12"/>
                    </a:cubicBezTo>
                    <a:cubicBezTo>
                      <a:pt x="9" y="12"/>
                      <a:pt x="9" y="11"/>
                      <a:pt x="10" y="10"/>
                    </a:cubicBezTo>
                    <a:cubicBezTo>
                      <a:pt x="10" y="7"/>
                      <a:pt x="12" y="4"/>
                      <a:pt x="12" y="2"/>
                    </a:cubicBezTo>
                    <a:cubicBezTo>
                      <a:pt x="12" y="1"/>
                      <a:pt x="14" y="0"/>
                      <a:pt x="16" y="1"/>
                    </a:cubicBezTo>
                    <a:cubicBezTo>
                      <a:pt x="16" y="1"/>
                      <a:pt x="19" y="8"/>
                      <a:pt x="20" y="8"/>
                    </a:cubicBezTo>
                    <a:cubicBezTo>
                      <a:pt x="21" y="8"/>
                      <a:pt x="25" y="5"/>
                      <a:pt x="25" y="5"/>
                    </a:cubicBezTo>
                    <a:cubicBezTo>
                      <a:pt x="25" y="5"/>
                      <a:pt x="32" y="7"/>
                      <a:pt x="32" y="10"/>
                    </a:cubicBezTo>
                    <a:cubicBezTo>
                      <a:pt x="32" y="9"/>
                      <a:pt x="38" y="15"/>
                      <a:pt x="40" y="15"/>
                    </a:cubicBezTo>
                    <a:cubicBezTo>
                      <a:pt x="41" y="15"/>
                      <a:pt x="44" y="21"/>
                      <a:pt x="46" y="21"/>
                    </a:cubicBezTo>
                    <a:cubicBezTo>
                      <a:pt x="48" y="21"/>
                      <a:pt x="54" y="24"/>
                      <a:pt x="55" y="26"/>
                    </a:cubicBezTo>
                    <a:cubicBezTo>
                      <a:pt x="55" y="27"/>
                      <a:pt x="51" y="31"/>
                      <a:pt x="49" y="31"/>
                    </a:cubicBezTo>
                    <a:cubicBezTo>
                      <a:pt x="48" y="31"/>
                      <a:pt x="45" y="29"/>
                      <a:pt x="42" y="28"/>
                    </a:cubicBezTo>
                    <a:cubicBezTo>
                      <a:pt x="41" y="27"/>
                      <a:pt x="39" y="27"/>
                      <a:pt x="38" y="26"/>
                    </a:cubicBezTo>
                    <a:cubicBezTo>
                      <a:pt x="37" y="25"/>
                      <a:pt x="34" y="21"/>
                      <a:pt x="33" y="21"/>
                    </a:cubicBezTo>
                    <a:cubicBezTo>
                      <a:pt x="31" y="21"/>
                      <a:pt x="31" y="25"/>
                      <a:pt x="29" y="26"/>
                    </a:cubicBezTo>
                    <a:cubicBezTo>
                      <a:pt x="26" y="27"/>
                      <a:pt x="22" y="32"/>
                      <a:pt x="20" y="33"/>
                    </a:cubicBezTo>
                    <a:cubicBezTo>
                      <a:pt x="17" y="33"/>
                      <a:pt x="16" y="36"/>
                      <a:pt x="15" y="34"/>
                    </a:cubicBezTo>
                    <a:cubicBezTo>
                      <a:pt x="13" y="32"/>
                      <a:pt x="15" y="27"/>
                      <a:pt x="14" y="27"/>
                    </a:cubicBezTo>
                    <a:cubicBezTo>
                      <a:pt x="12" y="26"/>
                      <a:pt x="5" y="29"/>
                      <a:pt x="2" y="2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5" name="Freeform 234"/>
              <p:cNvSpPr>
                <a:spLocks/>
              </p:cNvSpPr>
              <p:nvPr/>
            </p:nvSpPr>
            <p:spPr bwMode="auto">
              <a:xfrm>
                <a:off x="1329" y="1137"/>
                <a:ext cx="443" cy="324"/>
              </a:xfrm>
              <a:custGeom>
                <a:avLst/>
                <a:gdLst>
                  <a:gd name="T0" fmla="*/ 1014037 w 219"/>
                  <a:gd name="T1" fmla="*/ 309791 h 160"/>
                  <a:gd name="T2" fmla="*/ 2840334 w 219"/>
                  <a:gd name="T3" fmla="*/ 152983 h 160"/>
                  <a:gd name="T4" fmla="*/ 1976403 w 219"/>
                  <a:gd name="T5" fmla="*/ 1693127 h 160"/>
                  <a:gd name="T6" fmla="*/ 2840334 w 219"/>
                  <a:gd name="T7" fmla="*/ 2810852 h 160"/>
                  <a:gd name="T8" fmla="*/ 2515429 w 219"/>
                  <a:gd name="T9" fmla="*/ 2167315 h 160"/>
                  <a:gd name="T10" fmla="*/ 2610797 w 219"/>
                  <a:gd name="T11" fmla="*/ 1427333 h 160"/>
                  <a:gd name="T12" fmla="*/ 3378055 w 219"/>
                  <a:gd name="T13" fmla="*/ 469695 h 160"/>
                  <a:gd name="T14" fmla="*/ 5011807 w 219"/>
                  <a:gd name="T15" fmla="*/ 394488 h 160"/>
                  <a:gd name="T16" fmla="*/ 5515312 w 219"/>
                  <a:gd name="T17" fmla="*/ 1349529 h 160"/>
                  <a:gd name="T18" fmla="*/ 5895679 w 219"/>
                  <a:gd name="T19" fmla="*/ 1926042 h 160"/>
                  <a:gd name="T20" fmla="*/ 6833235 w 219"/>
                  <a:gd name="T21" fmla="*/ 2011479 h 160"/>
                  <a:gd name="T22" fmla="*/ 7529451 w 219"/>
                  <a:gd name="T23" fmla="*/ 1349529 h 160"/>
                  <a:gd name="T24" fmla="*/ 9374030 w 219"/>
                  <a:gd name="T25" fmla="*/ 2011479 h 160"/>
                  <a:gd name="T26" fmla="*/ 9200556 w 219"/>
                  <a:gd name="T27" fmla="*/ 2648180 h 160"/>
                  <a:gd name="T28" fmla="*/ 10907506 w 219"/>
                  <a:gd name="T29" fmla="*/ 2732796 h 160"/>
                  <a:gd name="T30" fmla="*/ 11546647 w 219"/>
                  <a:gd name="T31" fmla="*/ 3589446 h 160"/>
                  <a:gd name="T32" fmla="*/ 12826462 w 219"/>
                  <a:gd name="T33" fmla="*/ 3669436 h 160"/>
                  <a:gd name="T34" fmla="*/ 13597559 w 219"/>
                  <a:gd name="T35" fmla="*/ 4388813 h 160"/>
                  <a:gd name="T36" fmla="*/ 13522747 w 219"/>
                  <a:gd name="T37" fmla="*/ 4968161 h 160"/>
                  <a:gd name="T38" fmla="*/ 13522747 w 219"/>
                  <a:gd name="T39" fmla="*/ 5287083 h 160"/>
                  <a:gd name="T40" fmla="*/ 13674510 w 219"/>
                  <a:gd name="T41" fmla="*/ 6085897 h 160"/>
                  <a:gd name="T42" fmla="*/ 15381191 w 219"/>
                  <a:gd name="T43" fmla="*/ 6942879 h 160"/>
                  <a:gd name="T44" fmla="*/ 16596967 w 219"/>
                  <a:gd name="T45" fmla="*/ 7513133 h 160"/>
                  <a:gd name="T46" fmla="*/ 16978230 w 219"/>
                  <a:gd name="T47" fmla="*/ 8331002 h 160"/>
                  <a:gd name="T48" fmla="*/ 16596967 w 219"/>
                  <a:gd name="T49" fmla="*/ 8887346 h 160"/>
                  <a:gd name="T50" fmla="*/ 15959769 w 219"/>
                  <a:gd name="T51" fmla="*/ 8971564 h 160"/>
                  <a:gd name="T52" fmla="*/ 15657823 w 219"/>
                  <a:gd name="T53" fmla="*/ 9588889 h 160"/>
                  <a:gd name="T54" fmla="*/ 14286784 w 219"/>
                  <a:gd name="T55" fmla="*/ 8482454 h 160"/>
                  <a:gd name="T56" fmla="*/ 13674510 w 219"/>
                  <a:gd name="T57" fmla="*/ 8558241 h 160"/>
                  <a:gd name="T58" fmla="*/ 13597559 w 219"/>
                  <a:gd name="T59" fmla="*/ 9281278 h 160"/>
                  <a:gd name="T60" fmla="*/ 15075072 w 219"/>
                  <a:gd name="T61" fmla="*/ 10464242 h 160"/>
                  <a:gd name="T62" fmla="*/ 14926994 w 219"/>
                  <a:gd name="T63" fmla="*/ 11448461 h 160"/>
                  <a:gd name="T64" fmla="*/ 15075072 w 219"/>
                  <a:gd name="T65" fmla="*/ 12246167 h 160"/>
                  <a:gd name="T66" fmla="*/ 14060992 w 219"/>
                  <a:gd name="T67" fmla="*/ 11281320 h 160"/>
                  <a:gd name="T68" fmla="*/ 12733643 w 219"/>
                  <a:gd name="T69" fmla="*/ 10936134 h 160"/>
                  <a:gd name="T70" fmla="*/ 14367153 w 219"/>
                  <a:gd name="T71" fmla="*/ 12323941 h 160"/>
                  <a:gd name="T72" fmla="*/ 13142325 w 219"/>
                  <a:gd name="T73" fmla="*/ 12323941 h 160"/>
                  <a:gd name="T74" fmla="*/ 11082276 w 219"/>
                  <a:gd name="T75" fmla="*/ 11526249 h 160"/>
                  <a:gd name="T76" fmla="*/ 10138039 w 219"/>
                  <a:gd name="T77" fmla="*/ 10389896 h 160"/>
                  <a:gd name="T78" fmla="*/ 8659266 w 219"/>
                  <a:gd name="T79" fmla="*/ 10136225 h 160"/>
                  <a:gd name="T80" fmla="*/ 7062767 w 219"/>
                  <a:gd name="T81" fmla="*/ 9908902 h 160"/>
                  <a:gd name="T82" fmla="*/ 7529451 w 219"/>
                  <a:gd name="T83" fmla="*/ 9203504 h 160"/>
                  <a:gd name="T84" fmla="*/ 8894388 w 219"/>
                  <a:gd name="T85" fmla="*/ 9356950 h 160"/>
                  <a:gd name="T86" fmla="*/ 9200556 w 219"/>
                  <a:gd name="T87" fmla="*/ 8482454 h 160"/>
                  <a:gd name="T88" fmla="*/ 10528138 w 219"/>
                  <a:gd name="T89" fmla="*/ 7346127 h 160"/>
                  <a:gd name="T90" fmla="*/ 9598691 w 219"/>
                  <a:gd name="T91" fmla="*/ 6161403 h 160"/>
                  <a:gd name="T92" fmla="*/ 8894388 w 219"/>
                  <a:gd name="T93" fmla="*/ 5852957 h 160"/>
                  <a:gd name="T94" fmla="*/ 8393301 w 219"/>
                  <a:gd name="T95" fmla="*/ 5440061 h 160"/>
                  <a:gd name="T96" fmla="*/ 7379259 w 219"/>
                  <a:gd name="T97" fmla="*/ 4697791 h 160"/>
                  <a:gd name="T98" fmla="*/ 6608589 w 219"/>
                  <a:gd name="T99" fmla="*/ 3747508 h 160"/>
                  <a:gd name="T100" fmla="*/ 6685060 w 219"/>
                  <a:gd name="T101" fmla="*/ 4470473 h 160"/>
                  <a:gd name="T102" fmla="*/ 5011807 w 219"/>
                  <a:gd name="T103" fmla="*/ 4388813 h 160"/>
                  <a:gd name="T104" fmla="*/ 3919619 w 219"/>
                  <a:gd name="T105" fmla="*/ 4312993 h 160"/>
                  <a:gd name="T106" fmla="*/ 1976403 w 219"/>
                  <a:gd name="T107" fmla="*/ 3994061 h 160"/>
                  <a:gd name="T108" fmla="*/ 303902 w 219"/>
                  <a:gd name="T109" fmla="*/ 3428582 h 160"/>
                  <a:gd name="T110" fmla="*/ 1326830 w 219"/>
                  <a:gd name="T111" fmla="*/ 3042668 h 160"/>
                  <a:gd name="T112" fmla="*/ 0 w 219"/>
                  <a:gd name="T113" fmla="*/ 1693127 h 16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19" h="160">
                    <a:moveTo>
                      <a:pt x="0" y="21"/>
                    </a:moveTo>
                    <a:cubicBezTo>
                      <a:pt x="1" y="18"/>
                      <a:pt x="7" y="7"/>
                      <a:pt x="13" y="4"/>
                    </a:cubicBezTo>
                    <a:cubicBezTo>
                      <a:pt x="20" y="0"/>
                      <a:pt x="28" y="0"/>
                      <a:pt x="31" y="1"/>
                    </a:cubicBezTo>
                    <a:cubicBezTo>
                      <a:pt x="35" y="1"/>
                      <a:pt x="36" y="1"/>
                      <a:pt x="36" y="2"/>
                    </a:cubicBezTo>
                    <a:cubicBezTo>
                      <a:pt x="36" y="3"/>
                      <a:pt x="26" y="8"/>
                      <a:pt x="24" y="14"/>
                    </a:cubicBezTo>
                    <a:cubicBezTo>
                      <a:pt x="22" y="17"/>
                      <a:pt x="24" y="18"/>
                      <a:pt x="25" y="21"/>
                    </a:cubicBezTo>
                    <a:cubicBezTo>
                      <a:pt x="26" y="23"/>
                      <a:pt x="23" y="24"/>
                      <a:pt x="24" y="29"/>
                    </a:cubicBezTo>
                    <a:cubicBezTo>
                      <a:pt x="26" y="33"/>
                      <a:pt x="34" y="34"/>
                      <a:pt x="36" y="35"/>
                    </a:cubicBezTo>
                    <a:cubicBezTo>
                      <a:pt x="38" y="36"/>
                      <a:pt x="40" y="36"/>
                      <a:pt x="40" y="33"/>
                    </a:cubicBezTo>
                    <a:cubicBezTo>
                      <a:pt x="40" y="30"/>
                      <a:pt x="33" y="28"/>
                      <a:pt x="32" y="27"/>
                    </a:cubicBezTo>
                    <a:cubicBezTo>
                      <a:pt x="31" y="25"/>
                      <a:pt x="39" y="26"/>
                      <a:pt x="39" y="25"/>
                    </a:cubicBezTo>
                    <a:cubicBezTo>
                      <a:pt x="39" y="24"/>
                      <a:pt x="34" y="21"/>
                      <a:pt x="33" y="18"/>
                    </a:cubicBezTo>
                    <a:cubicBezTo>
                      <a:pt x="32" y="16"/>
                      <a:pt x="34" y="13"/>
                      <a:pt x="35" y="10"/>
                    </a:cubicBezTo>
                    <a:cubicBezTo>
                      <a:pt x="37" y="8"/>
                      <a:pt x="39" y="6"/>
                      <a:pt x="43" y="6"/>
                    </a:cubicBezTo>
                    <a:cubicBezTo>
                      <a:pt x="47" y="5"/>
                      <a:pt x="57" y="2"/>
                      <a:pt x="60" y="2"/>
                    </a:cubicBezTo>
                    <a:cubicBezTo>
                      <a:pt x="63" y="3"/>
                      <a:pt x="64" y="3"/>
                      <a:pt x="64" y="5"/>
                    </a:cubicBezTo>
                    <a:cubicBezTo>
                      <a:pt x="64" y="8"/>
                      <a:pt x="65" y="9"/>
                      <a:pt x="67" y="9"/>
                    </a:cubicBezTo>
                    <a:cubicBezTo>
                      <a:pt x="69" y="10"/>
                      <a:pt x="70" y="15"/>
                      <a:pt x="70" y="17"/>
                    </a:cubicBezTo>
                    <a:cubicBezTo>
                      <a:pt x="70" y="20"/>
                      <a:pt x="67" y="25"/>
                      <a:pt x="70" y="27"/>
                    </a:cubicBezTo>
                    <a:cubicBezTo>
                      <a:pt x="72" y="29"/>
                      <a:pt x="73" y="25"/>
                      <a:pt x="75" y="24"/>
                    </a:cubicBezTo>
                    <a:cubicBezTo>
                      <a:pt x="76" y="23"/>
                      <a:pt x="78" y="21"/>
                      <a:pt x="80" y="22"/>
                    </a:cubicBezTo>
                    <a:cubicBezTo>
                      <a:pt x="82" y="22"/>
                      <a:pt x="87" y="25"/>
                      <a:pt x="87" y="25"/>
                    </a:cubicBezTo>
                    <a:cubicBezTo>
                      <a:pt x="87" y="25"/>
                      <a:pt x="89" y="22"/>
                      <a:pt x="88" y="20"/>
                    </a:cubicBezTo>
                    <a:cubicBezTo>
                      <a:pt x="87" y="18"/>
                      <a:pt x="93" y="18"/>
                      <a:pt x="96" y="17"/>
                    </a:cubicBezTo>
                    <a:cubicBezTo>
                      <a:pt x="98" y="16"/>
                      <a:pt x="107" y="21"/>
                      <a:pt x="110" y="21"/>
                    </a:cubicBezTo>
                    <a:cubicBezTo>
                      <a:pt x="113" y="21"/>
                      <a:pt x="117" y="23"/>
                      <a:pt x="119" y="25"/>
                    </a:cubicBezTo>
                    <a:cubicBezTo>
                      <a:pt x="121" y="26"/>
                      <a:pt x="115" y="29"/>
                      <a:pt x="113" y="31"/>
                    </a:cubicBezTo>
                    <a:cubicBezTo>
                      <a:pt x="112" y="33"/>
                      <a:pt x="115" y="33"/>
                      <a:pt x="117" y="33"/>
                    </a:cubicBezTo>
                    <a:cubicBezTo>
                      <a:pt x="118" y="33"/>
                      <a:pt x="123" y="32"/>
                      <a:pt x="127" y="32"/>
                    </a:cubicBezTo>
                    <a:cubicBezTo>
                      <a:pt x="130" y="32"/>
                      <a:pt x="135" y="32"/>
                      <a:pt x="139" y="34"/>
                    </a:cubicBezTo>
                    <a:cubicBezTo>
                      <a:pt x="143" y="36"/>
                      <a:pt x="144" y="37"/>
                      <a:pt x="146" y="39"/>
                    </a:cubicBezTo>
                    <a:cubicBezTo>
                      <a:pt x="148" y="42"/>
                      <a:pt x="144" y="43"/>
                      <a:pt x="147" y="45"/>
                    </a:cubicBezTo>
                    <a:cubicBezTo>
                      <a:pt x="149" y="47"/>
                      <a:pt x="152" y="45"/>
                      <a:pt x="155" y="44"/>
                    </a:cubicBezTo>
                    <a:cubicBezTo>
                      <a:pt x="158" y="44"/>
                      <a:pt x="161" y="46"/>
                      <a:pt x="163" y="46"/>
                    </a:cubicBezTo>
                    <a:cubicBezTo>
                      <a:pt x="166" y="47"/>
                      <a:pt x="164" y="50"/>
                      <a:pt x="166" y="51"/>
                    </a:cubicBezTo>
                    <a:cubicBezTo>
                      <a:pt x="168" y="51"/>
                      <a:pt x="172" y="54"/>
                      <a:pt x="173" y="55"/>
                    </a:cubicBezTo>
                    <a:cubicBezTo>
                      <a:pt x="174" y="57"/>
                      <a:pt x="169" y="58"/>
                      <a:pt x="169" y="60"/>
                    </a:cubicBezTo>
                    <a:cubicBezTo>
                      <a:pt x="169" y="61"/>
                      <a:pt x="170" y="61"/>
                      <a:pt x="172" y="62"/>
                    </a:cubicBezTo>
                    <a:cubicBezTo>
                      <a:pt x="175" y="63"/>
                      <a:pt x="178" y="65"/>
                      <a:pt x="177" y="66"/>
                    </a:cubicBezTo>
                    <a:cubicBezTo>
                      <a:pt x="177" y="68"/>
                      <a:pt x="173" y="66"/>
                      <a:pt x="172" y="66"/>
                    </a:cubicBezTo>
                    <a:cubicBezTo>
                      <a:pt x="171" y="66"/>
                      <a:pt x="170" y="68"/>
                      <a:pt x="170" y="70"/>
                    </a:cubicBezTo>
                    <a:cubicBezTo>
                      <a:pt x="170" y="72"/>
                      <a:pt x="172" y="74"/>
                      <a:pt x="174" y="76"/>
                    </a:cubicBezTo>
                    <a:cubicBezTo>
                      <a:pt x="176" y="78"/>
                      <a:pt x="183" y="79"/>
                      <a:pt x="187" y="80"/>
                    </a:cubicBezTo>
                    <a:cubicBezTo>
                      <a:pt x="192" y="82"/>
                      <a:pt x="194" y="84"/>
                      <a:pt x="196" y="87"/>
                    </a:cubicBezTo>
                    <a:cubicBezTo>
                      <a:pt x="199" y="89"/>
                      <a:pt x="200" y="90"/>
                      <a:pt x="203" y="92"/>
                    </a:cubicBezTo>
                    <a:cubicBezTo>
                      <a:pt x="205" y="94"/>
                      <a:pt x="208" y="94"/>
                      <a:pt x="211" y="94"/>
                    </a:cubicBezTo>
                    <a:cubicBezTo>
                      <a:pt x="213" y="94"/>
                      <a:pt x="217" y="97"/>
                      <a:pt x="218" y="99"/>
                    </a:cubicBezTo>
                    <a:cubicBezTo>
                      <a:pt x="219" y="100"/>
                      <a:pt x="217" y="102"/>
                      <a:pt x="216" y="104"/>
                    </a:cubicBezTo>
                    <a:cubicBezTo>
                      <a:pt x="216" y="105"/>
                      <a:pt x="212" y="104"/>
                      <a:pt x="211" y="105"/>
                    </a:cubicBezTo>
                    <a:cubicBezTo>
                      <a:pt x="211" y="106"/>
                      <a:pt x="212" y="110"/>
                      <a:pt x="211" y="111"/>
                    </a:cubicBezTo>
                    <a:cubicBezTo>
                      <a:pt x="211" y="113"/>
                      <a:pt x="209" y="113"/>
                      <a:pt x="209" y="113"/>
                    </a:cubicBezTo>
                    <a:cubicBezTo>
                      <a:pt x="209" y="113"/>
                      <a:pt x="204" y="111"/>
                      <a:pt x="203" y="112"/>
                    </a:cubicBezTo>
                    <a:cubicBezTo>
                      <a:pt x="202" y="113"/>
                      <a:pt x="203" y="119"/>
                      <a:pt x="203" y="120"/>
                    </a:cubicBezTo>
                    <a:cubicBezTo>
                      <a:pt x="203" y="121"/>
                      <a:pt x="200" y="120"/>
                      <a:pt x="199" y="120"/>
                    </a:cubicBezTo>
                    <a:cubicBezTo>
                      <a:pt x="198" y="120"/>
                      <a:pt x="188" y="116"/>
                      <a:pt x="186" y="114"/>
                    </a:cubicBezTo>
                    <a:cubicBezTo>
                      <a:pt x="184" y="113"/>
                      <a:pt x="183" y="107"/>
                      <a:pt x="182" y="106"/>
                    </a:cubicBezTo>
                    <a:cubicBezTo>
                      <a:pt x="181" y="105"/>
                      <a:pt x="176" y="102"/>
                      <a:pt x="174" y="102"/>
                    </a:cubicBezTo>
                    <a:cubicBezTo>
                      <a:pt x="171" y="102"/>
                      <a:pt x="174" y="106"/>
                      <a:pt x="174" y="107"/>
                    </a:cubicBezTo>
                    <a:cubicBezTo>
                      <a:pt x="174" y="108"/>
                      <a:pt x="172" y="108"/>
                      <a:pt x="171" y="110"/>
                    </a:cubicBezTo>
                    <a:cubicBezTo>
                      <a:pt x="169" y="113"/>
                      <a:pt x="173" y="114"/>
                      <a:pt x="173" y="116"/>
                    </a:cubicBezTo>
                    <a:cubicBezTo>
                      <a:pt x="174" y="118"/>
                      <a:pt x="179" y="120"/>
                      <a:pt x="182" y="122"/>
                    </a:cubicBezTo>
                    <a:cubicBezTo>
                      <a:pt x="184" y="124"/>
                      <a:pt x="191" y="129"/>
                      <a:pt x="192" y="131"/>
                    </a:cubicBezTo>
                    <a:cubicBezTo>
                      <a:pt x="193" y="132"/>
                      <a:pt x="196" y="134"/>
                      <a:pt x="196" y="137"/>
                    </a:cubicBezTo>
                    <a:cubicBezTo>
                      <a:pt x="196" y="140"/>
                      <a:pt x="190" y="142"/>
                      <a:pt x="190" y="143"/>
                    </a:cubicBezTo>
                    <a:cubicBezTo>
                      <a:pt x="190" y="144"/>
                      <a:pt x="195" y="148"/>
                      <a:pt x="195" y="149"/>
                    </a:cubicBezTo>
                    <a:cubicBezTo>
                      <a:pt x="194" y="151"/>
                      <a:pt x="193" y="152"/>
                      <a:pt x="192" y="153"/>
                    </a:cubicBezTo>
                    <a:cubicBezTo>
                      <a:pt x="190" y="154"/>
                      <a:pt x="189" y="151"/>
                      <a:pt x="188" y="149"/>
                    </a:cubicBezTo>
                    <a:cubicBezTo>
                      <a:pt x="187" y="147"/>
                      <a:pt x="182" y="144"/>
                      <a:pt x="179" y="141"/>
                    </a:cubicBezTo>
                    <a:cubicBezTo>
                      <a:pt x="176" y="139"/>
                      <a:pt x="171" y="138"/>
                      <a:pt x="169" y="137"/>
                    </a:cubicBezTo>
                    <a:cubicBezTo>
                      <a:pt x="166" y="135"/>
                      <a:pt x="163" y="135"/>
                      <a:pt x="162" y="137"/>
                    </a:cubicBezTo>
                    <a:cubicBezTo>
                      <a:pt x="162" y="138"/>
                      <a:pt x="165" y="142"/>
                      <a:pt x="168" y="143"/>
                    </a:cubicBezTo>
                    <a:cubicBezTo>
                      <a:pt x="170" y="144"/>
                      <a:pt x="182" y="153"/>
                      <a:pt x="183" y="154"/>
                    </a:cubicBezTo>
                    <a:cubicBezTo>
                      <a:pt x="184" y="156"/>
                      <a:pt x="185" y="159"/>
                      <a:pt x="184" y="160"/>
                    </a:cubicBezTo>
                    <a:cubicBezTo>
                      <a:pt x="183" y="160"/>
                      <a:pt x="170" y="154"/>
                      <a:pt x="167" y="154"/>
                    </a:cubicBezTo>
                    <a:cubicBezTo>
                      <a:pt x="164" y="153"/>
                      <a:pt x="156" y="151"/>
                      <a:pt x="152" y="148"/>
                    </a:cubicBezTo>
                    <a:cubicBezTo>
                      <a:pt x="148" y="146"/>
                      <a:pt x="143" y="146"/>
                      <a:pt x="141" y="144"/>
                    </a:cubicBezTo>
                    <a:cubicBezTo>
                      <a:pt x="138" y="142"/>
                      <a:pt x="139" y="139"/>
                      <a:pt x="139" y="137"/>
                    </a:cubicBezTo>
                    <a:cubicBezTo>
                      <a:pt x="139" y="136"/>
                      <a:pt x="131" y="132"/>
                      <a:pt x="129" y="130"/>
                    </a:cubicBezTo>
                    <a:cubicBezTo>
                      <a:pt x="126" y="128"/>
                      <a:pt x="122" y="127"/>
                      <a:pt x="120" y="125"/>
                    </a:cubicBezTo>
                    <a:cubicBezTo>
                      <a:pt x="118" y="123"/>
                      <a:pt x="111" y="126"/>
                      <a:pt x="110" y="127"/>
                    </a:cubicBezTo>
                    <a:cubicBezTo>
                      <a:pt x="108" y="128"/>
                      <a:pt x="101" y="130"/>
                      <a:pt x="98" y="130"/>
                    </a:cubicBezTo>
                    <a:cubicBezTo>
                      <a:pt x="94" y="130"/>
                      <a:pt x="91" y="125"/>
                      <a:pt x="90" y="124"/>
                    </a:cubicBezTo>
                    <a:cubicBezTo>
                      <a:pt x="88" y="123"/>
                      <a:pt x="92" y="119"/>
                      <a:pt x="94" y="118"/>
                    </a:cubicBezTo>
                    <a:cubicBezTo>
                      <a:pt x="96" y="117"/>
                      <a:pt x="94" y="115"/>
                      <a:pt x="96" y="115"/>
                    </a:cubicBezTo>
                    <a:cubicBezTo>
                      <a:pt x="96" y="115"/>
                      <a:pt x="100" y="114"/>
                      <a:pt x="102" y="115"/>
                    </a:cubicBezTo>
                    <a:cubicBezTo>
                      <a:pt x="105" y="116"/>
                      <a:pt x="109" y="116"/>
                      <a:pt x="113" y="117"/>
                    </a:cubicBezTo>
                    <a:cubicBezTo>
                      <a:pt x="116" y="117"/>
                      <a:pt x="123" y="115"/>
                      <a:pt x="124" y="115"/>
                    </a:cubicBezTo>
                    <a:cubicBezTo>
                      <a:pt x="126" y="115"/>
                      <a:pt x="117" y="108"/>
                      <a:pt x="117" y="106"/>
                    </a:cubicBezTo>
                    <a:cubicBezTo>
                      <a:pt x="117" y="105"/>
                      <a:pt x="124" y="99"/>
                      <a:pt x="127" y="99"/>
                    </a:cubicBezTo>
                    <a:cubicBezTo>
                      <a:pt x="129" y="99"/>
                      <a:pt x="132" y="94"/>
                      <a:pt x="134" y="92"/>
                    </a:cubicBezTo>
                    <a:cubicBezTo>
                      <a:pt x="135" y="91"/>
                      <a:pt x="131" y="86"/>
                      <a:pt x="131" y="85"/>
                    </a:cubicBezTo>
                    <a:cubicBezTo>
                      <a:pt x="130" y="84"/>
                      <a:pt x="126" y="78"/>
                      <a:pt x="122" y="77"/>
                    </a:cubicBezTo>
                    <a:cubicBezTo>
                      <a:pt x="118" y="75"/>
                      <a:pt x="121" y="73"/>
                      <a:pt x="118" y="72"/>
                    </a:cubicBezTo>
                    <a:cubicBezTo>
                      <a:pt x="115" y="70"/>
                      <a:pt x="114" y="72"/>
                      <a:pt x="113" y="73"/>
                    </a:cubicBezTo>
                    <a:cubicBezTo>
                      <a:pt x="112" y="73"/>
                      <a:pt x="102" y="72"/>
                      <a:pt x="102" y="71"/>
                    </a:cubicBezTo>
                    <a:cubicBezTo>
                      <a:pt x="102" y="70"/>
                      <a:pt x="106" y="68"/>
                      <a:pt x="107" y="68"/>
                    </a:cubicBezTo>
                    <a:cubicBezTo>
                      <a:pt x="108" y="68"/>
                      <a:pt x="109" y="66"/>
                      <a:pt x="105" y="63"/>
                    </a:cubicBezTo>
                    <a:cubicBezTo>
                      <a:pt x="101" y="61"/>
                      <a:pt x="94" y="60"/>
                      <a:pt x="94" y="59"/>
                    </a:cubicBezTo>
                    <a:cubicBezTo>
                      <a:pt x="93" y="57"/>
                      <a:pt x="92" y="54"/>
                      <a:pt x="91" y="52"/>
                    </a:cubicBezTo>
                    <a:cubicBezTo>
                      <a:pt x="91" y="50"/>
                      <a:pt x="84" y="47"/>
                      <a:pt x="84" y="47"/>
                    </a:cubicBezTo>
                    <a:cubicBezTo>
                      <a:pt x="84" y="47"/>
                      <a:pt x="81" y="48"/>
                      <a:pt x="80" y="49"/>
                    </a:cubicBezTo>
                    <a:cubicBezTo>
                      <a:pt x="80" y="51"/>
                      <a:pt x="85" y="54"/>
                      <a:pt x="85" y="56"/>
                    </a:cubicBezTo>
                    <a:cubicBezTo>
                      <a:pt x="85" y="58"/>
                      <a:pt x="80" y="57"/>
                      <a:pt x="78" y="57"/>
                    </a:cubicBezTo>
                    <a:cubicBezTo>
                      <a:pt x="77" y="57"/>
                      <a:pt x="66" y="55"/>
                      <a:pt x="64" y="55"/>
                    </a:cubicBezTo>
                    <a:cubicBezTo>
                      <a:pt x="63" y="55"/>
                      <a:pt x="61" y="56"/>
                      <a:pt x="58" y="56"/>
                    </a:cubicBezTo>
                    <a:cubicBezTo>
                      <a:pt x="56" y="56"/>
                      <a:pt x="53" y="54"/>
                      <a:pt x="50" y="54"/>
                    </a:cubicBezTo>
                    <a:cubicBezTo>
                      <a:pt x="47" y="54"/>
                      <a:pt x="43" y="53"/>
                      <a:pt x="40" y="53"/>
                    </a:cubicBezTo>
                    <a:cubicBezTo>
                      <a:pt x="37" y="53"/>
                      <a:pt x="27" y="50"/>
                      <a:pt x="25" y="50"/>
                    </a:cubicBezTo>
                    <a:cubicBezTo>
                      <a:pt x="23" y="49"/>
                      <a:pt x="20" y="50"/>
                      <a:pt x="16" y="51"/>
                    </a:cubicBezTo>
                    <a:cubicBezTo>
                      <a:pt x="12" y="51"/>
                      <a:pt x="4" y="45"/>
                      <a:pt x="4" y="43"/>
                    </a:cubicBezTo>
                    <a:cubicBezTo>
                      <a:pt x="4" y="42"/>
                      <a:pt x="20" y="42"/>
                      <a:pt x="21" y="41"/>
                    </a:cubicBezTo>
                    <a:cubicBezTo>
                      <a:pt x="21" y="39"/>
                      <a:pt x="19" y="39"/>
                      <a:pt x="17" y="38"/>
                    </a:cubicBezTo>
                    <a:cubicBezTo>
                      <a:pt x="15" y="37"/>
                      <a:pt x="0" y="35"/>
                      <a:pt x="0" y="34"/>
                    </a:cubicBezTo>
                    <a:cubicBezTo>
                      <a:pt x="0" y="33"/>
                      <a:pt x="0" y="25"/>
                      <a:pt x="0" y="2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6" name="Freeform 235"/>
              <p:cNvSpPr>
                <a:spLocks/>
              </p:cNvSpPr>
              <p:nvPr/>
            </p:nvSpPr>
            <p:spPr bwMode="auto">
              <a:xfrm>
                <a:off x="1294" y="821"/>
                <a:ext cx="480" cy="243"/>
              </a:xfrm>
              <a:custGeom>
                <a:avLst/>
                <a:gdLst>
                  <a:gd name="T0" fmla="*/ 394910 w 237"/>
                  <a:gd name="T1" fmla="*/ 2491787 h 120"/>
                  <a:gd name="T2" fmla="*/ 310317 w 237"/>
                  <a:gd name="T3" fmla="*/ 2087058 h 120"/>
                  <a:gd name="T4" fmla="*/ 1429408 w 237"/>
                  <a:gd name="T5" fmla="*/ 1926042 h 120"/>
                  <a:gd name="T6" fmla="*/ 2015911 w 237"/>
                  <a:gd name="T7" fmla="*/ 1617647 h 120"/>
                  <a:gd name="T8" fmla="*/ 3048213 w 237"/>
                  <a:gd name="T9" fmla="*/ 1693127 h 120"/>
                  <a:gd name="T10" fmla="*/ 4004990 w 237"/>
                  <a:gd name="T11" fmla="*/ 1349529 h 120"/>
                  <a:gd name="T12" fmla="*/ 4478060 w 237"/>
                  <a:gd name="T13" fmla="*/ 951132 h 120"/>
                  <a:gd name="T14" fmla="*/ 5626364 w 237"/>
                  <a:gd name="T15" fmla="*/ 1427333 h 120"/>
                  <a:gd name="T16" fmla="*/ 6096549 w 237"/>
                  <a:gd name="T17" fmla="*/ 1270337 h 120"/>
                  <a:gd name="T18" fmla="*/ 6096549 w 237"/>
                  <a:gd name="T19" fmla="*/ 704856 h 120"/>
                  <a:gd name="T20" fmla="*/ 7450343 w 237"/>
                  <a:gd name="T21" fmla="*/ 704856 h 120"/>
                  <a:gd name="T22" fmla="*/ 8344660 w 237"/>
                  <a:gd name="T23" fmla="*/ 309791 h 120"/>
                  <a:gd name="T24" fmla="*/ 9532865 w 237"/>
                  <a:gd name="T25" fmla="*/ 798838 h 120"/>
                  <a:gd name="T26" fmla="*/ 9379214 w 237"/>
                  <a:gd name="T27" fmla="*/ 152983 h 120"/>
                  <a:gd name="T28" fmla="*/ 10959988 w 237"/>
                  <a:gd name="T29" fmla="*/ 231948 h 120"/>
                  <a:gd name="T30" fmla="*/ 11627326 w 237"/>
                  <a:gd name="T31" fmla="*/ 75547 h 120"/>
                  <a:gd name="T32" fmla="*/ 13546961 w 237"/>
                  <a:gd name="T33" fmla="*/ 75547 h 120"/>
                  <a:gd name="T34" fmla="*/ 15318094 w 237"/>
                  <a:gd name="T35" fmla="*/ 469695 h 120"/>
                  <a:gd name="T36" fmla="*/ 15318094 w 237"/>
                  <a:gd name="T37" fmla="*/ 951132 h 120"/>
                  <a:gd name="T38" fmla="*/ 17208676 w 237"/>
                  <a:gd name="T39" fmla="*/ 469695 h 120"/>
                  <a:gd name="T40" fmla="*/ 18601167 w 237"/>
                  <a:gd name="T41" fmla="*/ 951132 h 120"/>
                  <a:gd name="T42" fmla="*/ 17058821 w 237"/>
                  <a:gd name="T43" fmla="*/ 1926042 h 120"/>
                  <a:gd name="T44" fmla="*/ 13932857 w 237"/>
                  <a:gd name="T45" fmla="*/ 2572432 h 120"/>
                  <a:gd name="T46" fmla="*/ 14518240 w 237"/>
                  <a:gd name="T47" fmla="*/ 2890349 h 120"/>
                  <a:gd name="T48" fmla="*/ 15475797 w 237"/>
                  <a:gd name="T49" fmla="*/ 3195679 h 120"/>
                  <a:gd name="T50" fmla="*/ 12900415 w 237"/>
                  <a:gd name="T51" fmla="*/ 4815229 h 120"/>
                  <a:gd name="T52" fmla="*/ 9454665 w 237"/>
                  <a:gd name="T53" fmla="*/ 5287083 h 120"/>
                  <a:gd name="T54" fmla="*/ 10499164 w 237"/>
                  <a:gd name="T55" fmla="*/ 5765819 h 120"/>
                  <a:gd name="T56" fmla="*/ 10407461 w 237"/>
                  <a:gd name="T57" fmla="*/ 6789359 h 120"/>
                  <a:gd name="T58" fmla="*/ 8496784 w 237"/>
                  <a:gd name="T59" fmla="*/ 7268628 h 120"/>
                  <a:gd name="T60" fmla="*/ 6954995 w 237"/>
                  <a:gd name="T61" fmla="*/ 8087974 h 120"/>
                  <a:gd name="T62" fmla="*/ 8111372 w 237"/>
                  <a:gd name="T63" fmla="*/ 8558241 h 120"/>
                  <a:gd name="T64" fmla="*/ 8422793 w 237"/>
                  <a:gd name="T65" fmla="*/ 9203504 h 120"/>
                  <a:gd name="T66" fmla="*/ 6726131 w 237"/>
                  <a:gd name="T67" fmla="*/ 9128495 h 120"/>
                  <a:gd name="T68" fmla="*/ 4553136 w 237"/>
                  <a:gd name="T69" fmla="*/ 9128495 h 120"/>
                  <a:gd name="T70" fmla="*/ 2814643 w 237"/>
                  <a:gd name="T71" fmla="*/ 9203504 h 120"/>
                  <a:gd name="T72" fmla="*/ 1695552 w 237"/>
                  <a:gd name="T73" fmla="*/ 8733811 h 120"/>
                  <a:gd name="T74" fmla="*/ 2739565 w 237"/>
                  <a:gd name="T75" fmla="*/ 8087974 h 120"/>
                  <a:gd name="T76" fmla="*/ 3358112 w 237"/>
                  <a:gd name="T77" fmla="*/ 7588704 h 120"/>
                  <a:gd name="T78" fmla="*/ 4977458 w 237"/>
                  <a:gd name="T79" fmla="*/ 8248321 h 120"/>
                  <a:gd name="T80" fmla="*/ 4399919 w 237"/>
                  <a:gd name="T81" fmla="*/ 7740455 h 120"/>
                  <a:gd name="T82" fmla="*/ 4399919 w 237"/>
                  <a:gd name="T83" fmla="*/ 6865115 h 120"/>
                  <a:gd name="T84" fmla="*/ 2895004 w 237"/>
                  <a:gd name="T85" fmla="*/ 6942879 h 120"/>
                  <a:gd name="T86" fmla="*/ 3828302 w 237"/>
                  <a:gd name="T87" fmla="*/ 6238079 h 120"/>
                  <a:gd name="T88" fmla="*/ 5778483 w 237"/>
                  <a:gd name="T89" fmla="*/ 6161403 h 120"/>
                  <a:gd name="T90" fmla="*/ 4826078 w 237"/>
                  <a:gd name="T91" fmla="*/ 5691975 h 120"/>
                  <a:gd name="T92" fmla="*/ 3828302 w 237"/>
                  <a:gd name="T93" fmla="*/ 4815229 h 120"/>
                  <a:gd name="T94" fmla="*/ 3434029 w 237"/>
                  <a:gd name="T95" fmla="*/ 4226292 h 120"/>
                  <a:gd name="T96" fmla="*/ 5064148 w 237"/>
                  <a:gd name="T97" fmla="*/ 4312993 h 120"/>
                  <a:gd name="T98" fmla="*/ 6406866 w 237"/>
                  <a:gd name="T99" fmla="*/ 5130813 h 120"/>
                  <a:gd name="T100" fmla="*/ 6481977 w 237"/>
                  <a:gd name="T101" fmla="*/ 4620716 h 120"/>
                  <a:gd name="T102" fmla="*/ 6331285 w 237"/>
                  <a:gd name="T103" fmla="*/ 4073245 h 120"/>
                  <a:gd name="T104" fmla="*/ 8189507 w 237"/>
                  <a:gd name="T105" fmla="*/ 3512095 h 120"/>
                  <a:gd name="T106" fmla="*/ 8344660 w 237"/>
                  <a:gd name="T107" fmla="*/ 2890349 h 120"/>
                  <a:gd name="T108" fmla="*/ 7525989 w 237"/>
                  <a:gd name="T109" fmla="*/ 3428582 h 120"/>
                  <a:gd name="T110" fmla="*/ 3280780 w 237"/>
                  <a:gd name="T111" fmla="*/ 3669436 h 120"/>
                  <a:gd name="T112" fmla="*/ 2972836 w 237"/>
                  <a:gd name="T113" fmla="*/ 3195679 h 120"/>
                  <a:gd name="T114" fmla="*/ 3434029 w 237"/>
                  <a:gd name="T115" fmla="*/ 2732796 h 120"/>
                  <a:gd name="T116" fmla="*/ 956926 w 237"/>
                  <a:gd name="T117" fmla="*/ 2572432 h 12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37" h="120">
                    <a:moveTo>
                      <a:pt x="12" y="32"/>
                    </a:moveTo>
                    <a:cubicBezTo>
                      <a:pt x="8" y="30"/>
                      <a:pt x="8" y="31"/>
                      <a:pt x="5" y="31"/>
                    </a:cubicBezTo>
                    <a:cubicBezTo>
                      <a:pt x="3" y="31"/>
                      <a:pt x="2" y="29"/>
                      <a:pt x="2" y="29"/>
                    </a:cubicBezTo>
                    <a:cubicBezTo>
                      <a:pt x="0" y="28"/>
                      <a:pt x="2" y="26"/>
                      <a:pt x="4" y="26"/>
                    </a:cubicBezTo>
                    <a:cubicBezTo>
                      <a:pt x="5" y="26"/>
                      <a:pt x="10" y="23"/>
                      <a:pt x="11" y="23"/>
                    </a:cubicBezTo>
                    <a:cubicBezTo>
                      <a:pt x="12" y="23"/>
                      <a:pt x="18" y="24"/>
                      <a:pt x="18" y="24"/>
                    </a:cubicBezTo>
                    <a:cubicBezTo>
                      <a:pt x="18" y="24"/>
                      <a:pt x="20" y="25"/>
                      <a:pt x="22" y="24"/>
                    </a:cubicBezTo>
                    <a:cubicBezTo>
                      <a:pt x="23" y="23"/>
                      <a:pt x="24" y="21"/>
                      <a:pt x="25" y="20"/>
                    </a:cubicBezTo>
                    <a:cubicBezTo>
                      <a:pt x="26" y="20"/>
                      <a:pt x="32" y="19"/>
                      <a:pt x="33" y="19"/>
                    </a:cubicBezTo>
                    <a:cubicBezTo>
                      <a:pt x="34" y="20"/>
                      <a:pt x="36" y="21"/>
                      <a:pt x="38" y="21"/>
                    </a:cubicBezTo>
                    <a:cubicBezTo>
                      <a:pt x="40" y="21"/>
                      <a:pt x="41" y="17"/>
                      <a:pt x="41" y="17"/>
                    </a:cubicBezTo>
                    <a:cubicBezTo>
                      <a:pt x="42" y="17"/>
                      <a:pt x="50" y="18"/>
                      <a:pt x="50" y="17"/>
                    </a:cubicBezTo>
                    <a:cubicBezTo>
                      <a:pt x="50" y="16"/>
                      <a:pt x="48" y="12"/>
                      <a:pt x="49" y="12"/>
                    </a:cubicBezTo>
                    <a:cubicBezTo>
                      <a:pt x="50" y="12"/>
                      <a:pt x="55" y="12"/>
                      <a:pt x="56" y="12"/>
                    </a:cubicBezTo>
                    <a:cubicBezTo>
                      <a:pt x="57" y="13"/>
                      <a:pt x="62" y="14"/>
                      <a:pt x="64" y="15"/>
                    </a:cubicBezTo>
                    <a:cubicBezTo>
                      <a:pt x="65" y="16"/>
                      <a:pt x="68" y="18"/>
                      <a:pt x="70" y="18"/>
                    </a:cubicBezTo>
                    <a:cubicBezTo>
                      <a:pt x="72" y="19"/>
                      <a:pt x="75" y="18"/>
                      <a:pt x="76" y="18"/>
                    </a:cubicBezTo>
                    <a:cubicBezTo>
                      <a:pt x="78" y="18"/>
                      <a:pt x="77" y="17"/>
                      <a:pt x="76" y="16"/>
                    </a:cubicBezTo>
                    <a:cubicBezTo>
                      <a:pt x="76" y="16"/>
                      <a:pt x="71" y="14"/>
                      <a:pt x="72" y="13"/>
                    </a:cubicBezTo>
                    <a:cubicBezTo>
                      <a:pt x="73" y="12"/>
                      <a:pt x="76" y="9"/>
                      <a:pt x="76" y="9"/>
                    </a:cubicBezTo>
                    <a:cubicBezTo>
                      <a:pt x="76" y="9"/>
                      <a:pt x="82" y="7"/>
                      <a:pt x="85" y="7"/>
                    </a:cubicBezTo>
                    <a:cubicBezTo>
                      <a:pt x="89" y="6"/>
                      <a:pt x="91" y="9"/>
                      <a:pt x="93" y="9"/>
                    </a:cubicBezTo>
                    <a:cubicBezTo>
                      <a:pt x="96" y="9"/>
                      <a:pt x="92" y="4"/>
                      <a:pt x="94" y="4"/>
                    </a:cubicBezTo>
                    <a:cubicBezTo>
                      <a:pt x="96" y="3"/>
                      <a:pt x="102" y="3"/>
                      <a:pt x="104" y="4"/>
                    </a:cubicBezTo>
                    <a:cubicBezTo>
                      <a:pt x="106" y="5"/>
                      <a:pt x="111" y="5"/>
                      <a:pt x="112" y="6"/>
                    </a:cubicBezTo>
                    <a:cubicBezTo>
                      <a:pt x="114" y="7"/>
                      <a:pt x="118" y="9"/>
                      <a:pt x="119" y="10"/>
                    </a:cubicBezTo>
                    <a:cubicBezTo>
                      <a:pt x="120" y="11"/>
                      <a:pt x="123" y="11"/>
                      <a:pt x="124" y="10"/>
                    </a:cubicBezTo>
                    <a:cubicBezTo>
                      <a:pt x="125" y="9"/>
                      <a:pt x="117" y="4"/>
                      <a:pt x="117" y="2"/>
                    </a:cubicBezTo>
                    <a:cubicBezTo>
                      <a:pt x="118" y="1"/>
                      <a:pt x="127" y="1"/>
                      <a:pt x="129" y="1"/>
                    </a:cubicBezTo>
                    <a:cubicBezTo>
                      <a:pt x="132" y="1"/>
                      <a:pt x="136" y="2"/>
                      <a:pt x="137" y="3"/>
                    </a:cubicBezTo>
                    <a:cubicBezTo>
                      <a:pt x="138" y="4"/>
                      <a:pt x="142" y="6"/>
                      <a:pt x="144" y="6"/>
                    </a:cubicBezTo>
                    <a:cubicBezTo>
                      <a:pt x="146" y="6"/>
                      <a:pt x="144" y="1"/>
                      <a:pt x="145" y="1"/>
                    </a:cubicBezTo>
                    <a:cubicBezTo>
                      <a:pt x="147" y="1"/>
                      <a:pt x="152" y="1"/>
                      <a:pt x="155" y="1"/>
                    </a:cubicBezTo>
                    <a:cubicBezTo>
                      <a:pt x="157" y="2"/>
                      <a:pt x="167" y="0"/>
                      <a:pt x="169" y="1"/>
                    </a:cubicBezTo>
                    <a:cubicBezTo>
                      <a:pt x="171" y="1"/>
                      <a:pt x="186" y="3"/>
                      <a:pt x="189" y="3"/>
                    </a:cubicBezTo>
                    <a:cubicBezTo>
                      <a:pt x="192" y="4"/>
                      <a:pt x="200" y="4"/>
                      <a:pt x="191" y="6"/>
                    </a:cubicBezTo>
                    <a:cubicBezTo>
                      <a:pt x="182" y="9"/>
                      <a:pt x="176" y="9"/>
                      <a:pt x="178" y="11"/>
                    </a:cubicBezTo>
                    <a:cubicBezTo>
                      <a:pt x="180" y="12"/>
                      <a:pt x="189" y="12"/>
                      <a:pt x="191" y="12"/>
                    </a:cubicBezTo>
                    <a:cubicBezTo>
                      <a:pt x="192" y="12"/>
                      <a:pt x="202" y="9"/>
                      <a:pt x="205" y="7"/>
                    </a:cubicBezTo>
                    <a:cubicBezTo>
                      <a:pt x="208" y="5"/>
                      <a:pt x="213" y="6"/>
                      <a:pt x="215" y="6"/>
                    </a:cubicBezTo>
                    <a:cubicBezTo>
                      <a:pt x="217" y="7"/>
                      <a:pt x="219" y="11"/>
                      <a:pt x="222" y="11"/>
                    </a:cubicBezTo>
                    <a:cubicBezTo>
                      <a:pt x="224" y="12"/>
                      <a:pt x="230" y="11"/>
                      <a:pt x="232" y="12"/>
                    </a:cubicBezTo>
                    <a:cubicBezTo>
                      <a:pt x="234" y="14"/>
                      <a:pt x="237" y="15"/>
                      <a:pt x="233" y="18"/>
                    </a:cubicBezTo>
                    <a:cubicBezTo>
                      <a:pt x="231" y="19"/>
                      <a:pt x="217" y="24"/>
                      <a:pt x="213" y="24"/>
                    </a:cubicBezTo>
                    <a:cubicBezTo>
                      <a:pt x="209" y="24"/>
                      <a:pt x="200" y="26"/>
                      <a:pt x="198" y="27"/>
                    </a:cubicBezTo>
                    <a:cubicBezTo>
                      <a:pt x="192" y="27"/>
                      <a:pt x="179" y="32"/>
                      <a:pt x="174" y="32"/>
                    </a:cubicBezTo>
                    <a:cubicBezTo>
                      <a:pt x="169" y="33"/>
                      <a:pt x="169" y="36"/>
                      <a:pt x="170" y="37"/>
                    </a:cubicBezTo>
                    <a:cubicBezTo>
                      <a:pt x="171" y="37"/>
                      <a:pt x="178" y="36"/>
                      <a:pt x="181" y="36"/>
                    </a:cubicBezTo>
                    <a:cubicBezTo>
                      <a:pt x="184" y="36"/>
                      <a:pt x="209" y="30"/>
                      <a:pt x="209" y="31"/>
                    </a:cubicBezTo>
                    <a:cubicBezTo>
                      <a:pt x="210" y="32"/>
                      <a:pt x="197" y="39"/>
                      <a:pt x="193" y="40"/>
                    </a:cubicBezTo>
                    <a:cubicBezTo>
                      <a:pt x="188" y="42"/>
                      <a:pt x="176" y="49"/>
                      <a:pt x="172" y="51"/>
                    </a:cubicBezTo>
                    <a:cubicBezTo>
                      <a:pt x="169" y="52"/>
                      <a:pt x="164" y="58"/>
                      <a:pt x="161" y="60"/>
                    </a:cubicBezTo>
                    <a:cubicBezTo>
                      <a:pt x="158" y="61"/>
                      <a:pt x="149" y="65"/>
                      <a:pt x="145" y="65"/>
                    </a:cubicBezTo>
                    <a:cubicBezTo>
                      <a:pt x="142" y="65"/>
                      <a:pt x="121" y="67"/>
                      <a:pt x="118" y="66"/>
                    </a:cubicBezTo>
                    <a:cubicBezTo>
                      <a:pt x="115" y="66"/>
                      <a:pt x="112" y="69"/>
                      <a:pt x="114" y="69"/>
                    </a:cubicBezTo>
                    <a:cubicBezTo>
                      <a:pt x="116" y="69"/>
                      <a:pt x="128" y="71"/>
                      <a:pt x="131" y="72"/>
                    </a:cubicBezTo>
                    <a:cubicBezTo>
                      <a:pt x="134" y="73"/>
                      <a:pt x="132" y="74"/>
                      <a:pt x="132" y="76"/>
                    </a:cubicBezTo>
                    <a:cubicBezTo>
                      <a:pt x="132" y="78"/>
                      <a:pt x="132" y="82"/>
                      <a:pt x="130" y="85"/>
                    </a:cubicBezTo>
                    <a:cubicBezTo>
                      <a:pt x="127" y="88"/>
                      <a:pt x="124" y="91"/>
                      <a:pt x="123" y="91"/>
                    </a:cubicBezTo>
                    <a:cubicBezTo>
                      <a:pt x="122" y="91"/>
                      <a:pt x="110" y="91"/>
                      <a:pt x="106" y="91"/>
                    </a:cubicBezTo>
                    <a:cubicBezTo>
                      <a:pt x="102" y="92"/>
                      <a:pt x="110" y="97"/>
                      <a:pt x="108" y="98"/>
                    </a:cubicBezTo>
                    <a:cubicBezTo>
                      <a:pt x="106" y="100"/>
                      <a:pt x="91" y="102"/>
                      <a:pt x="87" y="101"/>
                    </a:cubicBezTo>
                    <a:cubicBezTo>
                      <a:pt x="83" y="100"/>
                      <a:pt x="84" y="100"/>
                      <a:pt x="83" y="103"/>
                    </a:cubicBezTo>
                    <a:cubicBezTo>
                      <a:pt x="81" y="106"/>
                      <a:pt x="97" y="106"/>
                      <a:pt x="101" y="107"/>
                    </a:cubicBezTo>
                    <a:cubicBezTo>
                      <a:pt x="104" y="108"/>
                      <a:pt x="106" y="106"/>
                      <a:pt x="107" y="108"/>
                    </a:cubicBezTo>
                    <a:cubicBezTo>
                      <a:pt x="108" y="111"/>
                      <a:pt x="107" y="114"/>
                      <a:pt x="105" y="115"/>
                    </a:cubicBezTo>
                    <a:cubicBezTo>
                      <a:pt x="103" y="115"/>
                      <a:pt x="88" y="120"/>
                      <a:pt x="86" y="120"/>
                    </a:cubicBezTo>
                    <a:cubicBezTo>
                      <a:pt x="84" y="120"/>
                      <a:pt x="89" y="114"/>
                      <a:pt x="84" y="114"/>
                    </a:cubicBezTo>
                    <a:cubicBezTo>
                      <a:pt x="79" y="114"/>
                      <a:pt x="77" y="116"/>
                      <a:pt x="69" y="115"/>
                    </a:cubicBezTo>
                    <a:cubicBezTo>
                      <a:pt x="61" y="115"/>
                      <a:pt x="59" y="114"/>
                      <a:pt x="57" y="114"/>
                    </a:cubicBezTo>
                    <a:cubicBezTo>
                      <a:pt x="55" y="114"/>
                      <a:pt x="61" y="120"/>
                      <a:pt x="54" y="119"/>
                    </a:cubicBezTo>
                    <a:cubicBezTo>
                      <a:pt x="47" y="119"/>
                      <a:pt x="39" y="116"/>
                      <a:pt x="35" y="115"/>
                    </a:cubicBezTo>
                    <a:cubicBezTo>
                      <a:pt x="30" y="115"/>
                      <a:pt x="20" y="116"/>
                      <a:pt x="18" y="113"/>
                    </a:cubicBezTo>
                    <a:cubicBezTo>
                      <a:pt x="16" y="111"/>
                      <a:pt x="17" y="110"/>
                      <a:pt x="21" y="109"/>
                    </a:cubicBezTo>
                    <a:cubicBezTo>
                      <a:pt x="24" y="109"/>
                      <a:pt x="35" y="108"/>
                      <a:pt x="38" y="106"/>
                    </a:cubicBezTo>
                    <a:cubicBezTo>
                      <a:pt x="41" y="104"/>
                      <a:pt x="35" y="103"/>
                      <a:pt x="34" y="101"/>
                    </a:cubicBezTo>
                    <a:cubicBezTo>
                      <a:pt x="33" y="99"/>
                      <a:pt x="29" y="97"/>
                      <a:pt x="31" y="95"/>
                    </a:cubicBezTo>
                    <a:cubicBezTo>
                      <a:pt x="32" y="94"/>
                      <a:pt x="38" y="92"/>
                      <a:pt x="42" y="95"/>
                    </a:cubicBezTo>
                    <a:cubicBezTo>
                      <a:pt x="46" y="98"/>
                      <a:pt x="46" y="101"/>
                      <a:pt x="49" y="102"/>
                    </a:cubicBezTo>
                    <a:cubicBezTo>
                      <a:pt x="52" y="103"/>
                      <a:pt x="59" y="103"/>
                      <a:pt x="62" y="103"/>
                    </a:cubicBezTo>
                    <a:cubicBezTo>
                      <a:pt x="64" y="102"/>
                      <a:pt x="65" y="101"/>
                      <a:pt x="64" y="100"/>
                    </a:cubicBezTo>
                    <a:cubicBezTo>
                      <a:pt x="64" y="98"/>
                      <a:pt x="57" y="100"/>
                      <a:pt x="55" y="97"/>
                    </a:cubicBezTo>
                    <a:cubicBezTo>
                      <a:pt x="53" y="94"/>
                      <a:pt x="50" y="92"/>
                      <a:pt x="52" y="91"/>
                    </a:cubicBezTo>
                    <a:cubicBezTo>
                      <a:pt x="54" y="90"/>
                      <a:pt x="56" y="89"/>
                      <a:pt x="55" y="86"/>
                    </a:cubicBezTo>
                    <a:cubicBezTo>
                      <a:pt x="54" y="83"/>
                      <a:pt x="51" y="87"/>
                      <a:pt x="45" y="87"/>
                    </a:cubicBezTo>
                    <a:cubicBezTo>
                      <a:pt x="39" y="88"/>
                      <a:pt x="36" y="89"/>
                      <a:pt x="36" y="87"/>
                    </a:cubicBezTo>
                    <a:cubicBezTo>
                      <a:pt x="37" y="85"/>
                      <a:pt x="39" y="82"/>
                      <a:pt x="41" y="80"/>
                    </a:cubicBezTo>
                    <a:cubicBezTo>
                      <a:pt x="43" y="79"/>
                      <a:pt x="44" y="78"/>
                      <a:pt x="48" y="78"/>
                    </a:cubicBezTo>
                    <a:cubicBezTo>
                      <a:pt x="53" y="78"/>
                      <a:pt x="63" y="77"/>
                      <a:pt x="66" y="79"/>
                    </a:cubicBezTo>
                    <a:cubicBezTo>
                      <a:pt x="70" y="80"/>
                      <a:pt x="70" y="80"/>
                      <a:pt x="72" y="77"/>
                    </a:cubicBezTo>
                    <a:cubicBezTo>
                      <a:pt x="74" y="74"/>
                      <a:pt x="68" y="74"/>
                      <a:pt x="65" y="73"/>
                    </a:cubicBezTo>
                    <a:cubicBezTo>
                      <a:pt x="62" y="73"/>
                      <a:pt x="60" y="74"/>
                      <a:pt x="60" y="71"/>
                    </a:cubicBezTo>
                    <a:cubicBezTo>
                      <a:pt x="61" y="67"/>
                      <a:pt x="59" y="67"/>
                      <a:pt x="56" y="64"/>
                    </a:cubicBezTo>
                    <a:cubicBezTo>
                      <a:pt x="53" y="62"/>
                      <a:pt x="49" y="60"/>
                      <a:pt x="48" y="60"/>
                    </a:cubicBezTo>
                    <a:cubicBezTo>
                      <a:pt x="47" y="60"/>
                      <a:pt x="45" y="61"/>
                      <a:pt x="44" y="59"/>
                    </a:cubicBezTo>
                    <a:cubicBezTo>
                      <a:pt x="43" y="58"/>
                      <a:pt x="42" y="53"/>
                      <a:pt x="43" y="53"/>
                    </a:cubicBezTo>
                    <a:cubicBezTo>
                      <a:pt x="45" y="52"/>
                      <a:pt x="50" y="53"/>
                      <a:pt x="53" y="53"/>
                    </a:cubicBezTo>
                    <a:cubicBezTo>
                      <a:pt x="56" y="53"/>
                      <a:pt x="61" y="52"/>
                      <a:pt x="63" y="54"/>
                    </a:cubicBezTo>
                    <a:cubicBezTo>
                      <a:pt x="65" y="56"/>
                      <a:pt x="74" y="59"/>
                      <a:pt x="75" y="60"/>
                    </a:cubicBezTo>
                    <a:cubicBezTo>
                      <a:pt x="75" y="62"/>
                      <a:pt x="78" y="64"/>
                      <a:pt x="80" y="64"/>
                    </a:cubicBezTo>
                    <a:cubicBezTo>
                      <a:pt x="81" y="64"/>
                      <a:pt x="84" y="63"/>
                      <a:pt x="84" y="61"/>
                    </a:cubicBezTo>
                    <a:cubicBezTo>
                      <a:pt x="84" y="60"/>
                      <a:pt x="81" y="59"/>
                      <a:pt x="81" y="58"/>
                    </a:cubicBezTo>
                    <a:cubicBezTo>
                      <a:pt x="81" y="56"/>
                      <a:pt x="72" y="54"/>
                      <a:pt x="71" y="53"/>
                    </a:cubicBezTo>
                    <a:cubicBezTo>
                      <a:pt x="71" y="51"/>
                      <a:pt x="77" y="51"/>
                      <a:pt x="79" y="51"/>
                    </a:cubicBezTo>
                    <a:cubicBezTo>
                      <a:pt x="82" y="51"/>
                      <a:pt x="94" y="48"/>
                      <a:pt x="96" y="48"/>
                    </a:cubicBezTo>
                    <a:cubicBezTo>
                      <a:pt x="98" y="47"/>
                      <a:pt x="102" y="46"/>
                      <a:pt x="102" y="44"/>
                    </a:cubicBezTo>
                    <a:cubicBezTo>
                      <a:pt x="102" y="42"/>
                      <a:pt x="101" y="41"/>
                      <a:pt x="102" y="40"/>
                    </a:cubicBezTo>
                    <a:cubicBezTo>
                      <a:pt x="103" y="39"/>
                      <a:pt x="105" y="36"/>
                      <a:pt x="104" y="36"/>
                    </a:cubicBezTo>
                    <a:cubicBezTo>
                      <a:pt x="103" y="35"/>
                      <a:pt x="97" y="38"/>
                      <a:pt x="96" y="39"/>
                    </a:cubicBezTo>
                    <a:cubicBezTo>
                      <a:pt x="95" y="39"/>
                      <a:pt x="96" y="43"/>
                      <a:pt x="94" y="43"/>
                    </a:cubicBezTo>
                    <a:cubicBezTo>
                      <a:pt x="91" y="43"/>
                      <a:pt x="73" y="47"/>
                      <a:pt x="65" y="46"/>
                    </a:cubicBezTo>
                    <a:cubicBezTo>
                      <a:pt x="58" y="46"/>
                      <a:pt x="45" y="48"/>
                      <a:pt x="41" y="46"/>
                    </a:cubicBezTo>
                    <a:cubicBezTo>
                      <a:pt x="37" y="44"/>
                      <a:pt x="30" y="46"/>
                      <a:pt x="25" y="43"/>
                    </a:cubicBezTo>
                    <a:cubicBezTo>
                      <a:pt x="21" y="39"/>
                      <a:pt x="32" y="40"/>
                      <a:pt x="37" y="40"/>
                    </a:cubicBezTo>
                    <a:cubicBezTo>
                      <a:pt x="43" y="39"/>
                      <a:pt x="49" y="36"/>
                      <a:pt x="50" y="35"/>
                    </a:cubicBezTo>
                    <a:cubicBezTo>
                      <a:pt x="52" y="33"/>
                      <a:pt x="49" y="33"/>
                      <a:pt x="43" y="34"/>
                    </a:cubicBezTo>
                    <a:cubicBezTo>
                      <a:pt x="37" y="34"/>
                      <a:pt x="21" y="37"/>
                      <a:pt x="15" y="35"/>
                    </a:cubicBezTo>
                    <a:cubicBezTo>
                      <a:pt x="9" y="33"/>
                      <a:pt x="16" y="35"/>
                      <a:pt x="12" y="3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7" name="Freeform 236"/>
              <p:cNvSpPr>
                <a:spLocks/>
              </p:cNvSpPr>
              <p:nvPr/>
            </p:nvSpPr>
            <p:spPr bwMode="auto">
              <a:xfrm>
                <a:off x="1300" y="1014"/>
                <a:ext cx="33" cy="22"/>
              </a:xfrm>
              <a:custGeom>
                <a:avLst/>
                <a:gdLst>
                  <a:gd name="T0" fmla="*/ 882082 w 16"/>
                  <a:gd name="T1" fmla="*/ 655360 h 11"/>
                  <a:gd name="T2" fmla="*/ 207358 w 16"/>
                  <a:gd name="T3" fmla="*/ 327680 h 11"/>
                  <a:gd name="T4" fmla="*/ 635520 w 16"/>
                  <a:gd name="T5" fmla="*/ 0 h 11"/>
                  <a:gd name="T6" fmla="*/ 1186773 w 16"/>
                  <a:gd name="T7" fmla="*/ 65536 h 11"/>
                  <a:gd name="T8" fmla="*/ 1711980 w 16"/>
                  <a:gd name="T9" fmla="*/ 458752 h 11"/>
                  <a:gd name="T10" fmla="*/ 882082 w 16"/>
                  <a:gd name="T11" fmla="*/ 655360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" h="11">
                    <a:moveTo>
                      <a:pt x="8" y="10"/>
                    </a:moveTo>
                    <a:cubicBezTo>
                      <a:pt x="6" y="10"/>
                      <a:pt x="2" y="7"/>
                      <a:pt x="2" y="5"/>
                    </a:cubicBezTo>
                    <a:cubicBezTo>
                      <a:pt x="0" y="3"/>
                      <a:pt x="4" y="0"/>
                      <a:pt x="6" y="0"/>
                    </a:cubicBezTo>
                    <a:cubicBezTo>
                      <a:pt x="6" y="0"/>
                      <a:pt x="9" y="0"/>
                      <a:pt x="11" y="1"/>
                    </a:cubicBezTo>
                    <a:cubicBezTo>
                      <a:pt x="13" y="1"/>
                      <a:pt x="16" y="4"/>
                      <a:pt x="16" y="7"/>
                    </a:cubicBezTo>
                    <a:cubicBezTo>
                      <a:pt x="16" y="11"/>
                      <a:pt x="10" y="10"/>
                      <a:pt x="8" y="1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8" name="Freeform 237"/>
              <p:cNvSpPr>
                <a:spLocks/>
              </p:cNvSpPr>
              <p:nvPr/>
            </p:nvSpPr>
            <p:spPr bwMode="auto">
              <a:xfrm>
                <a:off x="1278" y="1050"/>
                <a:ext cx="213" cy="69"/>
              </a:xfrm>
              <a:custGeom>
                <a:avLst/>
                <a:gdLst>
                  <a:gd name="T0" fmla="*/ 76948 w 105"/>
                  <a:gd name="T1" fmla="*/ 403916 h 34"/>
                  <a:gd name="T2" fmla="*/ 402572 w 105"/>
                  <a:gd name="T3" fmla="*/ 0 h 34"/>
                  <a:gd name="T4" fmla="*/ 1142475 w 105"/>
                  <a:gd name="T5" fmla="*/ 0 h 34"/>
                  <a:gd name="T6" fmla="*/ 1903301 w 105"/>
                  <a:gd name="T7" fmla="*/ 483270 h 34"/>
                  <a:gd name="T8" fmla="*/ 2482756 w 105"/>
                  <a:gd name="T9" fmla="*/ 644515 h 34"/>
                  <a:gd name="T10" fmla="*/ 1903301 w 105"/>
                  <a:gd name="T11" fmla="*/ 819712 h 34"/>
                  <a:gd name="T12" fmla="*/ 2394544 w 105"/>
                  <a:gd name="T13" fmla="*/ 1229174 h 34"/>
                  <a:gd name="T14" fmla="*/ 3611800 w 105"/>
                  <a:gd name="T15" fmla="*/ 1307986 h 34"/>
                  <a:gd name="T16" fmla="*/ 4375679 w 105"/>
                  <a:gd name="T17" fmla="*/ 1663533 h 34"/>
                  <a:gd name="T18" fmla="*/ 4778316 w 105"/>
                  <a:gd name="T19" fmla="*/ 1425400 h 34"/>
                  <a:gd name="T20" fmla="*/ 5831617 w 105"/>
                  <a:gd name="T21" fmla="*/ 1146817 h 34"/>
                  <a:gd name="T22" fmla="*/ 7251723 w 105"/>
                  <a:gd name="T23" fmla="*/ 1146817 h 34"/>
                  <a:gd name="T24" fmla="*/ 7911457 w 105"/>
                  <a:gd name="T25" fmla="*/ 1229174 h 34"/>
                  <a:gd name="T26" fmla="*/ 8473805 w 105"/>
                  <a:gd name="T27" fmla="*/ 1663533 h 34"/>
                  <a:gd name="T28" fmla="*/ 8076670 w 105"/>
                  <a:gd name="T29" fmla="*/ 2090318 h 34"/>
                  <a:gd name="T30" fmla="*/ 8629835 w 105"/>
                  <a:gd name="T31" fmla="*/ 2251352 h 34"/>
                  <a:gd name="T32" fmla="*/ 8076670 w 105"/>
                  <a:gd name="T33" fmla="*/ 2578567 h 34"/>
                  <a:gd name="T34" fmla="*/ 7049702 w 105"/>
                  <a:gd name="T35" fmla="*/ 2731546 h 34"/>
                  <a:gd name="T36" fmla="*/ 6312241 w 105"/>
                  <a:gd name="T37" fmla="*/ 2578567 h 34"/>
                  <a:gd name="T38" fmla="*/ 6156144 w 105"/>
                  <a:gd name="T39" fmla="*/ 2251352 h 34"/>
                  <a:gd name="T40" fmla="*/ 5594423 w 105"/>
                  <a:gd name="T41" fmla="*/ 2654442 h 34"/>
                  <a:gd name="T42" fmla="*/ 4375679 w 105"/>
                  <a:gd name="T43" fmla="*/ 2731546 h 34"/>
                  <a:gd name="T44" fmla="*/ 2956330 w 105"/>
                  <a:gd name="T45" fmla="*/ 2731546 h 34"/>
                  <a:gd name="T46" fmla="*/ 2795698 w 105"/>
                  <a:gd name="T47" fmla="*/ 2251352 h 34"/>
                  <a:gd name="T48" fmla="*/ 2233974 w 105"/>
                  <a:gd name="T49" fmla="*/ 2654442 h 34"/>
                  <a:gd name="T50" fmla="*/ 1495988 w 105"/>
                  <a:gd name="T51" fmla="*/ 2578567 h 34"/>
                  <a:gd name="T52" fmla="*/ 737459 w 105"/>
                  <a:gd name="T53" fmla="*/ 2417399 h 34"/>
                  <a:gd name="T54" fmla="*/ 481759 w 105"/>
                  <a:gd name="T55" fmla="*/ 1829316 h 34"/>
                  <a:gd name="T56" fmla="*/ 642347 w 105"/>
                  <a:gd name="T57" fmla="*/ 1307986 h 34"/>
                  <a:gd name="T58" fmla="*/ 402572 w 105"/>
                  <a:gd name="T59" fmla="*/ 819712 h 34"/>
                  <a:gd name="T60" fmla="*/ 76948 w 105"/>
                  <a:gd name="T61" fmla="*/ 403916 h 3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5" h="34">
                    <a:moveTo>
                      <a:pt x="1" y="5"/>
                    </a:moveTo>
                    <a:cubicBezTo>
                      <a:pt x="2" y="4"/>
                      <a:pt x="4" y="1"/>
                      <a:pt x="5" y="0"/>
                    </a:cubicBezTo>
                    <a:cubicBezTo>
                      <a:pt x="6" y="0"/>
                      <a:pt x="12" y="0"/>
                      <a:pt x="14" y="0"/>
                    </a:cubicBezTo>
                    <a:cubicBezTo>
                      <a:pt x="16" y="1"/>
                      <a:pt x="19" y="6"/>
                      <a:pt x="23" y="6"/>
                    </a:cubicBezTo>
                    <a:cubicBezTo>
                      <a:pt x="26" y="6"/>
                      <a:pt x="30" y="6"/>
                      <a:pt x="30" y="8"/>
                    </a:cubicBezTo>
                    <a:cubicBezTo>
                      <a:pt x="30" y="9"/>
                      <a:pt x="24" y="9"/>
                      <a:pt x="23" y="10"/>
                    </a:cubicBezTo>
                    <a:cubicBezTo>
                      <a:pt x="22" y="11"/>
                      <a:pt x="25" y="14"/>
                      <a:pt x="29" y="15"/>
                    </a:cubicBezTo>
                    <a:cubicBezTo>
                      <a:pt x="33" y="16"/>
                      <a:pt x="42" y="15"/>
                      <a:pt x="44" y="16"/>
                    </a:cubicBezTo>
                    <a:cubicBezTo>
                      <a:pt x="46" y="17"/>
                      <a:pt x="52" y="21"/>
                      <a:pt x="53" y="20"/>
                    </a:cubicBezTo>
                    <a:cubicBezTo>
                      <a:pt x="54" y="20"/>
                      <a:pt x="55" y="17"/>
                      <a:pt x="58" y="17"/>
                    </a:cubicBezTo>
                    <a:cubicBezTo>
                      <a:pt x="60" y="17"/>
                      <a:pt x="69" y="14"/>
                      <a:pt x="71" y="14"/>
                    </a:cubicBezTo>
                    <a:cubicBezTo>
                      <a:pt x="73" y="14"/>
                      <a:pt x="86" y="14"/>
                      <a:pt x="88" y="14"/>
                    </a:cubicBezTo>
                    <a:cubicBezTo>
                      <a:pt x="90" y="14"/>
                      <a:pt x="93" y="14"/>
                      <a:pt x="96" y="15"/>
                    </a:cubicBezTo>
                    <a:cubicBezTo>
                      <a:pt x="98" y="16"/>
                      <a:pt x="104" y="19"/>
                      <a:pt x="103" y="20"/>
                    </a:cubicBezTo>
                    <a:cubicBezTo>
                      <a:pt x="103" y="21"/>
                      <a:pt x="96" y="23"/>
                      <a:pt x="98" y="25"/>
                    </a:cubicBezTo>
                    <a:cubicBezTo>
                      <a:pt x="99" y="26"/>
                      <a:pt x="105" y="26"/>
                      <a:pt x="105" y="27"/>
                    </a:cubicBezTo>
                    <a:cubicBezTo>
                      <a:pt x="105" y="28"/>
                      <a:pt x="98" y="31"/>
                      <a:pt x="98" y="31"/>
                    </a:cubicBezTo>
                    <a:cubicBezTo>
                      <a:pt x="98" y="31"/>
                      <a:pt x="91" y="33"/>
                      <a:pt x="86" y="33"/>
                    </a:cubicBezTo>
                    <a:cubicBezTo>
                      <a:pt x="81" y="33"/>
                      <a:pt x="77" y="31"/>
                      <a:pt x="77" y="31"/>
                    </a:cubicBezTo>
                    <a:cubicBezTo>
                      <a:pt x="77" y="31"/>
                      <a:pt x="77" y="27"/>
                      <a:pt x="75" y="27"/>
                    </a:cubicBezTo>
                    <a:cubicBezTo>
                      <a:pt x="74" y="27"/>
                      <a:pt x="71" y="32"/>
                      <a:pt x="68" y="32"/>
                    </a:cubicBezTo>
                    <a:cubicBezTo>
                      <a:pt x="66" y="32"/>
                      <a:pt x="60" y="34"/>
                      <a:pt x="53" y="33"/>
                    </a:cubicBezTo>
                    <a:cubicBezTo>
                      <a:pt x="46" y="33"/>
                      <a:pt x="38" y="33"/>
                      <a:pt x="36" y="33"/>
                    </a:cubicBezTo>
                    <a:cubicBezTo>
                      <a:pt x="35" y="33"/>
                      <a:pt x="36" y="28"/>
                      <a:pt x="34" y="27"/>
                    </a:cubicBezTo>
                    <a:cubicBezTo>
                      <a:pt x="32" y="27"/>
                      <a:pt x="29" y="32"/>
                      <a:pt x="27" y="32"/>
                    </a:cubicBezTo>
                    <a:cubicBezTo>
                      <a:pt x="25" y="32"/>
                      <a:pt x="20" y="31"/>
                      <a:pt x="18" y="31"/>
                    </a:cubicBezTo>
                    <a:cubicBezTo>
                      <a:pt x="16" y="30"/>
                      <a:pt x="10" y="32"/>
                      <a:pt x="9" y="29"/>
                    </a:cubicBezTo>
                    <a:cubicBezTo>
                      <a:pt x="7" y="26"/>
                      <a:pt x="6" y="24"/>
                      <a:pt x="6" y="22"/>
                    </a:cubicBezTo>
                    <a:cubicBezTo>
                      <a:pt x="6" y="20"/>
                      <a:pt x="8" y="17"/>
                      <a:pt x="8" y="16"/>
                    </a:cubicBezTo>
                    <a:cubicBezTo>
                      <a:pt x="7" y="14"/>
                      <a:pt x="5" y="10"/>
                      <a:pt x="5" y="10"/>
                    </a:cubicBezTo>
                    <a:cubicBezTo>
                      <a:pt x="2" y="9"/>
                      <a:pt x="0" y="7"/>
                      <a:pt x="1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9" name="Freeform 238"/>
              <p:cNvSpPr>
                <a:spLocks/>
              </p:cNvSpPr>
              <p:nvPr/>
            </p:nvSpPr>
            <p:spPr bwMode="auto">
              <a:xfrm>
                <a:off x="1224" y="1080"/>
                <a:ext cx="56" cy="35"/>
              </a:xfrm>
              <a:custGeom>
                <a:avLst/>
                <a:gdLst>
                  <a:gd name="T0" fmla="*/ 0 w 28"/>
                  <a:gd name="T1" fmla="*/ 1062083 h 17"/>
                  <a:gd name="T2" fmla="*/ 131072 w 28"/>
                  <a:gd name="T3" fmla="*/ 394182 h 17"/>
                  <a:gd name="T4" fmla="*/ 655360 w 28"/>
                  <a:gd name="T5" fmla="*/ 0 h 17"/>
                  <a:gd name="T6" fmla="*/ 1310720 w 28"/>
                  <a:gd name="T7" fmla="*/ 92995 h 17"/>
                  <a:gd name="T8" fmla="*/ 1703936 w 28"/>
                  <a:gd name="T9" fmla="*/ 957839 h 17"/>
                  <a:gd name="T10" fmla="*/ 1441792 w 28"/>
                  <a:gd name="T11" fmla="*/ 1769324 h 17"/>
                  <a:gd name="T12" fmla="*/ 655360 w 28"/>
                  <a:gd name="T13" fmla="*/ 1670840 h 17"/>
                  <a:gd name="T14" fmla="*/ 0 w 28"/>
                  <a:gd name="T15" fmla="*/ 1062083 h 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8" h="17">
                    <a:moveTo>
                      <a:pt x="0" y="10"/>
                    </a:moveTo>
                    <a:cubicBezTo>
                      <a:pt x="0" y="10"/>
                      <a:pt x="0" y="5"/>
                      <a:pt x="2" y="4"/>
                    </a:cubicBezTo>
                    <a:cubicBezTo>
                      <a:pt x="6" y="2"/>
                      <a:pt x="8" y="0"/>
                      <a:pt x="10" y="0"/>
                    </a:cubicBezTo>
                    <a:cubicBezTo>
                      <a:pt x="10" y="0"/>
                      <a:pt x="16" y="0"/>
                      <a:pt x="20" y="1"/>
                    </a:cubicBezTo>
                    <a:cubicBezTo>
                      <a:pt x="24" y="2"/>
                      <a:pt x="24" y="6"/>
                      <a:pt x="26" y="9"/>
                    </a:cubicBezTo>
                    <a:cubicBezTo>
                      <a:pt x="28" y="12"/>
                      <a:pt x="26" y="17"/>
                      <a:pt x="22" y="17"/>
                    </a:cubicBezTo>
                    <a:cubicBezTo>
                      <a:pt x="18" y="17"/>
                      <a:pt x="14" y="16"/>
                      <a:pt x="10" y="16"/>
                    </a:cubicBezTo>
                    <a:cubicBezTo>
                      <a:pt x="6" y="16"/>
                      <a:pt x="0" y="10"/>
                      <a:pt x="0" y="1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0" name="Freeform 239"/>
              <p:cNvSpPr>
                <a:spLocks/>
              </p:cNvSpPr>
              <p:nvPr/>
            </p:nvSpPr>
            <p:spPr bwMode="auto">
              <a:xfrm>
                <a:off x="1222" y="888"/>
                <a:ext cx="180" cy="116"/>
              </a:xfrm>
              <a:custGeom>
                <a:avLst/>
                <a:gdLst>
                  <a:gd name="T0" fmla="*/ 613588 w 89"/>
                  <a:gd name="T1" fmla="*/ 2846477 h 57"/>
                  <a:gd name="T2" fmla="*/ 74170 w 89"/>
                  <a:gd name="T3" fmla="*/ 2003300 h 57"/>
                  <a:gd name="T4" fmla="*/ 379834 w 89"/>
                  <a:gd name="T5" fmla="*/ 1312575 h 57"/>
                  <a:gd name="T6" fmla="*/ 1166788 w 89"/>
                  <a:gd name="T7" fmla="*/ 1312575 h 57"/>
                  <a:gd name="T8" fmla="*/ 1401998 w 89"/>
                  <a:gd name="T9" fmla="*/ 1190414 h 57"/>
                  <a:gd name="T10" fmla="*/ 1324883 w 89"/>
                  <a:gd name="T11" fmla="*/ 944169 h 57"/>
                  <a:gd name="T12" fmla="*/ 842956 w 89"/>
                  <a:gd name="T13" fmla="*/ 584945 h 57"/>
                  <a:gd name="T14" fmla="*/ 1479499 w 89"/>
                  <a:gd name="T15" fmla="*/ 506023 h 57"/>
                  <a:gd name="T16" fmla="*/ 2047089 w 89"/>
                  <a:gd name="T17" fmla="*/ 506023 h 57"/>
                  <a:gd name="T18" fmla="*/ 1479499 w 89"/>
                  <a:gd name="T19" fmla="*/ 81544 h 57"/>
                  <a:gd name="T20" fmla="*/ 2121850 w 89"/>
                  <a:gd name="T21" fmla="*/ 0 h 57"/>
                  <a:gd name="T22" fmla="*/ 2992245 w 89"/>
                  <a:gd name="T23" fmla="*/ 419265 h 57"/>
                  <a:gd name="T24" fmla="*/ 3601416 w 89"/>
                  <a:gd name="T25" fmla="*/ 1190414 h 57"/>
                  <a:gd name="T26" fmla="*/ 4538836 w 89"/>
                  <a:gd name="T27" fmla="*/ 1312575 h 57"/>
                  <a:gd name="T28" fmla="*/ 4538836 w 89"/>
                  <a:gd name="T29" fmla="*/ 1837654 h 57"/>
                  <a:gd name="T30" fmla="*/ 4928596 w 89"/>
                  <a:gd name="T31" fmla="*/ 1837654 h 57"/>
                  <a:gd name="T32" fmla="*/ 5002795 w 89"/>
                  <a:gd name="T33" fmla="*/ 1478392 h 57"/>
                  <a:gd name="T34" fmla="*/ 5492959 w 89"/>
                  <a:gd name="T35" fmla="*/ 1569315 h 57"/>
                  <a:gd name="T36" fmla="*/ 5419292 w 89"/>
                  <a:gd name="T37" fmla="*/ 2003300 h 57"/>
                  <a:gd name="T38" fmla="*/ 5807825 w 89"/>
                  <a:gd name="T39" fmla="*/ 2340471 h 57"/>
                  <a:gd name="T40" fmla="*/ 5578368 w 89"/>
                  <a:gd name="T41" fmla="*/ 2759732 h 57"/>
                  <a:gd name="T42" fmla="*/ 5807825 w 89"/>
                  <a:gd name="T43" fmla="*/ 2925406 h 57"/>
                  <a:gd name="T44" fmla="*/ 6206198 w 89"/>
                  <a:gd name="T45" fmla="*/ 2671205 h 57"/>
                  <a:gd name="T46" fmla="*/ 6669983 w 89"/>
                  <a:gd name="T47" fmla="*/ 2846477 h 57"/>
                  <a:gd name="T48" fmla="*/ 6973526 w 89"/>
                  <a:gd name="T49" fmla="*/ 3193694 h 57"/>
                  <a:gd name="T50" fmla="*/ 6129212 w 89"/>
                  <a:gd name="T51" fmla="*/ 3451810 h 57"/>
                  <a:gd name="T52" fmla="*/ 5419292 w 89"/>
                  <a:gd name="T53" fmla="*/ 3997816 h 57"/>
                  <a:gd name="T54" fmla="*/ 4851546 w 89"/>
                  <a:gd name="T55" fmla="*/ 4683992 h 57"/>
                  <a:gd name="T56" fmla="*/ 4214933 w 89"/>
                  <a:gd name="T57" fmla="*/ 4344072 h 57"/>
                  <a:gd name="T58" fmla="*/ 3911548 w 89"/>
                  <a:gd name="T59" fmla="*/ 4344072 h 57"/>
                  <a:gd name="T60" fmla="*/ 3985748 w 89"/>
                  <a:gd name="T61" fmla="*/ 4602685 h 57"/>
                  <a:gd name="T62" fmla="*/ 3677778 w 89"/>
                  <a:gd name="T63" fmla="*/ 4930197 h 57"/>
                  <a:gd name="T64" fmla="*/ 2679539 w 89"/>
                  <a:gd name="T65" fmla="*/ 4683992 h 57"/>
                  <a:gd name="T66" fmla="*/ 1970731 w 89"/>
                  <a:gd name="T67" fmla="*/ 4076891 h 57"/>
                  <a:gd name="T68" fmla="*/ 1479499 w 89"/>
                  <a:gd name="T69" fmla="*/ 3613013 h 57"/>
                  <a:gd name="T70" fmla="*/ 2121850 w 89"/>
                  <a:gd name="T71" fmla="*/ 3370543 h 57"/>
                  <a:gd name="T72" fmla="*/ 2908187 w 89"/>
                  <a:gd name="T73" fmla="*/ 3370543 h 57"/>
                  <a:gd name="T74" fmla="*/ 2509815 w 89"/>
                  <a:gd name="T75" fmla="*/ 2925406 h 57"/>
                  <a:gd name="T76" fmla="*/ 2121850 w 89"/>
                  <a:gd name="T77" fmla="*/ 2925406 h 57"/>
                  <a:gd name="T78" fmla="*/ 1240964 w 89"/>
                  <a:gd name="T79" fmla="*/ 3114781 h 57"/>
                  <a:gd name="T80" fmla="*/ 613588 w 89"/>
                  <a:gd name="T81" fmla="*/ 2846477 h 5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89" h="57">
                    <a:moveTo>
                      <a:pt x="8" y="33"/>
                    </a:moveTo>
                    <a:cubicBezTo>
                      <a:pt x="7" y="32"/>
                      <a:pt x="0" y="27"/>
                      <a:pt x="1" y="23"/>
                    </a:cubicBezTo>
                    <a:cubicBezTo>
                      <a:pt x="2" y="19"/>
                      <a:pt x="3" y="17"/>
                      <a:pt x="5" y="15"/>
                    </a:cubicBezTo>
                    <a:cubicBezTo>
                      <a:pt x="6" y="14"/>
                      <a:pt x="14" y="15"/>
                      <a:pt x="15" y="15"/>
                    </a:cubicBezTo>
                    <a:cubicBezTo>
                      <a:pt x="16" y="16"/>
                      <a:pt x="18" y="15"/>
                      <a:pt x="18" y="14"/>
                    </a:cubicBezTo>
                    <a:cubicBezTo>
                      <a:pt x="18" y="13"/>
                      <a:pt x="18" y="12"/>
                      <a:pt x="17" y="11"/>
                    </a:cubicBezTo>
                    <a:cubicBezTo>
                      <a:pt x="16" y="10"/>
                      <a:pt x="10" y="9"/>
                      <a:pt x="11" y="7"/>
                    </a:cubicBezTo>
                    <a:cubicBezTo>
                      <a:pt x="12" y="6"/>
                      <a:pt x="18" y="6"/>
                      <a:pt x="19" y="6"/>
                    </a:cubicBezTo>
                    <a:cubicBezTo>
                      <a:pt x="21" y="6"/>
                      <a:pt x="25" y="6"/>
                      <a:pt x="26" y="6"/>
                    </a:cubicBezTo>
                    <a:cubicBezTo>
                      <a:pt x="26" y="5"/>
                      <a:pt x="19" y="2"/>
                      <a:pt x="19" y="1"/>
                    </a:cubicBezTo>
                    <a:cubicBezTo>
                      <a:pt x="19" y="0"/>
                      <a:pt x="23" y="0"/>
                      <a:pt x="27" y="0"/>
                    </a:cubicBezTo>
                    <a:cubicBezTo>
                      <a:pt x="30" y="1"/>
                      <a:pt x="37" y="3"/>
                      <a:pt x="38" y="5"/>
                    </a:cubicBezTo>
                    <a:cubicBezTo>
                      <a:pt x="39" y="6"/>
                      <a:pt x="43" y="14"/>
                      <a:pt x="46" y="14"/>
                    </a:cubicBezTo>
                    <a:cubicBezTo>
                      <a:pt x="50" y="15"/>
                      <a:pt x="57" y="15"/>
                      <a:pt x="58" y="15"/>
                    </a:cubicBezTo>
                    <a:cubicBezTo>
                      <a:pt x="59" y="16"/>
                      <a:pt x="56" y="21"/>
                      <a:pt x="58" y="21"/>
                    </a:cubicBezTo>
                    <a:cubicBezTo>
                      <a:pt x="60" y="22"/>
                      <a:pt x="63" y="23"/>
                      <a:pt x="63" y="21"/>
                    </a:cubicBezTo>
                    <a:cubicBezTo>
                      <a:pt x="64" y="20"/>
                      <a:pt x="63" y="17"/>
                      <a:pt x="64" y="17"/>
                    </a:cubicBezTo>
                    <a:cubicBezTo>
                      <a:pt x="66" y="17"/>
                      <a:pt x="70" y="16"/>
                      <a:pt x="70" y="18"/>
                    </a:cubicBezTo>
                    <a:cubicBezTo>
                      <a:pt x="70" y="20"/>
                      <a:pt x="69" y="23"/>
                      <a:pt x="69" y="23"/>
                    </a:cubicBezTo>
                    <a:cubicBezTo>
                      <a:pt x="69" y="23"/>
                      <a:pt x="74" y="25"/>
                      <a:pt x="74" y="27"/>
                    </a:cubicBezTo>
                    <a:cubicBezTo>
                      <a:pt x="74" y="29"/>
                      <a:pt x="68" y="31"/>
                      <a:pt x="71" y="32"/>
                    </a:cubicBezTo>
                    <a:cubicBezTo>
                      <a:pt x="73" y="33"/>
                      <a:pt x="73" y="34"/>
                      <a:pt x="74" y="34"/>
                    </a:cubicBezTo>
                    <a:cubicBezTo>
                      <a:pt x="75" y="34"/>
                      <a:pt x="78" y="31"/>
                      <a:pt x="79" y="31"/>
                    </a:cubicBezTo>
                    <a:cubicBezTo>
                      <a:pt x="80" y="31"/>
                      <a:pt x="84" y="32"/>
                      <a:pt x="85" y="33"/>
                    </a:cubicBezTo>
                    <a:cubicBezTo>
                      <a:pt x="87" y="34"/>
                      <a:pt x="89" y="35"/>
                      <a:pt x="89" y="37"/>
                    </a:cubicBezTo>
                    <a:cubicBezTo>
                      <a:pt x="89" y="38"/>
                      <a:pt x="80" y="39"/>
                      <a:pt x="78" y="40"/>
                    </a:cubicBezTo>
                    <a:cubicBezTo>
                      <a:pt x="75" y="41"/>
                      <a:pt x="71" y="46"/>
                      <a:pt x="69" y="46"/>
                    </a:cubicBezTo>
                    <a:cubicBezTo>
                      <a:pt x="67" y="47"/>
                      <a:pt x="63" y="54"/>
                      <a:pt x="62" y="54"/>
                    </a:cubicBezTo>
                    <a:cubicBezTo>
                      <a:pt x="60" y="54"/>
                      <a:pt x="56" y="52"/>
                      <a:pt x="54" y="50"/>
                    </a:cubicBezTo>
                    <a:cubicBezTo>
                      <a:pt x="53" y="48"/>
                      <a:pt x="50" y="48"/>
                      <a:pt x="50" y="50"/>
                    </a:cubicBezTo>
                    <a:cubicBezTo>
                      <a:pt x="50" y="51"/>
                      <a:pt x="52" y="52"/>
                      <a:pt x="51" y="53"/>
                    </a:cubicBezTo>
                    <a:cubicBezTo>
                      <a:pt x="50" y="55"/>
                      <a:pt x="50" y="57"/>
                      <a:pt x="47" y="57"/>
                    </a:cubicBezTo>
                    <a:cubicBezTo>
                      <a:pt x="45" y="56"/>
                      <a:pt x="34" y="54"/>
                      <a:pt x="34" y="54"/>
                    </a:cubicBezTo>
                    <a:cubicBezTo>
                      <a:pt x="30" y="52"/>
                      <a:pt x="27" y="49"/>
                      <a:pt x="25" y="47"/>
                    </a:cubicBezTo>
                    <a:cubicBezTo>
                      <a:pt x="23" y="45"/>
                      <a:pt x="20" y="43"/>
                      <a:pt x="19" y="42"/>
                    </a:cubicBezTo>
                    <a:cubicBezTo>
                      <a:pt x="19" y="41"/>
                      <a:pt x="26" y="39"/>
                      <a:pt x="27" y="39"/>
                    </a:cubicBezTo>
                    <a:cubicBezTo>
                      <a:pt x="29" y="39"/>
                      <a:pt x="36" y="40"/>
                      <a:pt x="37" y="39"/>
                    </a:cubicBezTo>
                    <a:cubicBezTo>
                      <a:pt x="37" y="38"/>
                      <a:pt x="33" y="35"/>
                      <a:pt x="32" y="34"/>
                    </a:cubicBezTo>
                    <a:cubicBezTo>
                      <a:pt x="31" y="33"/>
                      <a:pt x="29" y="34"/>
                      <a:pt x="27" y="34"/>
                    </a:cubicBezTo>
                    <a:cubicBezTo>
                      <a:pt x="25" y="34"/>
                      <a:pt x="19" y="36"/>
                      <a:pt x="16" y="36"/>
                    </a:cubicBezTo>
                    <a:cubicBezTo>
                      <a:pt x="13" y="36"/>
                      <a:pt x="10" y="35"/>
                      <a:pt x="8" y="3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1" name="Freeform 240"/>
              <p:cNvSpPr>
                <a:spLocks/>
              </p:cNvSpPr>
              <p:nvPr/>
            </p:nvSpPr>
            <p:spPr bwMode="auto">
              <a:xfrm>
                <a:off x="1217" y="1032"/>
                <a:ext cx="55" cy="30"/>
              </a:xfrm>
              <a:custGeom>
                <a:avLst/>
                <a:gdLst>
                  <a:gd name="T0" fmla="*/ 610962 w 27"/>
                  <a:gd name="T1" fmla="*/ 720896 h 15"/>
                  <a:gd name="T2" fmla="*/ 0 w 27"/>
                  <a:gd name="T3" fmla="*/ 196608 h 15"/>
                  <a:gd name="T4" fmla="*/ 954904 w 27"/>
                  <a:gd name="T5" fmla="*/ 65536 h 15"/>
                  <a:gd name="T6" fmla="*/ 1864881 w 27"/>
                  <a:gd name="T7" fmla="*/ 196608 h 15"/>
                  <a:gd name="T8" fmla="*/ 2368047 w 27"/>
                  <a:gd name="T9" fmla="*/ 524288 h 15"/>
                  <a:gd name="T10" fmla="*/ 1945175 w 27"/>
                  <a:gd name="T11" fmla="*/ 983040 h 15"/>
                  <a:gd name="T12" fmla="*/ 610962 w 27"/>
                  <a:gd name="T13" fmla="*/ 720896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15">
                    <a:moveTo>
                      <a:pt x="7" y="11"/>
                    </a:moveTo>
                    <a:cubicBezTo>
                      <a:pt x="5" y="11"/>
                      <a:pt x="0" y="6"/>
                      <a:pt x="0" y="3"/>
                    </a:cubicBezTo>
                    <a:cubicBezTo>
                      <a:pt x="0" y="0"/>
                      <a:pt x="8" y="1"/>
                      <a:pt x="11" y="1"/>
                    </a:cubicBezTo>
                    <a:cubicBezTo>
                      <a:pt x="11" y="1"/>
                      <a:pt x="17" y="3"/>
                      <a:pt x="21" y="3"/>
                    </a:cubicBezTo>
                    <a:cubicBezTo>
                      <a:pt x="25" y="3"/>
                      <a:pt x="27" y="6"/>
                      <a:pt x="27" y="8"/>
                    </a:cubicBezTo>
                    <a:cubicBezTo>
                      <a:pt x="27" y="11"/>
                      <a:pt x="25" y="15"/>
                      <a:pt x="22" y="15"/>
                    </a:cubicBezTo>
                    <a:cubicBezTo>
                      <a:pt x="19" y="15"/>
                      <a:pt x="9" y="12"/>
                      <a:pt x="7" y="1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2" name="Freeform 241"/>
              <p:cNvSpPr>
                <a:spLocks/>
              </p:cNvSpPr>
              <p:nvPr/>
            </p:nvSpPr>
            <p:spPr bwMode="auto">
              <a:xfrm>
                <a:off x="1195" y="977"/>
                <a:ext cx="57" cy="33"/>
              </a:xfrm>
              <a:custGeom>
                <a:avLst/>
                <a:gdLst>
                  <a:gd name="T0" fmla="*/ 0 w 28"/>
                  <a:gd name="T1" fmla="*/ 308131 h 16"/>
                  <a:gd name="T2" fmla="*/ 773979 w 28"/>
                  <a:gd name="T3" fmla="*/ 0 h 16"/>
                  <a:gd name="T4" fmla="*/ 2351908 w 28"/>
                  <a:gd name="T5" fmla="*/ 635520 h 16"/>
                  <a:gd name="T6" fmla="*/ 2351908 w 28"/>
                  <a:gd name="T7" fmla="*/ 1310760 h 16"/>
                  <a:gd name="T8" fmla="*/ 1741887 w 28"/>
                  <a:gd name="T9" fmla="*/ 1711980 h 16"/>
                  <a:gd name="T10" fmla="*/ 948568 w 28"/>
                  <a:gd name="T11" fmla="*/ 1711980 h 16"/>
                  <a:gd name="T12" fmla="*/ 0 w 28"/>
                  <a:gd name="T13" fmla="*/ 308131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8" h="16">
                    <a:moveTo>
                      <a:pt x="0" y="3"/>
                    </a:moveTo>
                    <a:cubicBezTo>
                      <a:pt x="0" y="1"/>
                      <a:pt x="6" y="0"/>
                      <a:pt x="9" y="0"/>
                    </a:cubicBezTo>
                    <a:cubicBezTo>
                      <a:pt x="12" y="1"/>
                      <a:pt x="26" y="5"/>
                      <a:pt x="27" y="6"/>
                    </a:cubicBezTo>
                    <a:cubicBezTo>
                      <a:pt x="28" y="8"/>
                      <a:pt x="27" y="12"/>
                      <a:pt x="27" y="12"/>
                    </a:cubicBezTo>
                    <a:cubicBezTo>
                      <a:pt x="27" y="12"/>
                      <a:pt x="22" y="15"/>
                      <a:pt x="20" y="16"/>
                    </a:cubicBezTo>
                    <a:cubicBezTo>
                      <a:pt x="18" y="16"/>
                      <a:pt x="11" y="16"/>
                      <a:pt x="11" y="16"/>
                    </a:cubicBezTo>
                    <a:cubicBezTo>
                      <a:pt x="9" y="14"/>
                      <a:pt x="0" y="5"/>
                      <a:pt x="0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3" name="Freeform 242"/>
              <p:cNvSpPr>
                <a:spLocks/>
              </p:cNvSpPr>
              <p:nvPr/>
            </p:nvSpPr>
            <p:spPr bwMode="auto">
              <a:xfrm>
                <a:off x="1128" y="1131"/>
                <a:ext cx="100" cy="85"/>
              </a:xfrm>
              <a:custGeom>
                <a:avLst/>
                <a:gdLst>
                  <a:gd name="T0" fmla="*/ 350612 w 49"/>
                  <a:gd name="T1" fmla="*/ 1756440 h 42"/>
                  <a:gd name="T2" fmla="*/ 0 w 49"/>
                  <a:gd name="T3" fmla="*/ 1567534 h 42"/>
                  <a:gd name="T4" fmla="*/ 255531 w 49"/>
                  <a:gd name="T5" fmla="*/ 1175398 h 42"/>
                  <a:gd name="T6" fmla="*/ 982433 w 49"/>
                  <a:gd name="T7" fmla="*/ 1492647 h 42"/>
                  <a:gd name="T8" fmla="*/ 1545239 w 49"/>
                  <a:gd name="T9" fmla="*/ 1492647 h 42"/>
                  <a:gd name="T10" fmla="*/ 1739871 w 49"/>
                  <a:gd name="T11" fmla="*/ 1175398 h 42"/>
                  <a:gd name="T12" fmla="*/ 1649637 w 49"/>
                  <a:gd name="T13" fmla="*/ 945591 h 42"/>
                  <a:gd name="T14" fmla="*/ 808322 w 49"/>
                  <a:gd name="T15" fmla="*/ 622595 h 42"/>
                  <a:gd name="T16" fmla="*/ 1460276 w 49"/>
                  <a:gd name="T17" fmla="*/ 230868 h 42"/>
                  <a:gd name="T18" fmla="*/ 2437410 w 49"/>
                  <a:gd name="T19" fmla="*/ 152008 h 42"/>
                  <a:gd name="T20" fmla="*/ 3550757 w 49"/>
                  <a:gd name="T21" fmla="*/ 75110 h 42"/>
                  <a:gd name="T22" fmla="*/ 4091765 w 49"/>
                  <a:gd name="T23" fmla="*/ 467233 h 42"/>
                  <a:gd name="T24" fmla="*/ 3715894 w 49"/>
                  <a:gd name="T25" fmla="*/ 774546 h 42"/>
                  <a:gd name="T26" fmla="*/ 4258780 w 49"/>
                  <a:gd name="T27" fmla="*/ 1260014 h 42"/>
                  <a:gd name="T28" fmla="*/ 4432608 w 49"/>
                  <a:gd name="T29" fmla="*/ 1836190 h 42"/>
                  <a:gd name="T30" fmla="*/ 4258780 w 49"/>
                  <a:gd name="T31" fmla="*/ 2148401 h 42"/>
                  <a:gd name="T32" fmla="*/ 4258780 w 49"/>
                  <a:gd name="T33" fmla="*/ 2628971 h 42"/>
                  <a:gd name="T34" fmla="*/ 3235694 w 49"/>
                  <a:gd name="T35" fmla="*/ 2779852 h 42"/>
                  <a:gd name="T36" fmla="*/ 3153549 w 49"/>
                  <a:gd name="T37" fmla="*/ 3098477 h 42"/>
                  <a:gd name="T38" fmla="*/ 2609143 w 49"/>
                  <a:gd name="T39" fmla="*/ 3172390 h 42"/>
                  <a:gd name="T40" fmla="*/ 2171978 w 49"/>
                  <a:gd name="T41" fmla="*/ 2628971 h 42"/>
                  <a:gd name="T42" fmla="*/ 1820788 w 49"/>
                  <a:gd name="T43" fmla="*/ 2472257 h 42"/>
                  <a:gd name="T44" fmla="*/ 1064269 w 49"/>
                  <a:gd name="T45" fmla="*/ 2071535 h 42"/>
                  <a:gd name="T46" fmla="*/ 626455 w 49"/>
                  <a:gd name="T47" fmla="*/ 2071535 h 42"/>
                  <a:gd name="T48" fmla="*/ 350612 w 49"/>
                  <a:gd name="T49" fmla="*/ 1756440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9" h="42">
                    <a:moveTo>
                      <a:pt x="4" y="22"/>
                    </a:moveTo>
                    <a:cubicBezTo>
                      <a:pt x="3" y="22"/>
                      <a:pt x="1" y="22"/>
                      <a:pt x="0" y="20"/>
                    </a:cubicBezTo>
                    <a:cubicBezTo>
                      <a:pt x="0" y="18"/>
                      <a:pt x="1" y="15"/>
                      <a:pt x="3" y="15"/>
                    </a:cubicBezTo>
                    <a:cubicBezTo>
                      <a:pt x="5" y="14"/>
                      <a:pt x="11" y="18"/>
                      <a:pt x="11" y="19"/>
                    </a:cubicBezTo>
                    <a:cubicBezTo>
                      <a:pt x="12" y="19"/>
                      <a:pt x="16" y="20"/>
                      <a:pt x="17" y="19"/>
                    </a:cubicBezTo>
                    <a:cubicBezTo>
                      <a:pt x="18" y="19"/>
                      <a:pt x="20" y="17"/>
                      <a:pt x="19" y="15"/>
                    </a:cubicBezTo>
                    <a:cubicBezTo>
                      <a:pt x="18" y="13"/>
                      <a:pt x="19" y="12"/>
                      <a:pt x="18" y="12"/>
                    </a:cubicBezTo>
                    <a:cubicBezTo>
                      <a:pt x="17" y="11"/>
                      <a:pt x="9" y="10"/>
                      <a:pt x="9" y="8"/>
                    </a:cubicBezTo>
                    <a:cubicBezTo>
                      <a:pt x="9" y="7"/>
                      <a:pt x="14" y="3"/>
                      <a:pt x="16" y="3"/>
                    </a:cubicBezTo>
                    <a:cubicBezTo>
                      <a:pt x="19" y="2"/>
                      <a:pt x="26" y="3"/>
                      <a:pt x="27" y="2"/>
                    </a:cubicBezTo>
                    <a:cubicBezTo>
                      <a:pt x="29" y="2"/>
                      <a:pt x="39" y="1"/>
                      <a:pt x="39" y="1"/>
                    </a:cubicBezTo>
                    <a:cubicBezTo>
                      <a:pt x="41" y="0"/>
                      <a:pt x="44" y="5"/>
                      <a:pt x="45" y="6"/>
                    </a:cubicBezTo>
                    <a:cubicBezTo>
                      <a:pt x="45" y="6"/>
                      <a:pt x="40" y="8"/>
                      <a:pt x="41" y="10"/>
                    </a:cubicBezTo>
                    <a:cubicBezTo>
                      <a:pt x="42" y="11"/>
                      <a:pt x="47" y="14"/>
                      <a:pt x="47" y="16"/>
                    </a:cubicBezTo>
                    <a:cubicBezTo>
                      <a:pt x="47" y="17"/>
                      <a:pt x="49" y="22"/>
                      <a:pt x="49" y="23"/>
                    </a:cubicBezTo>
                    <a:cubicBezTo>
                      <a:pt x="49" y="24"/>
                      <a:pt x="46" y="25"/>
                      <a:pt x="47" y="27"/>
                    </a:cubicBezTo>
                    <a:cubicBezTo>
                      <a:pt x="47" y="28"/>
                      <a:pt x="47" y="32"/>
                      <a:pt x="47" y="33"/>
                    </a:cubicBezTo>
                    <a:cubicBezTo>
                      <a:pt x="47" y="34"/>
                      <a:pt x="38" y="36"/>
                      <a:pt x="36" y="35"/>
                    </a:cubicBezTo>
                    <a:cubicBezTo>
                      <a:pt x="34" y="34"/>
                      <a:pt x="36" y="37"/>
                      <a:pt x="35" y="39"/>
                    </a:cubicBezTo>
                    <a:cubicBezTo>
                      <a:pt x="33" y="40"/>
                      <a:pt x="31" y="42"/>
                      <a:pt x="29" y="40"/>
                    </a:cubicBezTo>
                    <a:cubicBezTo>
                      <a:pt x="26" y="39"/>
                      <a:pt x="25" y="34"/>
                      <a:pt x="24" y="33"/>
                    </a:cubicBezTo>
                    <a:cubicBezTo>
                      <a:pt x="23" y="32"/>
                      <a:pt x="20" y="31"/>
                      <a:pt x="20" y="31"/>
                    </a:cubicBezTo>
                    <a:cubicBezTo>
                      <a:pt x="19" y="30"/>
                      <a:pt x="14" y="26"/>
                      <a:pt x="12" y="26"/>
                    </a:cubicBezTo>
                    <a:cubicBezTo>
                      <a:pt x="10" y="27"/>
                      <a:pt x="9" y="27"/>
                      <a:pt x="7" y="26"/>
                    </a:cubicBezTo>
                    <a:cubicBezTo>
                      <a:pt x="6" y="25"/>
                      <a:pt x="5" y="23"/>
                      <a:pt x="4" y="2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4" name="Freeform 243"/>
              <p:cNvSpPr>
                <a:spLocks/>
              </p:cNvSpPr>
              <p:nvPr/>
            </p:nvSpPr>
            <p:spPr bwMode="auto">
              <a:xfrm>
                <a:off x="1100" y="1046"/>
                <a:ext cx="113" cy="59"/>
              </a:xfrm>
              <a:custGeom>
                <a:avLst/>
                <a:gdLst>
                  <a:gd name="T0" fmla="*/ 0 w 56"/>
                  <a:gd name="T1" fmla="*/ 685021 h 29"/>
                  <a:gd name="T2" fmla="*/ 0 w 56"/>
                  <a:gd name="T3" fmla="*/ 246567 h 29"/>
                  <a:gd name="T4" fmla="*/ 819056 w 56"/>
                  <a:gd name="T5" fmla="*/ 417940 h 29"/>
                  <a:gd name="T6" fmla="*/ 1275651 w 56"/>
                  <a:gd name="T7" fmla="*/ 1020570 h 29"/>
                  <a:gd name="T8" fmla="*/ 1728359 w 56"/>
                  <a:gd name="T9" fmla="*/ 1307076 h 29"/>
                  <a:gd name="T10" fmla="*/ 1581316 w 56"/>
                  <a:gd name="T11" fmla="*/ 501636 h 29"/>
                  <a:gd name="T12" fmla="*/ 1950782 w 56"/>
                  <a:gd name="T13" fmla="*/ 583551 h 29"/>
                  <a:gd name="T14" fmla="*/ 2731018 w 56"/>
                  <a:gd name="T15" fmla="*/ 1187224 h 29"/>
                  <a:gd name="T16" fmla="*/ 2731018 w 56"/>
                  <a:gd name="T17" fmla="*/ 685021 h 29"/>
                  <a:gd name="T18" fmla="*/ 2278403 w 56"/>
                  <a:gd name="T19" fmla="*/ 246567 h 29"/>
                  <a:gd name="T20" fmla="*/ 2731018 w 56"/>
                  <a:gd name="T21" fmla="*/ 0 h 29"/>
                  <a:gd name="T22" fmla="*/ 3412231 w 56"/>
                  <a:gd name="T23" fmla="*/ 165499 h 29"/>
                  <a:gd name="T24" fmla="*/ 4011201 w 56"/>
                  <a:gd name="T25" fmla="*/ 501636 h 29"/>
                  <a:gd name="T26" fmla="*/ 4011201 w 56"/>
                  <a:gd name="T27" fmla="*/ 1307076 h 29"/>
                  <a:gd name="T28" fmla="*/ 4229120 w 56"/>
                  <a:gd name="T29" fmla="*/ 1564489 h 29"/>
                  <a:gd name="T30" fmla="*/ 4155462 w 56"/>
                  <a:gd name="T31" fmla="*/ 1910733 h 29"/>
                  <a:gd name="T32" fmla="*/ 3787088 w 56"/>
                  <a:gd name="T33" fmla="*/ 1997386 h 29"/>
                  <a:gd name="T34" fmla="*/ 3864646 w 56"/>
                  <a:gd name="T35" fmla="*/ 2333743 h 29"/>
                  <a:gd name="T36" fmla="*/ 2574081 w 56"/>
                  <a:gd name="T37" fmla="*/ 2415387 h 29"/>
                  <a:gd name="T38" fmla="*/ 2356161 w 56"/>
                  <a:gd name="T39" fmla="*/ 1997386 h 29"/>
                  <a:gd name="T40" fmla="*/ 2655847 w 56"/>
                  <a:gd name="T41" fmla="*/ 1564489 h 29"/>
                  <a:gd name="T42" fmla="*/ 1728359 w 56"/>
                  <a:gd name="T43" fmla="*/ 1729904 h 29"/>
                  <a:gd name="T44" fmla="*/ 1129120 w 56"/>
                  <a:gd name="T45" fmla="*/ 1729904 h 29"/>
                  <a:gd name="T46" fmla="*/ 966759 w 56"/>
                  <a:gd name="T47" fmla="*/ 1393663 h 29"/>
                  <a:gd name="T48" fmla="*/ 368305 w 56"/>
                  <a:gd name="T49" fmla="*/ 1187224 h 29"/>
                  <a:gd name="T50" fmla="*/ 368305 w 56"/>
                  <a:gd name="T51" fmla="*/ 850292 h 29"/>
                  <a:gd name="T52" fmla="*/ 0 w 56"/>
                  <a:gd name="T53" fmla="*/ 685021 h 2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56" h="29">
                    <a:moveTo>
                      <a:pt x="0" y="8"/>
                    </a:moveTo>
                    <a:cubicBezTo>
                      <a:pt x="0" y="7"/>
                      <a:pt x="0" y="3"/>
                      <a:pt x="0" y="3"/>
                    </a:cubicBezTo>
                    <a:cubicBezTo>
                      <a:pt x="2" y="2"/>
                      <a:pt x="10" y="3"/>
                      <a:pt x="11" y="5"/>
                    </a:cubicBezTo>
                    <a:cubicBezTo>
                      <a:pt x="12" y="6"/>
                      <a:pt x="15" y="10"/>
                      <a:pt x="17" y="12"/>
                    </a:cubicBezTo>
                    <a:cubicBezTo>
                      <a:pt x="20" y="13"/>
                      <a:pt x="21" y="15"/>
                      <a:pt x="23" y="15"/>
                    </a:cubicBezTo>
                    <a:cubicBezTo>
                      <a:pt x="24" y="15"/>
                      <a:pt x="19" y="7"/>
                      <a:pt x="21" y="6"/>
                    </a:cubicBezTo>
                    <a:cubicBezTo>
                      <a:pt x="22" y="5"/>
                      <a:pt x="25" y="6"/>
                      <a:pt x="26" y="7"/>
                    </a:cubicBezTo>
                    <a:cubicBezTo>
                      <a:pt x="27" y="8"/>
                      <a:pt x="35" y="14"/>
                      <a:pt x="36" y="14"/>
                    </a:cubicBezTo>
                    <a:cubicBezTo>
                      <a:pt x="38" y="14"/>
                      <a:pt x="37" y="10"/>
                      <a:pt x="36" y="8"/>
                    </a:cubicBezTo>
                    <a:cubicBezTo>
                      <a:pt x="35" y="6"/>
                      <a:pt x="29" y="5"/>
                      <a:pt x="30" y="3"/>
                    </a:cubicBezTo>
                    <a:cubicBezTo>
                      <a:pt x="31" y="1"/>
                      <a:pt x="35" y="0"/>
                      <a:pt x="36" y="0"/>
                    </a:cubicBezTo>
                    <a:cubicBezTo>
                      <a:pt x="37" y="0"/>
                      <a:pt x="43" y="1"/>
                      <a:pt x="45" y="2"/>
                    </a:cubicBezTo>
                    <a:cubicBezTo>
                      <a:pt x="47" y="2"/>
                      <a:pt x="52" y="4"/>
                      <a:pt x="53" y="6"/>
                    </a:cubicBezTo>
                    <a:cubicBezTo>
                      <a:pt x="54" y="9"/>
                      <a:pt x="54" y="14"/>
                      <a:pt x="53" y="15"/>
                    </a:cubicBezTo>
                    <a:cubicBezTo>
                      <a:pt x="52" y="16"/>
                      <a:pt x="56" y="17"/>
                      <a:pt x="56" y="18"/>
                    </a:cubicBezTo>
                    <a:cubicBezTo>
                      <a:pt x="56" y="19"/>
                      <a:pt x="55" y="22"/>
                      <a:pt x="55" y="22"/>
                    </a:cubicBezTo>
                    <a:cubicBezTo>
                      <a:pt x="54" y="23"/>
                      <a:pt x="50" y="21"/>
                      <a:pt x="50" y="23"/>
                    </a:cubicBezTo>
                    <a:cubicBezTo>
                      <a:pt x="50" y="24"/>
                      <a:pt x="52" y="26"/>
                      <a:pt x="51" y="27"/>
                    </a:cubicBezTo>
                    <a:cubicBezTo>
                      <a:pt x="50" y="28"/>
                      <a:pt x="35" y="29"/>
                      <a:pt x="34" y="28"/>
                    </a:cubicBezTo>
                    <a:cubicBezTo>
                      <a:pt x="32" y="27"/>
                      <a:pt x="30" y="23"/>
                      <a:pt x="31" y="23"/>
                    </a:cubicBezTo>
                    <a:cubicBezTo>
                      <a:pt x="32" y="23"/>
                      <a:pt x="37" y="19"/>
                      <a:pt x="35" y="18"/>
                    </a:cubicBezTo>
                    <a:cubicBezTo>
                      <a:pt x="32" y="17"/>
                      <a:pt x="25" y="20"/>
                      <a:pt x="23" y="20"/>
                    </a:cubicBezTo>
                    <a:cubicBezTo>
                      <a:pt x="21" y="21"/>
                      <a:pt x="16" y="21"/>
                      <a:pt x="15" y="20"/>
                    </a:cubicBezTo>
                    <a:cubicBezTo>
                      <a:pt x="13" y="19"/>
                      <a:pt x="15" y="17"/>
                      <a:pt x="13" y="16"/>
                    </a:cubicBezTo>
                    <a:cubicBezTo>
                      <a:pt x="11" y="15"/>
                      <a:pt x="7" y="15"/>
                      <a:pt x="5" y="14"/>
                    </a:cubicBezTo>
                    <a:cubicBezTo>
                      <a:pt x="4" y="12"/>
                      <a:pt x="6" y="11"/>
                      <a:pt x="5" y="10"/>
                    </a:cubicBezTo>
                    <a:cubicBezTo>
                      <a:pt x="4" y="9"/>
                      <a:pt x="1" y="9"/>
                      <a:pt x="0" y="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5" name="Freeform 244"/>
              <p:cNvSpPr>
                <a:spLocks/>
              </p:cNvSpPr>
              <p:nvPr/>
            </p:nvSpPr>
            <p:spPr bwMode="auto">
              <a:xfrm>
                <a:off x="1082" y="959"/>
                <a:ext cx="107" cy="55"/>
              </a:xfrm>
              <a:custGeom>
                <a:avLst/>
                <a:gdLst>
                  <a:gd name="T0" fmla="*/ 599424 w 53"/>
                  <a:gd name="T1" fmla="*/ 782740 h 27"/>
                  <a:gd name="T2" fmla="*/ 72847 w 53"/>
                  <a:gd name="T3" fmla="*/ 511425 h 27"/>
                  <a:gd name="T4" fmla="*/ 220440 w 53"/>
                  <a:gd name="T5" fmla="*/ 82119 h 27"/>
                  <a:gd name="T6" fmla="*/ 824576 w 53"/>
                  <a:gd name="T7" fmla="*/ 0 h 27"/>
                  <a:gd name="T8" fmla="*/ 1591863 w 53"/>
                  <a:gd name="T9" fmla="*/ 167279 h 27"/>
                  <a:gd name="T10" fmla="*/ 1889834 w 53"/>
                  <a:gd name="T11" fmla="*/ 610962 h 27"/>
                  <a:gd name="T12" fmla="*/ 2222402 w 53"/>
                  <a:gd name="T13" fmla="*/ 428057 h 27"/>
                  <a:gd name="T14" fmla="*/ 2750059 w 53"/>
                  <a:gd name="T15" fmla="*/ 610962 h 27"/>
                  <a:gd name="T16" fmla="*/ 3514962 w 53"/>
                  <a:gd name="T17" fmla="*/ 1123300 h 27"/>
                  <a:gd name="T18" fmla="*/ 3514962 w 53"/>
                  <a:gd name="T19" fmla="*/ 1594470 h 27"/>
                  <a:gd name="T20" fmla="*/ 3960258 w 53"/>
                  <a:gd name="T21" fmla="*/ 1945175 h 27"/>
                  <a:gd name="T22" fmla="*/ 3887379 w 53"/>
                  <a:gd name="T23" fmla="*/ 2368047 h 27"/>
                  <a:gd name="T24" fmla="*/ 3213761 w 53"/>
                  <a:gd name="T25" fmla="*/ 2368047 h 27"/>
                  <a:gd name="T26" fmla="*/ 2970807 w 53"/>
                  <a:gd name="T27" fmla="*/ 2205537 h 27"/>
                  <a:gd name="T28" fmla="*/ 2672834 w 53"/>
                  <a:gd name="T29" fmla="*/ 1864881 h 27"/>
                  <a:gd name="T30" fmla="*/ 1889834 w 53"/>
                  <a:gd name="T31" fmla="*/ 1674190 h 27"/>
                  <a:gd name="T32" fmla="*/ 898475 w 53"/>
                  <a:gd name="T33" fmla="*/ 1674190 h 27"/>
                  <a:gd name="T34" fmla="*/ 445039 w 53"/>
                  <a:gd name="T35" fmla="*/ 1333577 h 27"/>
                  <a:gd name="T36" fmla="*/ 1210158 w 53"/>
                  <a:gd name="T37" fmla="*/ 1244552 h 27"/>
                  <a:gd name="T38" fmla="*/ 1063089 w 53"/>
                  <a:gd name="T39" fmla="*/ 782740 h 27"/>
                  <a:gd name="T40" fmla="*/ 599424 w 53"/>
                  <a:gd name="T41" fmla="*/ 782740 h 2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3" h="27">
                    <a:moveTo>
                      <a:pt x="8" y="9"/>
                    </a:moveTo>
                    <a:cubicBezTo>
                      <a:pt x="7" y="9"/>
                      <a:pt x="1" y="7"/>
                      <a:pt x="1" y="6"/>
                    </a:cubicBezTo>
                    <a:cubicBezTo>
                      <a:pt x="0" y="5"/>
                      <a:pt x="1" y="2"/>
                      <a:pt x="3" y="1"/>
                    </a:cubicBezTo>
                    <a:cubicBezTo>
                      <a:pt x="5" y="0"/>
                      <a:pt x="7" y="1"/>
                      <a:pt x="11" y="0"/>
                    </a:cubicBezTo>
                    <a:cubicBezTo>
                      <a:pt x="16" y="0"/>
                      <a:pt x="20" y="1"/>
                      <a:pt x="21" y="2"/>
                    </a:cubicBezTo>
                    <a:cubicBezTo>
                      <a:pt x="22" y="3"/>
                      <a:pt x="24" y="7"/>
                      <a:pt x="25" y="7"/>
                    </a:cubicBezTo>
                    <a:cubicBezTo>
                      <a:pt x="26" y="7"/>
                      <a:pt x="26" y="5"/>
                      <a:pt x="29" y="5"/>
                    </a:cubicBezTo>
                    <a:cubicBezTo>
                      <a:pt x="32" y="5"/>
                      <a:pt x="35" y="7"/>
                      <a:pt x="36" y="7"/>
                    </a:cubicBezTo>
                    <a:cubicBezTo>
                      <a:pt x="38" y="8"/>
                      <a:pt x="44" y="13"/>
                      <a:pt x="46" y="13"/>
                    </a:cubicBezTo>
                    <a:cubicBezTo>
                      <a:pt x="48" y="14"/>
                      <a:pt x="45" y="17"/>
                      <a:pt x="46" y="18"/>
                    </a:cubicBezTo>
                    <a:cubicBezTo>
                      <a:pt x="47" y="20"/>
                      <a:pt x="52" y="21"/>
                      <a:pt x="52" y="22"/>
                    </a:cubicBezTo>
                    <a:cubicBezTo>
                      <a:pt x="52" y="24"/>
                      <a:pt x="53" y="26"/>
                      <a:pt x="51" y="27"/>
                    </a:cubicBezTo>
                    <a:cubicBezTo>
                      <a:pt x="49" y="27"/>
                      <a:pt x="44" y="27"/>
                      <a:pt x="42" y="27"/>
                    </a:cubicBezTo>
                    <a:cubicBezTo>
                      <a:pt x="41" y="27"/>
                      <a:pt x="39" y="25"/>
                      <a:pt x="39" y="25"/>
                    </a:cubicBezTo>
                    <a:cubicBezTo>
                      <a:pt x="37" y="23"/>
                      <a:pt x="38" y="22"/>
                      <a:pt x="35" y="21"/>
                    </a:cubicBezTo>
                    <a:cubicBezTo>
                      <a:pt x="32" y="19"/>
                      <a:pt x="27" y="19"/>
                      <a:pt x="25" y="19"/>
                    </a:cubicBezTo>
                    <a:cubicBezTo>
                      <a:pt x="24" y="19"/>
                      <a:pt x="15" y="22"/>
                      <a:pt x="12" y="19"/>
                    </a:cubicBezTo>
                    <a:cubicBezTo>
                      <a:pt x="8" y="17"/>
                      <a:pt x="4" y="16"/>
                      <a:pt x="6" y="15"/>
                    </a:cubicBezTo>
                    <a:cubicBezTo>
                      <a:pt x="7" y="14"/>
                      <a:pt x="15" y="14"/>
                      <a:pt x="16" y="14"/>
                    </a:cubicBezTo>
                    <a:cubicBezTo>
                      <a:pt x="18" y="13"/>
                      <a:pt x="16" y="10"/>
                      <a:pt x="14" y="9"/>
                    </a:cubicBezTo>
                    <a:cubicBezTo>
                      <a:pt x="12" y="8"/>
                      <a:pt x="9" y="9"/>
                      <a:pt x="8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6" name="Freeform 245"/>
              <p:cNvSpPr>
                <a:spLocks/>
              </p:cNvSpPr>
              <p:nvPr/>
            </p:nvSpPr>
            <p:spPr bwMode="auto">
              <a:xfrm>
                <a:off x="1074" y="1012"/>
                <a:ext cx="36" cy="26"/>
              </a:xfrm>
              <a:custGeom>
                <a:avLst/>
                <a:gdLst>
                  <a:gd name="T0" fmla="*/ 393216 w 18"/>
                  <a:gd name="T1" fmla="*/ 720896 h 13"/>
                  <a:gd name="T2" fmla="*/ 65536 w 18"/>
                  <a:gd name="T3" fmla="*/ 65536 h 13"/>
                  <a:gd name="T4" fmla="*/ 524288 w 18"/>
                  <a:gd name="T5" fmla="*/ 131072 h 13"/>
                  <a:gd name="T6" fmla="*/ 786432 w 18"/>
                  <a:gd name="T7" fmla="*/ 393216 h 13"/>
                  <a:gd name="T8" fmla="*/ 1048576 w 18"/>
                  <a:gd name="T9" fmla="*/ 720896 h 13"/>
                  <a:gd name="T10" fmla="*/ 393216 w 18"/>
                  <a:gd name="T11" fmla="*/ 720896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13">
                    <a:moveTo>
                      <a:pt x="6" y="11"/>
                    </a:moveTo>
                    <a:cubicBezTo>
                      <a:pt x="4" y="9"/>
                      <a:pt x="0" y="3"/>
                      <a:pt x="1" y="1"/>
                    </a:cubicBezTo>
                    <a:cubicBezTo>
                      <a:pt x="2" y="0"/>
                      <a:pt x="6" y="1"/>
                      <a:pt x="8" y="2"/>
                    </a:cubicBezTo>
                    <a:cubicBezTo>
                      <a:pt x="10" y="3"/>
                      <a:pt x="11" y="5"/>
                      <a:pt x="12" y="6"/>
                    </a:cubicBezTo>
                    <a:cubicBezTo>
                      <a:pt x="12" y="7"/>
                      <a:pt x="18" y="10"/>
                      <a:pt x="16" y="11"/>
                    </a:cubicBezTo>
                    <a:cubicBezTo>
                      <a:pt x="15" y="12"/>
                      <a:pt x="9" y="13"/>
                      <a:pt x="6" y="1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7" name="Freeform 246"/>
              <p:cNvSpPr>
                <a:spLocks/>
              </p:cNvSpPr>
              <p:nvPr/>
            </p:nvSpPr>
            <p:spPr bwMode="auto">
              <a:xfrm>
                <a:off x="973" y="1004"/>
                <a:ext cx="48" cy="24"/>
              </a:xfrm>
              <a:custGeom>
                <a:avLst/>
                <a:gdLst>
                  <a:gd name="T0" fmla="*/ 0 w 24"/>
                  <a:gd name="T1" fmla="*/ 327680 h 12"/>
                  <a:gd name="T2" fmla="*/ 196608 w 24"/>
                  <a:gd name="T3" fmla="*/ 131072 h 12"/>
                  <a:gd name="T4" fmla="*/ 1179648 w 24"/>
                  <a:gd name="T5" fmla="*/ 0 h 12"/>
                  <a:gd name="T6" fmla="*/ 1572864 w 24"/>
                  <a:gd name="T7" fmla="*/ 65536 h 12"/>
                  <a:gd name="T8" fmla="*/ 917504 w 24"/>
                  <a:gd name="T9" fmla="*/ 327680 h 12"/>
                  <a:gd name="T10" fmla="*/ 1376256 w 24"/>
                  <a:gd name="T11" fmla="*/ 458752 h 12"/>
                  <a:gd name="T12" fmla="*/ 1179648 w 24"/>
                  <a:gd name="T13" fmla="*/ 655360 h 12"/>
                  <a:gd name="T14" fmla="*/ 393216 w 24"/>
                  <a:gd name="T15" fmla="*/ 720896 h 12"/>
                  <a:gd name="T16" fmla="*/ 0 w 24"/>
                  <a:gd name="T17" fmla="*/ 589824 h 12"/>
                  <a:gd name="T18" fmla="*/ 0 w 24"/>
                  <a:gd name="T19" fmla="*/ 327680 h 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12">
                    <a:moveTo>
                      <a:pt x="0" y="5"/>
                    </a:moveTo>
                    <a:cubicBezTo>
                      <a:pt x="0" y="4"/>
                      <a:pt x="2" y="2"/>
                      <a:pt x="3" y="2"/>
                    </a:cubicBezTo>
                    <a:cubicBezTo>
                      <a:pt x="3" y="2"/>
                      <a:pt x="14" y="0"/>
                      <a:pt x="18" y="0"/>
                    </a:cubicBezTo>
                    <a:cubicBezTo>
                      <a:pt x="22" y="0"/>
                      <a:pt x="24" y="0"/>
                      <a:pt x="24" y="1"/>
                    </a:cubicBezTo>
                    <a:cubicBezTo>
                      <a:pt x="23" y="3"/>
                      <a:pt x="14" y="3"/>
                      <a:pt x="14" y="5"/>
                    </a:cubicBezTo>
                    <a:cubicBezTo>
                      <a:pt x="15" y="8"/>
                      <a:pt x="21" y="6"/>
                      <a:pt x="21" y="7"/>
                    </a:cubicBezTo>
                    <a:cubicBezTo>
                      <a:pt x="22" y="8"/>
                      <a:pt x="21" y="9"/>
                      <a:pt x="18" y="10"/>
                    </a:cubicBezTo>
                    <a:cubicBezTo>
                      <a:pt x="16" y="12"/>
                      <a:pt x="8" y="11"/>
                      <a:pt x="6" y="11"/>
                    </a:cubicBezTo>
                    <a:cubicBezTo>
                      <a:pt x="4" y="11"/>
                      <a:pt x="2" y="10"/>
                      <a:pt x="0" y="9"/>
                    </a:cubicBezTo>
                    <a:cubicBezTo>
                      <a:pt x="0" y="9"/>
                      <a:pt x="0" y="7"/>
                      <a:pt x="0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8" name="Freeform 247"/>
              <p:cNvSpPr>
                <a:spLocks/>
              </p:cNvSpPr>
              <p:nvPr/>
            </p:nvSpPr>
            <p:spPr bwMode="auto">
              <a:xfrm>
                <a:off x="962" y="977"/>
                <a:ext cx="67" cy="20"/>
              </a:xfrm>
              <a:custGeom>
                <a:avLst/>
                <a:gdLst>
                  <a:gd name="T0" fmla="*/ 156971 w 33"/>
                  <a:gd name="T1" fmla="*/ 393216 h 10"/>
                  <a:gd name="T2" fmla="*/ 1432592 w 33"/>
                  <a:gd name="T3" fmla="*/ 65536 h 10"/>
                  <a:gd name="T4" fmla="*/ 2181918 w 33"/>
                  <a:gd name="T5" fmla="*/ 65536 h 10"/>
                  <a:gd name="T6" fmla="*/ 2746872 w 33"/>
                  <a:gd name="T7" fmla="*/ 327680 h 10"/>
                  <a:gd name="T8" fmla="*/ 2589897 w 33"/>
                  <a:gd name="T9" fmla="*/ 458752 h 10"/>
                  <a:gd name="T10" fmla="*/ 1594880 w 33"/>
                  <a:gd name="T11" fmla="*/ 458752 h 10"/>
                  <a:gd name="T12" fmla="*/ 828388 w 33"/>
                  <a:gd name="T13" fmla="*/ 589824 h 10"/>
                  <a:gd name="T14" fmla="*/ 156971 w 33"/>
                  <a:gd name="T15" fmla="*/ 589824 h 10"/>
                  <a:gd name="T16" fmla="*/ 156971 w 33"/>
                  <a:gd name="T17" fmla="*/ 393216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10">
                    <a:moveTo>
                      <a:pt x="2" y="6"/>
                    </a:moveTo>
                    <a:cubicBezTo>
                      <a:pt x="3" y="4"/>
                      <a:pt x="15" y="2"/>
                      <a:pt x="17" y="1"/>
                    </a:cubicBezTo>
                    <a:cubicBezTo>
                      <a:pt x="19" y="0"/>
                      <a:pt x="24" y="0"/>
                      <a:pt x="26" y="1"/>
                    </a:cubicBezTo>
                    <a:cubicBezTo>
                      <a:pt x="28" y="1"/>
                      <a:pt x="33" y="4"/>
                      <a:pt x="33" y="5"/>
                    </a:cubicBezTo>
                    <a:cubicBezTo>
                      <a:pt x="33" y="6"/>
                      <a:pt x="33" y="7"/>
                      <a:pt x="31" y="7"/>
                    </a:cubicBezTo>
                    <a:cubicBezTo>
                      <a:pt x="29" y="7"/>
                      <a:pt x="21" y="7"/>
                      <a:pt x="19" y="7"/>
                    </a:cubicBezTo>
                    <a:cubicBezTo>
                      <a:pt x="17" y="7"/>
                      <a:pt x="13" y="8"/>
                      <a:pt x="10" y="9"/>
                    </a:cubicBezTo>
                    <a:cubicBezTo>
                      <a:pt x="8" y="9"/>
                      <a:pt x="3" y="10"/>
                      <a:pt x="2" y="9"/>
                    </a:cubicBezTo>
                    <a:cubicBezTo>
                      <a:pt x="0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9" name="Freeform 248"/>
              <p:cNvSpPr>
                <a:spLocks/>
              </p:cNvSpPr>
              <p:nvPr/>
            </p:nvSpPr>
            <p:spPr bwMode="auto">
              <a:xfrm>
                <a:off x="936" y="1004"/>
                <a:ext cx="26" cy="14"/>
              </a:xfrm>
              <a:custGeom>
                <a:avLst/>
                <a:gdLst>
                  <a:gd name="T0" fmla="*/ 0 w 13"/>
                  <a:gd name="T1" fmla="*/ 131072 h 7"/>
                  <a:gd name="T2" fmla="*/ 458752 w 13"/>
                  <a:gd name="T3" fmla="*/ 0 h 7"/>
                  <a:gd name="T4" fmla="*/ 786432 w 13"/>
                  <a:gd name="T5" fmla="*/ 262144 h 7"/>
                  <a:gd name="T6" fmla="*/ 458752 w 13"/>
                  <a:gd name="T7" fmla="*/ 393216 h 7"/>
                  <a:gd name="T8" fmla="*/ 196608 w 13"/>
                  <a:gd name="T9" fmla="*/ 327680 h 7"/>
                  <a:gd name="T10" fmla="*/ 0 w 13"/>
                  <a:gd name="T11" fmla="*/ 131072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3" h="7">
                    <a:moveTo>
                      <a:pt x="0" y="2"/>
                    </a:moveTo>
                    <a:cubicBezTo>
                      <a:pt x="0" y="1"/>
                      <a:pt x="6" y="0"/>
                      <a:pt x="7" y="0"/>
                    </a:cubicBezTo>
                    <a:cubicBezTo>
                      <a:pt x="8" y="0"/>
                      <a:pt x="13" y="3"/>
                      <a:pt x="12" y="4"/>
                    </a:cubicBezTo>
                    <a:cubicBezTo>
                      <a:pt x="12" y="5"/>
                      <a:pt x="9" y="7"/>
                      <a:pt x="7" y="6"/>
                    </a:cubicBezTo>
                    <a:cubicBezTo>
                      <a:pt x="6" y="5"/>
                      <a:pt x="3" y="5"/>
                      <a:pt x="3" y="5"/>
                    </a:cubicBezTo>
                    <a:cubicBezTo>
                      <a:pt x="1" y="4"/>
                      <a:pt x="0" y="3"/>
                      <a:pt x="0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0" name="Freeform 249"/>
              <p:cNvSpPr>
                <a:spLocks/>
              </p:cNvSpPr>
              <p:nvPr/>
            </p:nvSpPr>
            <p:spPr bwMode="auto">
              <a:xfrm>
                <a:off x="900" y="1042"/>
                <a:ext cx="190" cy="85"/>
              </a:xfrm>
              <a:custGeom>
                <a:avLst/>
                <a:gdLst>
                  <a:gd name="T0" fmla="*/ 73859 w 94"/>
                  <a:gd name="T1" fmla="*/ 2071535 h 42"/>
                  <a:gd name="T2" fmla="*/ 533847 w 94"/>
                  <a:gd name="T3" fmla="*/ 1567534 h 42"/>
                  <a:gd name="T4" fmla="*/ 761484 w 94"/>
                  <a:gd name="T5" fmla="*/ 945591 h 42"/>
                  <a:gd name="T6" fmla="*/ 1390042 w 94"/>
                  <a:gd name="T7" fmla="*/ 544000 h 42"/>
                  <a:gd name="T8" fmla="*/ 1953673 w 94"/>
                  <a:gd name="T9" fmla="*/ 544000 h 42"/>
                  <a:gd name="T10" fmla="*/ 2181063 w 94"/>
                  <a:gd name="T11" fmla="*/ 945591 h 42"/>
                  <a:gd name="T12" fmla="*/ 2809659 w 94"/>
                  <a:gd name="T13" fmla="*/ 774546 h 42"/>
                  <a:gd name="T14" fmla="*/ 3571044 w 94"/>
                  <a:gd name="T15" fmla="*/ 1415276 h 42"/>
                  <a:gd name="T16" fmla="*/ 3720331 w 94"/>
                  <a:gd name="T17" fmla="*/ 1756440 h 42"/>
                  <a:gd name="T18" fmla="*/ 5036811 w 94"/>
                  <a:gd name="T19" fmla="*/ 1756440 h 42"/>
                  <a:gd name="T20" fmla="*/ 5036811 w 94"/>
                  <a:gd name="T21" fmla="*/ 1415276 h 42"/>
                  <a:gd name="T22" fmla="*/ 4654456 w 94"/>
                  <a:gd name="T23" fmla="*/ 1260014 h 42"/>
                  <a:gd name="T24" fmla="*/ 4803612 w 94"/>
                  <a:gd name="T25" fmla="*/ 945591 h 42"/>
                  <a:gd name="T26" fmla="*/ 4180843 w 94"/>
                  <a:gd name="T27" fmla="*/ 622595 h 42"/>
                  <a:gd name="T28" fmla="*/ 4877405 w 94"/>
                  <a:gd name="T29" fmla="*/ 152008 h 42"/>
                  <a:gd name="T30" fmla="*/ 5264455 w 94"/>
                  <a:gd name="T31" fmla="*/ 0 h 42"/>
                  <a:gd name="T32" fmla="*/ 5337771 w 94"/>
                  <a:gd name="T33" fmla="*/ 467233 h 42"/>
                  <a:gd name="T34" fmla="*/ 5605190 w 94"/>
                  <a:gd name="T35" fmla="*/ 774546 h 42"/>
                  <a:gd name="T36" fmla="*/ 5528521 w 94"/>
                  <a:gd name="T37" fmla="*/ 1100952 h 42"/>
                  <a:gd name="T38" fmla="*/ 6211700 w 94"/>
                  <a:gd name="T39" fmla="*/ 1337285 h 42"/>
                  <a:gd name="T40" fmla="*/ 6380018 w 94"/>
                  <a:gd name="T41" fmla="*/ 945591 h 42"/>
                  <a:gd name="T42" fmla="*/ 6994911 w 94"/>
                  <a:gd name="T43" fmla="*/ 1100952 h 42"/>
                  <a:gd name="T44" fmla="*/ 7144340 w 94"/>
                  <a:gd name="T45" fmla="*/ 1836190 h 42"/>
                  <a:gd name="T46" fmla="*/ 6684212 w 94"/>
                  <a:gd name="T47" fmla="*/ 2378782 h 42"/>
                  <a:gd name="T48" fmla="*/ 5114580 w 94"/>
                  <a:gd name="T49" fmla="*/ 2378782 h 42"/>
                  <a:gd name="T50" fmla="*/ 3720331 w 94"/>
                  <a:gd name="T51" fmla="*/ 2864249 h 42"/>
                  <a:gd name="T52" fmla="*/ 2491896 w 94"/>
                  <a:gd name="T53" fmla="*/ 3172390 h 42"/>
                  <a:gd name="T54" fmla="*/ 1879316 w 94"/>
                  <a:gd name="T55" fmla="*/ 2779852 h 42"/>
                  <a:gd name="T56" fmla="*/ 2567945 w 94"/>
                  <a:gd name="T57" fmla="*/ 2550028 h 42"/>
                  <a:gd name="T58" fmla="*/ 3496647 w 94"/>
                  <a:gd name="T59" fmla="*/ 2378782 h 42"/>
                  <a:gd name="T60" fmla="*/ 3798617 w 94"/>
                  <a:gd name="T61" fmla="*/ 2148401 h 42"/>
                  <a:gd name="T62" fmla="*/ 3037217 w 94"/>
                  <a:gd name="T63" fmla="*/ 2071535 h 42"/>
                  <a:gd name="T64" fmla="*/ 2264008 w 94"/>
                  <a:gd name="T65" fmla="*/ 2148401 h 42"/>
                  <a:gd name="T66" fmla="*/ 2181063 w 94"/>
                  <a:gd name="T67" fmla="*/ 1756440 h 42"/>
                  <a:gd name="T68" fmla="*/ 1879316 w 94"/>
                  <a:gd name="T69" fmla="*/ 1836190 h 42"/>
                  <a:gd name="T70" fmla="*/ 1693880 w 94"/>
                  <a:gd name="T71" fmla="*/ 2305423 h 42"/>
                  <a:gd name="T72" fmla="*/ 1079052 w 94"/>
                  <a:gd name="T73" fmla="*/ 2378782 h 42"/>
                  <a:gd name="T74" fmla="*/ 929767 w 94"/>
                  <a:gd name="T75" fmla="*/ 2305423 h 42"/>
                  <a:gd name="T76" fmla="*/ 73859 w 94"/>
                  <a:gd name="T77" fmla="*/ 2071535 h 4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4" h="42">
                    <a:moveTo>
                      <a:pt x="1" y="26"/>
                    </a:moveTo>
                    <a:cubicBezTo>
                      <a:pt x="2" y="25"/>
                      <a:pt x="6" y="21"/>
                      <a:pt x="7" y="20"/>
                    </a:cubicBezTo>
                    <a:cubicBezTo>
                      <a:pt x="8" y="18"/>
                      <a:pt x="10" y="13"/>
                      <a:pt x="10" y="12"/>
                    </a:cubicBezTo>
                    <a:cubicBezTo>
                      <a:pt x="11" y="11"/>
                      <a:pt x="16" y="7"/>
                      <a:pt x="18" y="7"/>
                    </a:cubicBezTo>
                    <a:cubicBezTo>
                      <a:pt x="20" y="7"/>
                      <a:pt x="25" y="6"/>
                      <a:pt x="25" y="7"/>
                    </a:cubicBezTo>
                    <a:cubicBezTo>
                      <a:pt x="26" y="9"/>
                      <a:pt x="25" y="12"/>
                      <a:pt x="28" y="12"/>
                    </a:cubicBezTo>
                    <a:cubicBezTo>
                      <a:pt x="30" y="12"/>
                      <a:pt x="32" y="9"/>
                      <a:pt x="36" y="10"/>
                    </a:cubicBezTo>
                    <a:cubicBezTo>
                      <a:pt x="40" y="12"/>
                      <a:pt x="44" y="16"/>
                      <a:pt x="46" y="18"/>
                    </a:cubicBezTo>
                    <a:cubicBezTo>
                      <a:pt x="47" y="19"/>
                      <a:pt x="46" y="22"/>
                      <a:pt x="48" y="22"/>
                    </a:cubicBezTo>
                    <a:cubicBezTo>
                      <a:pt x="50" y="22"/>
                      <a:pt x="64" y="23"/>
                      <a:pt x="65" y="22"/>
                    </a:cubicBezTo>
                    <a:cubicBezTo>
                      <a:pt x="66" y="21"/>
                      <a:pt x="68" y="20"/>
                      <a:pt x="65" y="18"/>
                    </a:cubicBezTo>
                    <a:cubicBezTo>
                      <a:pt x="62" y="16"/>
                      <a:pt x="61" y="17"/>
                      <a:pt x="60" y="16"/>
                    </a:cubicBezTo>
                    <a:cubicBezTo>
                      <a:pt x="58" y="14"/>
                      <a:pt x="64" y="13"/>
                      <a:pt x="62" y="12"/>
                    </a:cubicBezTo>
                    <a:cubicBezTo>
                      <a:pt x="61" y="11"/>
                      <a:pt x="54" y="9"/>
                      <a:pt x="54" y="8"/>
                    </a:cubicBezTo>
                    <a:cubicBezTo>
                      <a:pt x="54" y="6"/>
                      <a:pt x="61" y="4"/>
                      <a:pt x="63" y="2"/>
                    </a:cubicBezTo>
                    <a:cubicBezTo>
                      <a:pt x="65" y="0"/>
                      <a:pt x="67" y="0"/>
                      <a:pt x="68" y="0"/>
                    </a:cubicBezTo>
                    <a:cubicBezTo>
                      <a:pt x="69" y="0"/>
                      <a:pt x="68" y="4"/>
                      <a:pt x="69" y="6"/>
                    </a:cubicBezTo>
                    <a:cubicBezTo>
                      <a:pt x="70" y="7"/>
                      <a:pt x="71" y="9"/>
                      <a:pt x="72" y="10"/>
                    </a:cubicBezTo>
                    <a:cubicBezTo>
                      <a:pt x="73" y="11"/>
                      <a:pt x="69" y="12"/>
                      <a:pt x="71" y="14"/>
                    </a:cubicBezTo>
                    <a:cubicBezTo>
                      <a:pt x="73" y="15"/>
                      <a:pt x="78" y="17"/>
                      <a:pt x="80" y="17"/>
                    </a:cubicBezTo>
                    <a:cubicBezTo>
                      <a:pt x="82" y="17"/>
                      <a:pt x="80" y="12"/>
                      <a:pt x="82" y="12"/>
                    </a:cubicBezTo>
                    <a:cubicBezTo>
                      <a:pt x="84" y="12"/>
                      <a:pt x="88" y="13"/>
                      <a:pt x="90" y="14"/>
                    </a:cubicBezTo>
                    <a:cubicBezTo>
                      <a:pt x="93" y="16"/>
                      <a:pt x="94" y="20"/>
                      <a:pt x="92" y="23"/>
                    </a:cubicBezTo>
                    <a:cubicBezTo>
                      <a:pt x="90" y="25"/>
                      <a:pt x="89" y="30"/>
                      <a:pt x="86" y="30"/>
                    </a:cubicBezTo>
                    <a:cubicBezTo>
                      <a:pt x="84" y="30"/>
                      <a:pt x="68" y="29"/>
                      <a:pt x="66" y="30"/>
                    </a:cubicBezTo>
                    <a:cubicBezTo>
                      <a:pt x="64" y="31"/>
                      <a:pt x="51" y="36"/>
                      <a:pt x="48" y="36"/>
                    </a:cubicBezTo>
                    <a:cubicBezTo>
                      <a:pt x="45" y="37"/>
                      <a:pt x="37" y="42"/>
                      <a:pt x="32" y="40"/>
                    </a:cubicBezTo>
                    <a:cubicBezTo>
                      <a:pt x="27" y="38"/>
                      <a:pt x="24" y="36"/>
                      <a:pt x="24" y="35"/>
                    </a:cubicBezTo>
                    <a:cubicBezTo>
                      <a:pt x="25" y="34"/>
                      <a:pt x="30" y="32"/>
                      <a:pt x="33" y="32"/>
                    </a:cubicBezTo>
                    <a:cubicBezTo>
                      <a:pt x="36" y="32"/>
                      <a:pt x="43" y="31"/>
                      <a:pt x="45" y="30"/>
                    </a:cubicBezTo>
                    <a:cubicBezTo>
                      <a:pt x="47" y="29"/>
                      <a:pt x="50" y="29"/>
                      <a:pt x="49" y="27"/>
                    </a:cubicBezTo>
                    <a:cubicBezTo>
                      <a:pt x="48" y="26"/>
                      <a:pt x="42" y="26"/>
                      <a:pt x="39" y="26"/>
                    </a:cubicBezTo>
                    <a:cubicBezTo>
                      <a:pt x="36" y="26"/>
                      <a:pt x="30" y="28"/>
                      <a:pt x="29" y="27"/>
                    </a:cubicBezTo>
                    <a:cubicBezTo>
                      <a:pt x="28" y="26"/>
                      <a:pt x="30" y="22"/>
                      <a:pt x="28" y="22"/>
                    </a:cubicBezTo>
                    <a:cubicBezTo>
                      <a:pt x="27" y="22"/>
                      <a:pt x="24" y="23"/>
                      <a:pt x="24" y="23"/>
                    </a:cubicBezTo>
                    <a:cubicBezTo>
                      <a:pt x="24" y="23"/>
                      <a:pt x="23" y="29"/>
                      <a:pt x="22" y="29"/>
                    </a:cubicBezTo>
                    <a:cubicBezTo>
                      <a:pt x="20" y="29"/>
                      <a:pt x="15" y="30"/>
                      <a:pt x="14" y="30"/>
                    </a:cubicBezTo>
                    <a:cubicBezTo>
                      <a:pt x="14" y="30"/>
                      <a:pt x="12" y="29"/>
                      <a:pt x="12" y="29"/>
                    </a:cubicBezTo>
                    <a:cubicBezTo>
                      <a:pt x="10" y="28"/>
                      <a:pt x="0" y="27"/>
                      <a:pt x="1" y="2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1" name="Freeform 250"/>
              <p:cNvSpPr>
                <a:spLocks/>
              </p:cNvSpPr>
              <p:nvPr/>
            </p:nvSpPr>
            <p:spPr bwMode="auto">
              <a:xfrm>
                <a:off x="873" y="1139"/>
                <a:ext cx="288" cy="150"/>
              </a:xfrm>
              <a:custGeom>
                <a:avLst/>
                <a:gdLst>
                  <a:gd name="T0" fmla="*/ 155703 w 142"/>
                  <a:gd name="T1" fmla="*/ 2371678 h 74"/>
                  <a:gd name="T2" fmla="*/ 1215474 w 142"/>
                  <a:gd name="T3" fmla="*/ 1368144 h 74"/>
                  <a:gd name="T4" fmla="*/ 3193719 w 142"/>
                  <a:gd name="T5" fmla="*/ 636097 h 74"/>
                  <a:gd name="T6" fmla="*/ 3685098 w 142"/>
                  <a:gd name="T7" fmla="*/ 1368144 h 74"/>
                  <a:gd name="T8" fmla="*/ 4922977 w 142"/>
                  <a:gd name="T9" fmla="*/ 1289386 h 74"/>
                  <a:gd name="T10" fmla="*/ 5178372 w 142"/>
                  <a:gd name="T11" fmla="*/ 1719217 h 74"/>
                  <a:gd name="T12" fmla="*/ 5426975 w 142"/>
                  <a:gd name="T13" fmla="*/ 885002 h 74"/>
                  <a:gd name="T14" fmla="*/ 6633279 w 142"/>
                  <a:gd name="T15" fmla="*/ 1368144 h 74"/>
                  <a:gd name="T16" fmla="*/ 7557735 w 142"/>
                  <a:gd name="T17" fmla="*/ 2193837 h 74"/>
                  <a:gd name="T18" fmla="*/ 6955243 w 142"/>
                  <a:gd name="T19" fmla="*/ 636097 h 74"/>
                  <a:gd name="T20" fmla="*/ 8047024 w 142"/>
                  <a:gd name="T21" fmla="*/ 636097 h 74"/>
                  <a:gd name="T22" fmla="*/ 8686887 w 142"/>
                  <a:gd name="T23" fmla="*/ 76374 h 74"/>
                  <a:gd name="T24" fmla="*/ 8849563 w 142"/>
                  <a:gd name="T25" fmla="*/ 966000 h 74"/>
                  <a:gd name="T26" fmla="*/ 9343558 w 142"/>
                  <a:gd name="T27" fmla="*/ 2613620 h 74"/>
                  <a:gd name="T28" fmla="*/ 9903326 w 142"/>
                  <a:gd name="T29" fmla="*/ 3636330 h 74"/>
                  <a:gd name="T30" fmla="*/ 11477181 w 142"/>
                  <a:gd name="T31" fmla="*/ 4721996 h 74"/>
                  <a:gd name="T32" fmla="*/ 10426255 w 142"/>
                  <a:gd name="T33" fmla="*/ 4721996 h 74"/>
                  <a:gd name="T34" fmla="*/ 10140472 w 142"/>
                  <a:gd name="T35" fmla="*/ 5214651 h 74"/>
                  <a:gd name="T36" fmla="*/ 11006823 w 142"/>
                  <a:gd name="T37" fmla="*/ 5374119 h 74"/>
                  <a:gd name="T38" fmla="*/ 9009202 w 142"/>
                  <a:gd name="T39" fmla="*/ 5538253 h 74"/>
                  <a:gd name="T40" fmla="*/ 8047024 w 142"/>
                  <a:gd name="T41" fmla="*/ 4966792 h 74"/>
                  <a:gd name="T42" fmla="*/ 7387886 w 142"/>
                  <a:gd name="T43" fmla="*/ 5374119 h 74"/>
                  <a:gd name="T44" fmla="*/ 5426975 w 142"/>
                  <a:gd name="T45" fmla="*/ 5852064 h 74"/>
                  <a:gd name="T46" fmla="*/ 3604920 w 142"/>
                  <a:gd name="T47" fmla="*/ 5538253 h 74"/>
                  <a:gd name="T48" fmla="*/ 2228057 w 142"/>
                  <a:gd name="T49" fmla="*/ 5041437 h 74"/>
                  <a:gd name="T50" fmla="*/ 1574681 w 142"/>
                  <a:gd name="T51" fmla="*/ 4292118 h 74"/>
                  <a:gd name="T52" fmla="*/ 4244846 w 142"/>
                  <a:gd name="T53" fmla="*/ 4215758 h 74"/>
                  <a:gd name="T54" fmla="*/ 4165772 w 142"/>
                  <a:gd name="T55" fmla="*/ 3636330 h 74"/>
                  <a:gd name="T56" fmla="*/ 1728730 w 142"/>
                  <a:gd name="T57" fmla="*/ 3734609 h 74"/>
                  <a:gd name="T58" fmla="*/ 640480 w 142"/>
                  <a:gd name="T59" fmla="*/ 3238093 h 74"/>
                  <a:gd name="T60" fmla="*/ 2465187 w 142"/>
                  <a:gd name="T61" fmla="*/ 2689995 h 74"/>
                  <a:gd name="T62" fmla="*/ 895861 w 142"/>
                  <a:gd name="T63" fmla="*/ 2689995 h 7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42" h="74">
                    <a:moveTo>
                      <a:pt x="6" y="31"/>
                    </a:moveTo>
                    <a:cubicBezTo>
                      <a:pt x="4" y="30"/>
                      <a:pt x="0" y="31"/>
                      <a:pt x="2" y="29"/>
                    </a:cubicBezTo>
                    <a:cubicBezTo>
                      <a:pt x="4" y="26"/>
                      <a:pt x="7" y="26"/>
                      <a:pt x="9" y="24"/>
                    </a:cubicBezTo>
                    <a:cubicBezTo>
                      <a:pt x="10" y="23"/>
                      <a:pt x="3" y="19"/>
                      <a:pt x="15" y="17"/>
                    </a:cubicBezTo>
                    <a:cubicBezTo>
                      <a:pt x="18" y="16"/>
                      <a:pt x="25" y="12"/>
                      <a:pt x="26" y="11"/>
                    </a:cubicBezTo>
                    <a:cubicBezTo>
                      <a:pt x="30" y="10"/>
                      <a:pt x="37" y="6"/>
                      <a:pt x="39" y="8"/>
                    </a:cubicBezTo>
                    <a:cubicBezTo>
                      <a:pt x="41" y="10"/>
                      <a:pt x="36" y="17"/>
                      <a:pt x="37" y="17"/>
                    </a:cubicBezTo>
                    <a:cubicBezTo>
                      <a:pt x="38" y="18"/>
                      <a:pt x="44" y="18"/>
                      <a:pt x="45" y="17"/>
                    </a:cubicBezTo>
                    <a:cubicBezTo>
                      <a:pt x="45" y="16"/>
                      <a:pt x="46" y="11"/>
                      <a:pt x="47" y="11"/>
                    </a:cubicBezTo>
                    <a:cubicBezTo>
                      <a:pt x="48" y="11"/>
                      <a:pt x="60" y="14"/>
                      <a:pt x="60" y="16"/>
                    </a:cubicBezTo>
                    <a:cubicBezTo>
                      <a:pt x="61" y="18"/>
                      <a:pt x="56" y="20"/>
                      <a:pt x="58" y="21"/>
                    </a:cubicBezTo>
                    <a:cubicBezTo>
                      <a:pt x="59" y="22"/>
                      <a:pt x="61" y="21"/>
                      <a:pt x="63" y="21"/>
                    </a:cubicBezTo>
                    <a:cubicBezTo>
                      <a:pt x="65" y="21"/>
                      <a:pt x="68" y="18"/>
                      <a:pt x="69" y="17"/>
                    </a:cubicBezTo>
                    <a:cubicBezTo>
                      <a:pt x="70" y="16"/>
                      <a:pt x="65" y="12"/>
                      <a:pt x="66" y="11"/>
                    </a:cubicBezTo>
                    <a:cubicBezTo>
                      <a:pt x="68" y="11"/>
                      <a:pt x="71" y="11"/>
                      <a:pt x="73" y="12"/>
                    </a:cubicBezTo>
                    <a:cubicBezTo>
                      <a:pt x="74" y="13"/>
                      <a:pt x="81" y="15"/>
                      <a:pt x="81" y="17"/>
                    </a:cubicBezTo>
                    <a:cubicBezTo>
                      <a:pt x="81" y="20"/>
                      <a:pt x="83" y="31"/>
                      <a:pt x="85" y="31"/>
                    </a:cubicBezTo>
                    <a:cubicBezTo>
                      <a:pt x="87" y="31"/>
                      <a:pt x="91" y="29"/>
                      <a:pt x="92" y="27"/>
                    </a:cubicBezTo>
                    <a:cubicBezTo>
                      <a:pt x="93" y="26"/>
                      <a:pt x="90" y="24"/>
                      <a:pt x="89" y="22"/>
                    </a:cubicBezTo>
                    <a:cubicBezTo>
                      <a:pt x="89" y="19"/>
                      <a:pt x="84" y="9"/>
                      <a:pt x="85" y="8"/>
                    </a:cubicBezTo>
                    <a:cubicBezTo>
                      <a:pt x="86" y="6"/>
                      <a:pt x="90" y="7"/>
                      <a:pt x="92" y="8"/>
                    </a:cubicBezTo>
                    <a:cubicBezTo>
                      <a:pt x="93" y="8"/>
                      <a:pt x="97" y="8"/>
                      <a:pt x="98" y="8"/>
                    </a:cubicBezTo>
                    <a:cubicBezTo>
                      <a:pt x="98" y="8"/>
                      <a:pt x="94" y="3"/>
                      <a:pt x="96" y="2"/>
                    </a:cubicBezTo>
                    <a:cubicBezTo>
                      <a:pt x="99" y="1"/>
                      <a:pt x="102" y="1"/>
                      <a:pt x="106" y="1"/>
                    </a:cubicBezTo>
                    <a:cubicBezTo>
                      <a:pt x="110" y="0"/>
                      <a:pt x="112" y="2"/>
                      <a:pt x="113" y="4"/>
                    </a:cubicBezTo>
                    <a:cubicBezTo>
                      <a:pt x="113" y="6"/>
                      <a:pt x="109" y="12"/>
                      <a:pt x="108" y="12"/>
                    </a:cubicBezTo>
                    <a:cubicBezTo>
                      <a:pt x="106" y="12"/>
                      <a:pt x="106" y="15"/>
                      <a:pt x="106" y="15"/>
                    </a:cubicBezTo>
                    <a:cubicBezTo>
                      <a:pt x="106" y="15"/>
                      <a:pt x="113" y="30"/>
                      <a:pt x="114" y="32"/>
                    </a:cubicBezTo>
                    <a:cubicBezTo>
                      <a:pt x="114" y="34"/>
                      <a:pt x="110" y="38"/>
                      <a:pt x="112" y="39"/>
                    </a:cubicBezTo>
                    <a:cubicBezTo>
                      <a:pt x="114" y="41"/>
                      <a:pt x="118" y="44"/>
                      <a:pt x="121" y="45"/>
                    </a:cubicBezTo>
                    <a:cubicBezTo>
                      <a:pt x="123" y="46"/>
                      <a:pt x="138" y="49"/>
                      <a:pt x="139" y="51"/>
                    </a:cubicBezTo>
                    <a:cubicBezTo>
                      <a:pt x="140" y="53"/>
                      <a:pt x="142" y="58"/>
                      <a:pt x="140" y="58"/>
                    </a:cubicBezTo>
                    <a:cubicBezTo>
                      <a:pt x="139" y="59"/>
                      <a:pt x="133" y="56"/>
                      <a:pt x="131" y="55"/>
                    </a:cubicBezTo>
                    <a:cubicBezTo>
                      <a:pt x="130" y="55"/>
                      <a:pt x="128" y="57"/>
                      <a:pt x="127" y="58"/>
                    </a:cubicBezTo>
                    <a:cubicBezTo>
                      <a:pt x="126" y="59"/>
                      <a:pt x="124" y="60"/>
                      <a:pt x="123" y="60"/>
                    </a:cubicBezTo>
                    <a:cubicBezTo>
                      <a:pt x="121" y="59"/>
                      <a:pt x="122" y="64"/>
                      <a:pt x="124" y="64"/>
                    </a:cubicBezTo>
                    <a:cubicBezTo>
                      <a:pt x="125" y="64"/>
                      <a:pt x="130" y="60"/>
                      <a:pt x="132" y="61"/>
                    </a:cubicBezTo>
                    <a:cubicBezTo>
                      <a:pt x="133" y="63"/>
                      <a:pt x="135" y="64"/>
                      <a:pt x="134" y="66"/>
                    </a:cubicBezTo>
                    <a:cubicBezTo>
                      <a:pt x="134" y="68"/>
                      <a:pt x="129" y="70"/>
                      <a:pt x="126" y="70"/>
                    </a:cubicBezTo>
                    <a:cubicBezTo>
                      <a:pt x="122" y="70"/>
                      <a:pt x="111" y="69"/>
                      <a:pt x="110" y="68"/>
                    </a:cubicBezTo>
                    <a:cubicBezTo>
                      <a:pt x="109" y="66"/>
                      <a:pt x="105" y="65"/>
                      <a:pt x="103" y="65"/>
                    </a:cubicBezTo>
                    <a:cubicBezTo>
                      <a:pt x="101" y="65"/>
                      <a:pt x="100" y="62"/>
                      <a:pt x="98" y="61"/>
                    </a:cubicBezTo>
                    <a:cubicBezTo>
                      <a:pt x="96" y="61"/>
                      <a:pt x="94" y="61"/>
                      <a:pt x="93" y="63"/>
                    </a:cubicBezTo>
                    <a:cubicBezTo>
                      <a:pt x="92" y="64"/>
                      <a:pt x="93" y="66"/>
                      <a:pt x="90" y="66"/>
                    </a:cubicBezTo>
                    <a:cubicBezTo>
                      <a:pt x="87" y="66"/>
                      <a:pt x="83" y="68"/>
                      <a:pt x="81" y="69"/>
                    </a:cubicBezTo>
                    <a:cubicBezTo>
                      <a:pt x="79" y="69"/>
                      <a:pt x="71" y="72"/>
                      <a:pt x="66" y="72"/>
                    </a:cubicBezTo>
                    <a:cubicBezTo>
                      <a:pt x="62" y="72"/>
                      <a:pt x="51" y="74"/>
                      <a:pt x="49" y="73"/>
                    </a:cubicBezTo>
                    <a:cubicBezTo>
                      <a:pt x="47" y="72"/>
                      <a:pt x="44" y="72"/>
                      <a:pt x="44" y="68"/>
                    </a:cubicBezTo>
                    <a:cubicBezTo>
                      <a:pt x="44" y="65"/>
                      <a:pt x="44" y="63"/>
                      <a:pt x="42" y="63"/>
                    </a:cubicBezTo>
                    <a:cubicBezTo>
                      <a:pt x="41" y="63"/>
                      <a:pt x="31" y="64"/>
                      <a:pt x="27" y="62"/>
                    </a:cubicBezTo>
                    <a:cubicBezTo>
                      <a:pt x="23" y="61"/>
                      <a:pt x="16" y="59"/>
                      <a:pt x="15" y="56"/>
                    </a:cubicBezTo>
                    <a:cubicBezTo>
                      <a:pt x="14" y="54"/>
                      <a:pt x="17" y="53"/>
                      <a:pt x="19" y="53"/>
                    </a:cubicBezTo>
                    <a:cubicBezTo>
                      <a:pt x="22" y="52"/>
                      <a:pt x="34" y="51"/>
                      <a:pt x="38" y="51"/>
                    </a:cubicBezTo>
                    <a:cubicBezTo>
                      <a:pt x="41" y="51"/>
                      <a:pt x="49" y="52"/>
                      <a:pt x="52" y="52"/>
                    </a:cubicBezTo>
                    <a:cubicBezTo>
                      <a:pt x="54" y="52"/>
                      <a:pt x="57" y="50"/>
                      <a:pt x="57" y="48"/>
                    </a:cubicBezTo>
                    <a:cubicBezTo>
                      <a:pt x="57" y="47"/>
                      <a:pt x="54" y="46"/>
                      <a:pt x="51" y="45"/>
                    </a:cubicBezTo>
                    <a:cubicBezTo>
                      <a:pt x="47" y="45"/>
                      <a:pt x="41" y="43"/>
                      <a:pt x="38" y="44"/>
                    </a:cubicBezTo>
                    <a:cubicBezTo>
                      <a:pt x="35" y="44"/>
                      <a:pt x="24" y="46"/>
                      <a:pt x="21" y="46"/>
                    </a:cubicBezTo>
                    <a:cubicBezTo>
                      <a:pt x="19" y="46"/>
                      <a:pt x="13" y="46"/>
                      <a:pt x="11" y="44"/>
                    </a:cubicBezTo>
                    <a:cubicBezTo>
                      <a:pt x="8" y="42"/>
                      <a:pt x="6" y="42"/>
                      <a:pt x="8" y="40"/>
                    </a:cubicBezTo>
                    <a:cubicBezTo>
                      <a:pt x="9" y="39"/>
                      <a:pt x="22" y="37"/>
                      <a:pt x="24" y="36"/>
                    </a:cubicBezTo>
                    <a:cubicBezTo>
                      <a:pt x="26" y="35"/>
                      <a:pt x="30" y="35"/>
                      <a:pt x="30" y="33"/>
                    </a:cubicBezTo>
                    <a:cubicBezTo>
                      <a:pt x="29" y="32"/>
                      <a:pt x="26" y="32"/>
                      <a:pt x="23" y="32"/>
                    </a:cubicBezTo>
                    <a:cubicBezTo>
                      <a:pt x="21" y="32"/>
                      <a:pt x="14" y="34"/>
                      <a:pt x="11" y="33"/>
                    </a:cubicBezTo>
                    <a:cubicBezTo>
                      <a:pt x="7" y="32"/>
                      <a:pt x="8" y="33"/>
                      <a:pt x="6" y="3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2" name="Freeform 251"/>
              <p:cNvSpPr>
                <a:spLocks/>
              </p:cNvSpPr>
              <p:nvPr/>
            </p:nvSpPr>
            <p:spPr bwMode="auto">
              <a:xfrm>
                <a:off x="867" y="1068"/>
                <a:ext cx="37" cy="25"/>
              </a:xfrm>
              <a:custGeom>
                <a:avLst/>
                <a:gdLst>
                  <a:gd name="T0" fmla="*/ 1320818 w 18"/>
                  <a:gd name="T1" fmla="*/ 901442 h 12"/>
                  <a:gd name="T2" fmla="*/ 700272 w 18"/>
                  <a:gd name="T3" fmla="*/ 1389306 h 12"/>
                  <a:gd name="T4" fmla="*/ 0 w 18"/>
                  <a:gd name="T5" fmla="*/ 1016710 h 12"/>
                  <a:gd name="T6" fmla="*/ 1229699 w 18"/>
                  <a:gd name="T7" fmla="*/ 112440 h 12"/>
                  <a:gd name="T8" fmla="*/ 1639285 w 18"/>
                  <a:gd name="T9" fmla="*/ 112440 h 12"/>
                  <a:gd name="T10" fmla="*/ 1320818 w 18"/>
                  <a:gd name="T11" fmla="*/ 901442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12">
                    <a:moveTo>
                      <a:pt x="13" y="7"/>
                    </a:moveTo>
                    <a:cubicBezTo>
                      <a:pt x="13" y="9"/>
                      <a:pt x="9" y="11"/>
                      <a:pt x="7" y="11"/>
                    </a:cubicBezTo>
                    <a:cubicBezTo>
                      <a:pt x="6" y="12"/>
                      <a:pt x="0" y="10"/>
                      <a:pt x="0" y="8"/>
                    </a:cubicBezTo>
                    <a:cubicBezTo>
                      <a:pt x="1" y="7"/>
                      <a:pt x="10" y="1"/>
                      <a:pt x="12" y="1"/>
                    </a:cubicBezTo>
                    <a:cubicBezTo>
                      <a:pt x="12" y="1"/>
                      <a:pt x="15" y="0"/>
                      <a:pt x="16" y="1"/>
                    </a:cubicBezTo>
                    <a:cubicBezTo>
                      <a:pt x="18" y="1"/>
                      <a:pt x="14" y="5"/>
                      <a:pt x="13" y="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3" name="Freeform 252"/>
              <p:cNvSpPr>
                <a:spLocks/>
              </p:cNvSpPr>
              <p:nvPr/>
            </p:nvSpPr>
            <p:spPr bwMode="auto">
              <a:xfrm>
                <a:off x="770" y="1115"/>
                <a:ext cx="164" cy="103"/>
              </a:xfrm>
              <a:custGeom>
                <a:avLst/>
                <a:gdLst>
                  <a:gd name="T0" fmla="*/ 546778 w 81"/>
                  <a:gd name="T1" fmla="*/ 2159999 h 51"/>
                  <a:gd name="T2" fmla="*/ 1190897 w 81"/>
                  <a:gd name="T3" fmla="*/ 1219126 h 51"/>
                  <a:gd name="T4" fmla="*/ 1422435 w 81"/>
                  <a:gd name="T5" fmla="*/ 903393 h 51"/>
                  <a:gd name="T6" fmla="*/ 778320 w 81"/>
                  <a:gd name="T7" fmla="*/ 677568 h 51"/>
                  <a:gd name="T8" fmla="*/ 626118 w 81"/>
                  <a:gd name="T9" fmla="*/ 221484 h 51"/>
                  <a:gd name="T10" fmla="*/ 1921758 w 81"/>
                  <a:gd name="T11" fmla="*/ 73279 h 51"/>
                  <a:gd name="T12" fmla="*/ 2806210 w 81"/>
                  <a:gd name="T13" fmla="*/ 0 h 51"/>
                  <a:gd name="T14" fmla="*/ 3738232 w 81"/>
                  <a:gd name="T15" fmla="*/ 447311 h 51"/>
                  <a:gd name="T16" fmla="*/ 5034357 w 81"/>
                  <a:gd name="T17" fmla="*/ 373298 h 51"/>
                  <a:gd name="T18" fmla="*/ 6460033 w 81"/>
                  <a:gd name="T19" fmla="*/ 1219126 h 51"/>
                  <a:gd name="T20" fmla="*/ 4144235 w 81"/>
                  <a:gd name="T21" fmla="*/ 2081604 h 51"/>
                  <a:gd name="T22" fmla="*/ 3815596 w 81"/>
                  <a:gd name="T23" fmla="*/ 2614427 h 51"/>
                  <a:gd name="T24" fmla="*/ 3344193 w 81"/>
                  <a:gd name="T25" fmla="*/ 2688078 h 51"/>
                  <a:gd name="T26" fmla="*/ 3264801 w 81"/>
                  <a:gd name="T27" fmla="*/ 3383695 h 51"/>
                  <a:gd name="T28" fmla="*/ 2643864 w 81"/>
                  <a:gd name="T29" fmla="*/ 3531133 h 51"/>
                  <a:gd name="T30" fmla="*/ 1921758 w 81"/>
                  <a:gd name="T31" fmla="*/ 3906273 h 51"/>
                  <a:gd name="T32" fmla="*/ 1500428 w 81"/>
                  <a:gd name="T33" fmla="*/ 3757058 h 51"/>
                  <a:gd name="T34" fmla="*/ 1343059 w 81"/>
                  <a:gd name="T35" fmla="*/ 3458930 h 51"/>
                  <a:gd name="T36" fmla="*/ 152735 w 81"/>
                  <a:gd name="T37" fmla="*/ 2927464 h 51"/>
                  <a:gd name="T38" fmla="*/ 546778 w 81"/>
                  <a:gd name="T39" fmla="*/ 2159999 h 5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81" h="51">
                    <a:moveTo>
                      <a:pt x="7" y="28"/>
                    </a:moveTo>
                    <a:cubicBezTo>
                      <a:pt x="8" y="26"/>
                      <a:pt x="14" y="17"/>
                      <a:pt x="15" y="16"/>
                    </a:cubicBezTo>
                    <a:cubicBezTo>
                      <a:pt x="16" y="15"/>
                      <a:pt x="18" y="14"/>
                      <a:pt x="18" y="12"/>
                    </a:cubicBezTo>
                    <a:cubicBezTo>
                      <a:pt x="18" y="11"/>
                      <a:pt x="11" y="11"/>
                      <a:pt x="10" y="9"/>
                    </a:cubicBezTo>
                    <a:cubicBezTo>
                      <a:pt x="10" y="8"/>
                      <a:pt x="7" y="4"/>
                      <a:pt x="8" y="3"/>
                    </a:cubicBezTo>
                    <a:cubicBezTo>
                      <a:pt x="9" y="3"/>
                      <a:pt x="22" y="1"/>
                      <a:pt x="24" y="1"/>
                    </a:cubicBezTo>
                    <a:cubicBezTo>
                      <a:pt x="27" y="1"/>
                      <a:pt x="34" y="0"/>
                      <a:pt x="35" y="0"/>
                    </a:cubicBezTo>
                    <a:cubicBezTo>
                      <a:pt x="36" y="0"/>
                      <a:pt x="44" y="6"/>
                      <a:pt x="47" y="6"/>
                    </a:cubicBezTo>
                    <a:cubicBezTo>
                      <a:pt x="49" y="7"/>
                      <a:pt x="61" y="5"/>
                      <a:pt x="63" y="5"/>
                    </a:cubicBezTo>
                    <a:cubicBezTo>
                      <a:pt x="65" y="5"/>
                      <a:pt x="81" y="14"/>
                      <a:pt x="81" y="16"/>
                    </a:cubicBezTo>
                    <a:cubicBezTo>
                      <a:pt x="80" y="17"/>
                      <a:pt x="54" y="27"/>
                      <a:pt x="52" y="27"/>
                    </a:cubicBezTo>
                    <a:cubicBezTo>
                      <a:pt x="51" y="28"/>
                      <a:pt x="50" y="34"/>
                      <a:pt x="48" y="34"/>
                    </a:cubicBezTo>
                    <a:cubicBezTo>
                      <a:pt x="47" y="34"/>
                      <a:pt x="43" y="34"/>
                      <a:pt x="42" y="35"/>
                    </a:cubicBezTo>
                    <a:cubicBezTo>
                      <a:pt x="42" y="36"/>
                      <a:pt x="44" y="43"/>
                      <a:pt x="41" y="44"/>
                    </a:cubicBezTo>
                    <a:cubicBezTo>
                      <a:pt x="38" y="46"/>
                      <a:pt x="34" y="46"/>
                      <a:pt x="33" y="46"/>
                    </a:cubicBezTo>
                    <a:cubicBezTo>
                      <a:pt x="32" y="46"/>
                      <a:pt x="27" y="51"/>
                      <a:pt x="24" y="51"/>
                    </a:cubicBezTo>
                    <a:cubicBezTo>
                      <a:pt x="22" y="51"/>
                      <a:pt x="19" y="51"/>
                      <a:pt x="19" y="49"/>
                    </a:cubicBezTo>
                    <a:cubicBezTo>
                      <a:pt x="18" y="48"/>
                      <a:pt x="18" y="46"/>
                      <a:pt x="17" y="45"/>
                    </a:cubicBezTo>
                    <a:cubicBezTo>
                      <a:pt x="14" y="43"/>
                      <a:pt x="4" y="38"/>
                      <a:pt x="2" y="38"/>
                    </a:cubicBezTo>
                    <a:cubicBezTo>
                      <a:pt x="0" y="38"/>
                      <a:pt x="5" y="29"/>
                      <a:pt x="7" y="2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4" name="Freeform 253"/>
              <p:cNvSpPr>
                <a:spLocks/>
              </p:cNvSpPr>
              <p:nvPr/>
            </p:nvSpPr>
            <p:spPr bwMode="auto">
              <a:xfrm>
                <a:off x="815" y="1020"/>
                <a:ext cx="117" cy="54"/>
              </a:xfrm>
              <a:custGeom>
                <a:avLst/>
                <a:gdLst>
                  <a:gd name="T0" fmla="*/ 294782 w 58"/>
                  <a:gd name="T1" fmla="*/ 1245184 h 27"/>
                  <a:gd name="T2" fmla="*/ 889525 w 58"/>
                  <a:gd name="T3" fmla="*/ 1179648 h 27"/>
                  <a:gd name="T4" fmla="*/ 1199545 w 58"/>
                  <a:gd name="T5" fmla="*/ 917504 h 27"/>
                  <a:gd name="T6" fmla="*/ 2270653 w 58"/>
                  <a:gd name="T7" fmla="*/ 262144 h 27"/>
                  <a:gd name="T8" fmla="*/ 3396276 w 58"/>
                  <a:gd name="T9" fmla="*/ 327680 h 27"/>
                  <a:gd name="T10" fmla="*/ 3690926 w 58"/>
                  <a:gd name="T11" fmla="*/ 0 h 27"/>
                  <a:gd name="T12" fmla="*/ 4359166 w 58"/>
                  <a:gd name="T13" fmla="*/ 262144 h 27"/>
                  <a:gd name="T14" fmla="*/ 3845917 w 58"/>
                  <a:gd name="T15" fmla="*/ 458752 h 27"/>
                  <a:gd name="T16" fmla="*/ 4141675 w 58"/>
                  <a:gd name="T17" fmla="*/ 851968 h 27"/>
                  <a:gd name="T18" fmla="*/ 3619712 w 58"/>
                  <a:gd name="T19" fmla="*/ 1048576 h 27"/>
                  <a:gd name="T20" fmla="*/ 3160182 w 58"/>
                  <a:gd name="T21" fmla="*/ 1245184 h 27"/>
                  <a:gd name="T22" fmla="*/ 2942134 w 58"/>
                  <a:gd name="T23" fmla="*/ 917504 h 27"/>
                  <a:gd name="T24" fmla="*/ 2566480 w 58"/>
                  <a:gd name="T25" fmla="*/ 917504 h 27"/>
                  <a:gd name="T26" fmla="*/ 2419772 w 58"/>
                  <a:gd name="T27" fmla="*/ 1310720 h 27"/>
                  <a:gd name="T28" fmla="*/ 2016227 w 58"/>
                  <a:gd name="T29" fmla="*/ 1572864 h 27"/>
                  <a:gd name="T30" fmla="*/ 1566586 w 58"/>
                  <a:gd name="T31" fmla="*/ 1769472 h 27"/>
                  <a:gd name="T32" fmla="*/ 1199545 w 58"/>
                  <a:gd name="T33" fmla="*/ 1441792 h 27"/>
                  <a:gd name="T34" fmla="*/ 889525 w 58"/>
                  <a:gd name="T35" fmla="*/ 1769472 h 27"/>
                  <a:gd name="T36" fmla="*/ 513241 w 58"/>
                  <a:gd name="T37" fmla="*/ 1703936 h 27"/>
                  <a:gd name="T38" fmla="*/ 294782 w 58"/>
                  <a:gd name="T39" fmla="*/ 1769472 h 27"/>
                  <a:gd name="T40" fmla="*/ 72441 w 58"/>
                  <a:gd name="T41" fmla="*/ 1638400 h 27"/>
                  <a:gd name="T42" fmla="*/ 294782 w 58"/>
                  <a:gd name="T43" fmla="*/ 1245184 h 2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58" h="27">
                    <a:moveTo>
                      <a:pt x="4" y="19"/>
                    </a:moveTo>
                    <a:cubicBezTo>
                      <a:pt x="6" y="18"/>
                      <a:pt x="10" y="20"/>
                      <a:pt x="12" y="18"/>
                    </a:cubicBezTo>
                    <a:cubicBezTo>
                      <a:pt x="14" y="17"/>
                      <a:pt x="14" y="15"/>
                      <a:pt x="16" y="14"/>
                    </a:cubicBezTo>
                    <a:cubicBezTo>
                      <a:pt x="17" y="12"/>
                      <a:pt x="28" y="5"/>
                      <a:pt x="30" y="4"/>
                    </a:cubicBezTo>
                    <a:cubicBezTo>
                      <a:pt x="32" y="4"/>
                      <a:pt x="44" y="6"/>
                      <a:pt x="45" y="5"/>
                    </a:cubicBezTo>
                    <a:cubicBezTo>
                      <a:pt x="47" y="3"/>
                      <a:pt x="46" y="0"/>
                      <a:pt x="49" y="0"/>
                    </a:cubicBezTo>
                    <a:cubicBezTo>
                      <a:pt x="52" y="0"/>
                      <a:pt x="58" y="4"/>
                      <a:pt x="58" y="4"/>
                    </a:cubicBezTo>
                    <a:cubicBezTo>
                      <a:pt x="58" y="5"/>
                      <a:pt x="51" y="6"/>
                      <a:pt x="51" y="7"/>
                    </a:cubicBezTo>
                    <a:cubicBezTo>
                      <a:pt x="51" y="8"/>
                      <a:pt x="56" y="12"/>
                      <a:pt x="55" y="13"/>
                    </a:cubicBezTo>
                    <a:cubicBezTo>
                      <a:pt x="54" y="14"/>
                      <a:pt x="50" y="16"/>
                      <a:pt x="48" y="16"/>
                    </a:cubicBezTo>
                    <a:cubicBezTo>
                      <a:pt x="46" y="16"/>
                      <a:pt x="46" y="20"/>
                      <a:pt x="42" y="19"/>
                    </a:cubicBezTo>
                    <a:cubicBezTo>
                      <a:pt x="39" y="18"/>
                      <a:pt x="39" y="16"/>
                      <a:pt x="39" y="14"/>
                    </a:cubicBezTo>
                    <a:cubicBezTo>
                      <a:pt x="39" y="12"/>
                      <a:pt x="36" y="13"/>
                      <a:pt x="34" y="14"/>
                    </a:cubicBezTo>
                    <a:cubicBezTo>
                      <a:pt x="33" y="15"/>
                      <a:pt x="34" y="19"/>
                      <a:pt x="32" y="20"/>
                    </a:cubicBezTo>
                    <a:cubicBezTo>
                      <a:pt x="29" y="21"/>
                      <a:pt x="29" y="24"/>
                      <a:pt x="27" y="24"/>
                    </a:cubicBezTo>
                    <a:cubicBezTo>
                      <a:pt x="25" y="24"/>
                      <a:pt x="22" y="27"/>
                      <a:pt x="21" y="27"/>
                    </a:cubicBezTo>
                    <a:cubicBezTo>
                      <a:pt x="20" y="27"/>
                      <a:pt x="18" y="21"/>
                      <a:pt x="16" y="22"/>
                    </a:cubicBezTo>
                    <a:cubicBezTo>
                      <a:pt x="14" y="23"/>
                      <a:pt x="14" y="27"/>
                      <a:pt x="12" y="27"/>
                    </a:cubicBezTo>
                    <a:cubicBezTo>
                      <a:pt x="10" y="27"/>
                      <a:pt x="8" y="25"/>
                      <a:pt x="7" y="26"/>
                    </a:cubicBezTo>
                    <a:cubicBezTo>
                      <a:pt x="5" y="26"/>
                      <a:pt x="5" y="27"/>
                      <a:pt x="4" y="27"/>
                    </a:cubicBezTo>
                    <a:cubicBezTo>
                      <a:pt x="2" y="26"/>
                      <a:pt x="1" y="25"/>
                      <a:pt x="1" y="25"/>
                    </a:cubicBezTo>
                    <a:cubicBezTo>
                      <a:pt x="0" y="23"/>
                      <a:pt x="2" y="19"/>
                      <a:pt x="4" y="1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5" name="Freeform 254"/>
              <p:cNvSpPr>
                <a:spLocks/>
              </p:cNvSpPr>
              <p:nvPr/>
            </p:nvSpPr>
            <p:spPr bwMode="auto">
              <a:xfrm>
                <a:off x="728" y="1702"/>
                <a:ext cx="85" cy="47"/>
              </a:xfrm>
              <a:custGeom>
                <a:avLst/>
                <a:gdLst>
                  <a:gd name="T0" fmla="*/ 152008 w 42"/>
                  <a:gd name="T1" fmla="*/ 85127 h 23"/>
                  <a:gd name="T2" fmla="*/ 544000 w 42"/>
                  <a:gd name="T3" fmla="*/ 85127 h 23"/>
                  <a:gd name="T4" fmla="*/ 1100952 w 42"/>
                  <a:gd name="T5" fmla="*/ 445491 h 23"/>
                  <a:gd name="T6" fmla="*/ 1679541 w 42"/>
                  <a:gd name="T7" fmla="*/ 726401 h 23"/>
                  <a:gd name="T8" fmla="*/ 2305423 w 42"/>
                  <a:gd name="T9" fmla="*/ 1214194 h 23"/>
                  <a:gd name="T10" fmla="*/ 3172390 w 42"/>
                  <a:gd name="T11" fmla="*/ 1764470 h 23"/>
                  <a:gd name="T12" fmla="*/ 3324372 w 42"/>
                  <a:gd name="T13" fmla="*/ 2125679 h 23"/>
                  <a:gd name="T14" fmla="*/ 3098477 w 42"/>
                  <a:gd name="T15" fmla="*/ 2125679 h 23"/>
                  <a:gd name="T16" fmla="*/ 2941723 w 42"/>
                  <a:gd name="T17" fmla="*/ 2125679 h 23"/>
                  <a:gd name="T18" fmla="*/ 1836190 w 42"/>
                  <a:gd name="T19" fmla="*/ 1860282 h 23"/>
                  <a:gd name="T20" fmla="*/ 774546 w 42"/>
                  <a:gd name="T21" fmla="*/ 910351 h 23"/>
                  <a:gd name="T22" fmla="*/ 230868 w 42"/>
                  <a:gd name="T23" fmla="*/ 355473 h 23"/>
                  <a:gd name="T24" fmla="*/ 152008 w 42"/>
                  <a:gd name="T25" fmla="*/ 85127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2" h="23">
                    <a:moveTo>
                      <a:pt x="2" y="1"/>
                    </a:moveTo>
                    <a:cubicBezTo>
                      <a:pt x="4" y="0"/>
                      <a:pt x="6" y="0"/>
                      <a:pt x="7" y="1"/>
                    </a:cubicBezTo>
                    <a:cubicBezTo>
                      <a:pt x="8" y="2"/>
                      <a:pt x="12" y="5"/>
                      <a:pt x="14" y="5"/>
                    </a:cubicBezTo>
                    <a:cubicBezTo>
                      <a:pt x="16" y="6"/>
                      <a:pt x="19" y="7"/>
                      <a:pt x="21" y="8"/>
                    </a:cubicBezTo>
                    <a:cubicBezTo>
                      <a:pt x="24" y="9"/>
                      <a:pt x="26" y="11"/>
                      <a:pt x="29" y="13"/>
                    </a:cubicBezTo>
                    <a:cubicBezTo>
                      <a:pt x="31" y="16"/>
                      <a:pt x="38" y="18"/>
                      <a:pt x="40" y="19"/>
                    </a:cubicBezTo>
                    <a:cubicBezTo>
                      <a:pt x="42" y="20"/>
                      <a:pt x="42" y="23"/>
                      <a:pt x="42" y="23"/>
                    </a:cubicBezTo>
                    <a:cubicBezTo>
                      <a:pt x="41" y="23"/>
                      <a:pt x="40" y="23"/>
                      <a:pt x="39" y="23"/>
                    </a:cubicBezTo>
                    <a:cubicBezTo>
                      <a:pt x="38" y="23"/>
                      <a:pt x="37" y="23"/>
                      <a:pt x="37" y="23"/>
                    </a:cubicBezTo>
                    <a:cubicBezTo>
                      <a:pt x="35" y="23"/>
                      <a:pt x="26" y="21"/>
                      <a:pt x="23" y="20"/>
                    </a:cubicBezTo>
                    <a:cubicBezTo>
                      <a:pt x="20" y="19"/>
                      <a:pt x="12" y="12"/>
                      <a:pt x="10" y="10"/>
                    </a:cubicBezTo>
                    <a:cubicBezTo>
                      <a:pt x="9" y="8"/>
                      <a:pt x="4" y="6"/>
                      <a:pt x="3" y="4"/>
                    </a:cubicBezTo>
                    <a:cubicBezTo>
                      <a:pt x="2" y="2"/>
                      <a:pt x="0" y="2"/>
                      <a:pt x="2" y="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6" name="Freeform 255"/>
              <p:cNvSpPr>
                <a:spLocks/>
              </p:cNvSpPr>
              <p:nvPr/>
            </p:nvSpPr>
            <p:spPr bwMode="auto">
              <a:xfrm>
                <a:off x="657" y="1635"/>
                <a:ext cx="40" cy="51"/>
              </a:xfrm>
              <a:custGeom>
                <a:avLst/>
                <a:gdLst>
                  <a:gd name="T0" fmla="*/ 655360 w 20"/>
                  <a:gd name="T1" fmla="*/ 1619091 h 25"/>
                  <a:gd name="T2" fmla="*/ 65536 w 20"/>
                  <a:gd name="T3" fmla="*/ 624160 h 25"/>
                  <a:gd name="T4" fmla="*/ 0 w 20"/>
                  <a:gd name="T5" fmla="*/ 170675 h 25"/>
                  <a:gd name="T6" fmla="*/ 65536 w 20"/>
                  <a:gd name="T7" fmla="*/ 0 h 25"/>
                  <a:gd name="T8" fmla="*/ 720896 w 20"/>
                  <a:gd name="T9" fmla="*/ 0 h 25"/>
                  <a:gd name="T10" fmla="*/ 655360 w 20"/>
                  <a:gd name="T11" fmla="*/ 435487 h 25"/>
                  <a:gd name="T12" fmla="*/ 851968 w 20"/>
                  <a:gd name="T13" fmla="*/ 1059639 h 25"/>
                  <a:gd name="T14" fmla="*/ 1048576 w 20"/>
                  <a:gd name="T15" fmla="*/ 1537766 h 25"/>
                  <a:gd name="T16" fmla="*/ 1245184 w 20"/>
                  <a:gd name="T17" fmla="*/ 1993423 h 25"/>
                  <a:gd name="T18" fmla="*/ 1245184 w 20"/>
                  <a:gd name="T19" fmla="*/ 2161664 h 25"/>
                  <a:gd name="T20" fmla="*/ 655360 w 20"/>
                  <a:gd name="T21" fmla="*/ 1619091 h 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5">
                    <a:moveTo>
                      <a:pt x="10" y="18"/>
                    </a:moveTo>
                    <a:cubicBezTo>
                      <a:pt x="7" y="16"/>
                      <a:pt x="1" y="9"/>
                      <a:pt x="1" y="7"/>
                    </a:cubicBezTo>
                    <a:cubicBezTo>
                      <a:pt x="0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0" y="0"/>
                      <a:pt x="11" y="0"/>
                    </a:cubicBezTo>
                    <a:cubicBezTo>
                      <a:pt x="11" y="1"/>
                      <a:pt x="10" y="3"/>
                      <a:pt x="10" y="5"/>
                    </a:cubicBezTo>
                    <a:cubicBezTo>
                      <a:pt x="10" y="8"/>
                      <a:pt x="12" y="11"/>
                      <a:pt x="13" y="12"/>
                    </a:cubicBezTo>
                    <a:cubicBezTo>
                      <a:pt x="14" y="14"/>
                      <a:pt x="15" y="16"/>
                      <a:pt x="16" y="17"/>
                    </a:cubicBezTo>
                    <a:cubicBezTo>
                      <a:pt x="17" y="18"/>
                      <a:pt x="19" y="22"/>
                      <a:pt x="19" y="22"/>
                    </a:cubicBezTo>
                    <a:cubicBezTo>
                      <a:pt x="20" y="23"/>
                      <a:pt x="19" y="24"/>
                      <a:pt x="19" y="24"/>
                    </a:cubicBezTo>
                    <a:cubicBezTo>
                      <a:pt x="18" y="25"/>
                      <a:pt x="12" y="21"/>
                      <a:pt x="10" y="1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7" name="Freeform 256"/>
              <p:cNvSpPr>
                <a:spLocks/>
              </p:cNvSpPr>
              <p:nvPr/>
            </p:nvSpPr>
            <p:spPr bwMode="auto">
              <a:xfrm>
                <a:off x="535" y="1127"/>
                <a:ext cx="1324" cy="743"/>
              </a:xfrm>
              <a:custGeom>
                <a:avLst/>
                <a:gdLst>
                  <a:gd name="T0" fmla="*/ 3417942 w 654"/>
                  <a:gd name="T1" fmla="*/ 6219681 h 367"/>
                  <a:gd name="T2" fmla="*/ 6837915 w 654"/>
                  <a:gd name="T3" fmla="*/ 4377126 h 367"/>
                  <a:gd name="T4" fmla="*/ 7790865 w 654"/>
                  <a:gd name="T5" fmla="*/ 4057764 h 367"/>
                  <a:gd name="T6" fmla="*/ 10742596 w 654"/>
                  <a:gd name="T7" fmla="*/ 5499267 h 367"/>
                  <a:gd name="T8" fmla="*/ 15303567 w 654"/>
                  <a:gd name="T9" fmla="*/ 5903726 h 367"/>
                  <a:gd name="T10" fmla="*/ 18468709 w 654"/>
                  <a:gd name="T11" fmla="*/ 6996726 h 367"/>
                  <a:gd name="T12" fmla="*/ 21192974 w 654"/>
                  <a:gd name="T13" fmla="*/ 6144406 h 367"/>
                  <a:gd name="T14" fmla="*/ 24839463 w 654"/>
                  <a:gd name="T15" fmla="*/ 7074666 h 367"/>
                  <a:gd name="T16" fmla="*/ 25559782 w 654"/>
                  <a:gd name="T17" fmla="*/ 6062613 h 367"/>
                  <a:gd name="T18" fmla="*/ 27451581 w 654"/>
                  <a:gd name="T19" fmla="*/ 5751324 h 367"/>
                  <a:gd name="T20" fmla="*/ 27947338 w 654"/>
                  <a:gd name="T21" fmla="*/ 7643526 h 367"/>
                  <a:gd name="T22" fmla="*/ 28516267 w 654"/>
                  <a:gd name="T23" fmla="*/ 6144406 h 367"/>
                  <a:gd name="T24" fmla="*/ 27133394 w 654"/>
                  <a:gd name="T25" fmla="*/ 4608531 h 367"/>
                  <a:gd name="T26" fmla="*/ 27526416 w 654"/>
                  <a:gd name="T27" fmla="*/ 2957871 h 367"/>
                  <a:gd name="T28" fmla="*/ 27872646 w 654"/>
                  <a:gd name="T29" fmla="*/ 383809 h 367"/>
                  <a:gd name="T30" fmla="*/ 30319144 w 654"/>
                  <a:gd name="T31" fmla="*/ 1028334 h 367"/>
                  <a:gd name="T32" fmla="*/ 29213643 w 654"/>
                  <a:gd name="T33" fmla="*/ 3184808 h 367"/>
                  <a:gd name="T34" fmla="*/ 30792025 w 654"/>
                  <a:gd name="T35" fmla="*/ 5348612 h 367"/>
                  <a:gd name="T36" fmla="*/ 32403416 w 654"/>
                  <a:gd name="T37" fmla="*/ 6681512 h 367"/>
                  <a:gd name="T38" fmla="*/ 34128416 w 654"/>
                  <a:gd name="T39" fmla="*/ 6219681 h 367"/>
                  <a:gd name="T40" fmla="*/ 36306882 w 654"/>
                  <a:gd name="T41" fmla="*/ 5751324 h 367"/>
                  <a:gd name="T42" fmla="*/ 35195856 w 654"/>
                  <a:gd name="T43" fmla="*/ 8610963 h 367"/>
                  <a:gd name="T44" fmla="*/ 33118965 w 654"/>
                  <a:gd name="T45" fmla="*/ 9330078 h 367"/>
                  <a:gd name="T46" fmla="*/ 32863370 w 654"/>
                  <a:gd name="T47" fmla="*/ 9791805 h 367"/>
                  <a:gd name="T48" fmla="*/ 30319144 w 654"/>
                  <a:gd name="T49" fmla="*/ 11401861 h 367"/>
                  <a:gd name="T50" fmla="*/ 28105133 w 654"/>
                  <a:gd name="T51" fmla="*/ 15474495 h 367"/>
                  <a:gd name="T52" fmla="*/ 30867240 w 654"/>
                  <a:gd name="T53" fmla="*/ 17275282 h 367"/>
                  <a:gd name="T54" fmla="*/ 35815779 w 654"/>
                  <a:gd name="T55" fmla="*/ 20619586 h 367"/>
                  <a:gd name="T56" fmla="*/ 37313865 w 654"/>
                  <a:gd name="T57" fmla="*/ 19273444 h 367"/>
                  <a:gd name="T58" fmla="*/ 38541000 w 654"/>
                  <a:gd name="T59" fmla="*/ 15137993 h 367"/>
                  <a:gd name="T60" fmla="*/ 38541000 w 654"/>
                  <a:gd name="T61" fmla="*/ 12364129 h 367"/>
                  <a:gd name="T62" fmla="*/ 43454407 w 654"/>
                  <a:gd name="T63" fmla="*/ 13446725 h 367"/>
                  <a:gd name="T64" fmla="*/ 44290665 w 654"/>
                  <a:gd name="T65" fmla="*/ 15701305 h 367"/>
                  <a:gd name="T66" fmla="*/ 45938684 w 654"/>
                  <a:gd name="T67" fmla="*/ 14830231 h 367"/>
                  <a:gd name="T68" fmla="*/ 48010888 w 654"/>
                  <a:gd name="T69" fmla="*/ 16327083 h 367"/>
                  <a:gd name="T70" fmla="*/ 50967483 w 654"/>
                  <a:gd name="T71" fmla="*/ 19195800 h 367"/>
                  <a:gd name="T72" fmla="*/ 48876786 w 654"/>
                  <a:gd name="T73" fmla="*/ 20619586 h 367"/>
                  <a:gd name="T74" fmla="*/ 51896370 w 654"/>
                  <a:gd name="T75" fmla="*/ 20384699 h 367"/>
                  <a:gd name="T76" fmla="*/ 48326265 w 654"/>
                  <a:gd name="T77" fmla="*/ 23083332 h 367"/>
                  <a:gd name="T78" fmla="*/ 46322505 w 654"/>
                  <a:gd name="T79" fmla="*/ 24544120 h 367"/>
                  <a:gd name="T80" fmla="*/ 46322505 w 654"/>
                  <a:gd name="T81" fmla="*/ 25184040 h 367"/>
                  <a:gd name="T82" fmla="*/ 49124141 w 654"/>
                  <a:gd name="T83" fmla="*/ 25961070 h 367"/>
                  <a:gd name="T84" fmla="*/ 45938684 w 654"/>
                  <a:gd name="T85" fmla="*/ 28293355 h 367"/>
                  <a:gd name="T86" fmla="*/ 46322505 w 654"/>
                  <a:gd name="T87" fmla="*/ 26521095 h 367"/>
                  <a:gd name="T88" fmla="*/ 42986014 w 654"/>
                  <a:gd name="T89" fmla="*/ 26521095 h 367"/>
                  <a:gd name="T90" fmla="*/ 38222115 w 654"/>
                  <a:gd name="T91" fmla="*/ 27728813 h 367"/>
                  <a:gd name="T92" fmla="*/ 35511293 w 654"/>
                  <a:gd name="T93" fmla="*/ 29228336 h 367"/>
                  <a:gd name="T94" fmla="*/ 37005608 w 654"/>
                  <a:gd name="T95" fmla="*/ 27460458 h 367"/>
                  <a:gd name="T96" fmla="*/ 34399036 w 654"/>
                  <a:gd name="T97" fmla="*/ 25886250 h 367"/>
                  <a:gd name="T98" fmla="*/ 31930531 w 654"/>
                  <a:gd name="T99" fmla="*/ 24113891 h 367"/>
                  <a:gd name="T100" fmla="*/ 28742949 w 654"/>
                  <a:gd name="T101" fmla="*/ 24387131 h 367"/>
                  <a:gd name="T102" fmla="*/ 11284031 w 654"/>
                  <a:gd name="T103" fmla="*/ 23881368 h 367"/>
                  <a:gd name="T104" fmla="*/ 8289898 w 654"/>
                  <a:gd name="T105" fmla="*/ 22230791 h 367"/>
                  <a:gd name="T106" fmla="*/ 6444341 w 654"/>
                  <a:gd name="T107" fmla="*/ 19823736 h 367"/>
                  <a:gd name="T108" fmla="*/ 5573834 w 654"/>
                  <a:gd name="T109" fmla="*/ 18661595 h 367"/>
                  <a:gd name="T110" fmla="*/ 3733982 w 654"/>
                  <a:gd name="T111" fmla="*/ 15385362 h 367"/>
                  <a:gd name="T112" fmla="*/ 1341016 w 654"/>
                  <a:gd name="T113" fmla="*/ 14548762 h 36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654" h="367">
                    <a:moveTo>
                      <a:pt x="1" y="175"/>
                    </a:moveTo>
                    <a:cubicBezTo>
                      <a:pt x="0" y="63"/>
                      <a:pt x="0" y="63"/>
                      <a:pt x="0" y="63"/>
                    </a:cubicBezTo>
                    <a:cubicBezTo>
                      <a:pt x="4" y="65"/>
                      <a:pt x="7" y="66"/>
                      <a:pt x="8" y="66"/>
                    </a:cubicBezTo>
                    <a:cubicBezTo>
                      <a:pt x="11" y="66"/>
                      <a:pt x="16" y="67"/>
                      <a:pt x="20" y="69"/>
                    </a:cubicBezTo>
                    <a:cubicBezTo>
                      <a:pt x="25" y="72"/>
                      <a:pt x="28" y="74"/>
                      <a:pt x="33" y="76"/>
                    </a:cubicBezTo>
                    <a:cubicBezTo>
                      <a:pt x="37" y="78"/>
                      <a:pt x="41" y="78"/>
                      <a:pt x="43" y="78"/>
                    </a:cubicBezTo>
                    <a:cubicBezTo>
                      <a:pt x="45" y="78"/>
                      <a:pt x="41" y="74"/>
                      <a:pt x="39" y="73"/>
                    </a:cubicBezTo>
                    <a:cubicBezTo>
                      <a:pt x="38" y="72"/>
                      <a:pt x="38" y="69"/>
                      <a:pt x="41" y="68"/>
                    </a:cubicBezTo>
                    <a:cubicBezTo>
                      <a:pt x="43" y="68"/>
                      <a:pt x="49" y="65"/>
                      <a:pt x="51" y="65"/>
                    </a:cubicBezTo>
                    <a:cubicBezTo>
                      <a:pt x="53" y="66"/>
                      <a:pt x="60" y="67"/>
                      <a:pt x="62" y="67"/>
                    </a:cubicBezTo>
                    <a:cubicBezTo>
                      <a:pt x="64" y="67"/>
                      <a:pt x="73" y="60"/>
                      <a:pt x="75" y="59"/>
                    </a:cubicBezTo>
                    <a:cubicBezTo>
                      <a:pt x="76" y="58"/>
                      <a:pt x="84" y="54"/>
                      <a:pt x="86" y="55"/>
                    </a:cubicBezTo>
                    <a:cubicBezTo>
                      <a:pt x="87" y="55"/>
                      <a:pt x="89" y="57"/>
                      <a:pt x="89" y="58"/>
                    </a:cubicBezTo>
                    <a:cubicBezTo>
                      <a:pt x="89" y="60"/>
                      <a:pt x="82" y="62"/>
                      <a:pt x="82" y="63"/>
                    </a:cubicBezTo>
                    <a:cubicBezTo>
                      <a:pt x="81" y="64"/>
                      <a:pt x="82" y="66"/>
                      <a:pt x="84" y="66"/>
                    </a:cubicBezTo>
                    <a:cubicBezTo>
                      <a:pt x="85" y="65"/>
                      <a:pt x="94" y="63"/>
                      <a:pt x="96" y="62"/>
                    </a:cubicBezTo>
                    <a:cubicBezTo>
                      <a:pt x="98" y="61"/>
                      <a:pt x="98" y="58"/>
                      <a:pt x="98" y="57"/>
                    </a:cubicBezTo>
                    <a:cubicBezTo>
                      <a:pt x="98" y="55"/>
                      <a:pt x="96" y="52"/>
                      <a:pt x="98" y="51"/>
                    </a:cubicBezTo>
                    <a:cubicBezTo>
                      <a:pt x="100" y="51"/>
                      <a:pt x="104" y="54"/>
                      <a:pt x="106" y="57"/>
                    </a:cubicBezTo>
                    <a:cubicBezTo>
                      <a:pt x="109" y="59"/>
                      <a:pt x="114" y="66"/>
                      <a:pt x="116" y="67"/>
                    </a:cubicBezTo>
                    <a:cubicBezTo>
                      <a:pt x="118" y="68"/>
                      <a:pt x="119" y="60"/>
                      <a:pt x="120" y="60"/>
                    </a:cubicBezTo>
                    <a:cubicBezTo>
                      <a:pt x="121" y="59"/>
                      <a:pt x="127" y="57"/>
                      <a:pt x="128" y="59"/>
                    </a:cubicBezTo>
                    <a:cubicBezTo>
                      <a:pt x="128" y="61"/>
                      <a:pt x="125" y="68"/>
                      <a:pt x="127" y="69"/>
                    </a:cubicBezTo>
                    <a:cubicBezTo>
                      <a:pt x="128" y="71"/>
                      <a:pt x="132" y="69"/>
                      <a:pt x="135" y="69"/>
                    </a:cubicBezTo>
                    <a:cubicBezTo>
                      <a:pt x="137" y="69"/>
                      <a:pt x="137" y="63"/>
                      <a:pt x="138" y="63"/>
                    </a:cubicBezTo>
                    <a:cubicBezTo>
                      <a:pt x="139" y="63"/>
                      <a:pt x="144" y="62"/>
                      <a:pt x="147" y="62"/>
                    </a:cubicBezTo>
                    <a:cubicBezTo>
                      <a:pt x="150" y="63"/>
                      <a:pt x="153" y="64"/>
                      <a:pt x="156" y="66"/>
                    </a:cubicBezTo>
                    <a:cubicBezTo>
                      <a:pt x="160" y="68"/>
                      <a:pt x="172" y="72"/>
                      <a:pt x="175" y="73"/>
                    </a:cubicBezTo>
                    <a:cubicBezTo>
                      <a:pt x="178" y="74"/>
                      <a:pt x="185" y="75"/>
                      <a:pt x="187" y="76"/>
                    </a:cubicBezTo>
                    <a:cubicBezTo>
                      <a:pt x="189" y="77"/>
                      <a:pt x="190" y="74"/>
                      <a:pt x="192" y="74"/>
                    </a:cubicBezTo>
                    <a:cubicBezTo>
                      <a:pt x="194" y="75"/>
                      <a:pt x="202" y="77"/>
                      <a:pt x="204" y="78"/>
                    </a:cubicBezTo>
                    <a:cubicBezTo>
                      <a:pt x="206" y="79"/>
                      <a:pt x="208" y="83"/>
                      <a:pt x="207" y="83"/>
                    </a:cubicBezTo>
                    <a:cubicBezTo>
                      <a:pt x="206" y="84"/>
                      <a:pt x="200" y="84"/>
                      <a:pt x="198" y="84"/>
                    </a:cubicBezTo>
                    <a:cubicBezTo>
                      <a:pt x="197" y="84"/>
                      <a:pt x="196" y="88"/>
                      <a:pt x="197" y="89"/>
                    </a:cubicBezTo>
                    <a:cubicBezTo>
                      <a:pt x="198" y="89"/>
                      <a:pt x="210" y="90"/>
                      <a:pt x="212" y="90"/>
                    </a:cubicBezTo>
                    <a:cubicBezTo>
                      <a:pt x="214" y="90"/>
                      <a:pt x="230" y="88"/>
                      <a:pt x="232" y="88"/>
                    </a:cubicBezTo>
                    <a:cubicBezTo>
                      <a:pt x="236" y="88"/>
                      <a:pt x="238" y="87"/>
                      <a:pt x="240" y="87"/>
                    </a:cubicBezTo>
                    <a:cubicBezTo>
                      <a:pt x="244" y="88"/>
                      <a:pt x="250" y="105"/>
                      <a:pt x="256" y="105"/>
                    </a:cubicBezTo>
                    <a:cubicBezTo>
                      <a:pt x="256" y="105"/>
                      <a:pt x="257" y="102"/>
                      <a:pt x="256" y="99"/>
                    </a:cubicBezTo>
                    <a:cubicBezTo>
                      <a:pt x="251" y="88"/>
                      <a:pt x="260" y="88"/>
                      <a:pt x="258" y="85"/>
                    </a:cubicBezTo>
                    <a:cubicBezTo>
                      <a:pt x="256" y="84"/>
                      <a:pt x="249" y="85"/>
                      <a:pt x="249" y="84"/>
                    </a:cubicBezTo>
                    <a:cubicBezTo>
                      <a:pt x="251" y="78"/>
                      <a:pt x="264" y="77"/>
                      <a:pt x="266" y="77"/>
                    </a:cubicBezTo>
                    <a:cubicBezTo>
                      <a:pt x="269" y="77"/>
                      <a:pt x="272" y="78"/>
                      <a:pt x="273" y="79"/>
                    </a:cubicBezTo>
                    <a:cubicBezTo>
                      <a:pt x="275" y="81"/>
                      <a:pt x="278" y="84"/>
                      <a:pt x="280" y="85"/>
                    </a:cubicBezTo>
                    <a:cubicBezTo>
                      <a:pt x="282" y="87"/>
                      <a:pt x="286" y="85"/>
                      <a:pt x="289" y="85"/>
                    </a:cubicBezTo>
                    <a:cubicBezTo>
                      <a:pt x="291" y="85"/>
                      <a:pt x="292" y="88"/>
                      <a:pt x="294" y="89"/>
                    </a:cubicBezTo>
                    <a:cubicBezTo>
                      <a:pt x="297" y="91"/>
                      <a:pt x="300" y="91"/>
                      <a:pt x="302" y="91"/>
                    </a:cubicBezTo>
                    <a:cubicBezTo>
                      <a:pt x="305" y="91"/>
                      <a:pt x="310" y="89"/>
                      <a:pt x="312" y="89"/>
                    </a:cubicBezTo>
                    <a:cubicBezTo>
                      <a:pt x="314" y="89"/>
                      <a:pt x="316" y="90"/>
                      <a:pt x="318" y="91"/>
                    </a:cubicBezTo>
                    <a:cubicBezTo>
                      <a:pt x="320" y="92"/>
                      <a:pt x="324" y="91"/>
                      <a:pt x="326" y="90"/>
                    </a:cubicBezTo>
                    <a:cubicBezTo>
                      <a:pt x="327" y="88"/>
                      <a:pt x="322" y="86"/>
                      <a:pt x="323" y="85"/>
                    </a:cubicBezTo>
                    <a:cubicBezTo>
                      <a:pt x="323" y="84"/>
                      <a:pt x="322" y="82"/>
                      <a:pt x="324" y="82"/>
                    </a:cubicBezTo>
                    <a:cubicBezTo>
                      <a:pt x="326" y="82"/>
                      <a:pt x="329" y="80"/>
                      <a:pt x="329" y="78"/>
                    </a:cubicBezTo>
                    <a:cubicBezTo>
                      <a:pt x="329" y="77"/>
                      <a:pt x="324" y="76"/>
                      <a:pt x="321" y="76"/>
                    </a:cubicBezTo>
                    <a:cubicBezTo>
                      <a:pt x="318" y="76"/>
                      <a:pt x="317" y="73"/>
                      <a:pt x="318" y="72"/>
                    </a:cubicBezTo>
                    <a:cubicBezTo>
                      <a:pt x="320" y="71"/>
                      <a:pt x="325" y="69"/>
                      <a:pt x="326" y="68"/>
                    </a:cubicBezTo>
                    <a:cubicBezTo>
                      <a:pt x="327" y="68"/>
                      <a:pt x="328" y="61"/>
                      <a:pt x="329" y="61"/>
                    </a:cubicBezTo>
                    <a:cubicBezTo>
                      <a:pt x="331" y="62"/>
                      <a:pt x="335" y="65"/>
                      <a:pt x="336" y="66"/>
                    </a:cubicBezTo>
                    <a:cubicBezTo>
                      <a:pt x="338" y="67"/>
                      <a:pt x="340" y="68"/>
                      <a:pt x="342" y="68"/>
                    </a:cubicBezTo>
                    <a:cubicBezTo>
                      <a:pt x="344" y="68"/>
                      <a:pt x="345" y="71"/>
                      <a:pt x="345" y="72"/>
                    </a:cubicBezTo>
                    <a:cubicBezTo>
                      <a:pt x="346" y="74"/>
                      <a:pt x="347" y="77"/>
                      <a:pt x="347" y="77"/>
                    </a:cubicBezTo>
                    <a:cubicBezTo>
                      <a:pt x="346" y="78"/>
                      <a:pt x="338" y="78"/>
                      <a:pt x="337" y="78"/>
                    </a:cubicBezTo>
                    <a:cubicBezTo>
                      <a:pt x="335" y="78"/>
                      <a:pt x="334" y="80"/>
                      <a:pt x="335" y="81"/>
                    </a:cubicBezTo>
                    <a:cubicBezTo>
                      <a:pt x="336" y="82"/>
                      <a:pt x="344" y="83"/>
                      <a:pt x="343" y="84"/>
                    </a:cubicBezTo>
                    <a:cubicBezTo>
                      <a:pt x="343" y="85"/>
                      <a:pt x="340" y="92"/>
                      <a:pt x="341" y="94"/>
                    </a:cubicBezTo>
                    <a:cubicBezTo>
                      <a:pt x="342" y="95"/>
                      <a:pt x="351" y="97"/>
                      <a:pt x="351" y="96"/>
                    </a:cubicBezTo>
                    <a:cubicBezTo>
                      <a:pt x="351" y="94"/>
                      <a:pt x="348" y="91"/>
                      <a:pt x="348" y="90"/>
                    </a:cubicBezTo>
                    <a:cubicBezTo>
                      <a:pt x="348" y="88"/>
                      <a:pt x="349" y="87"/>
                      <a:pt x="350" y="86"/>
                    </a:cubicBezTo>
                    <a:cubicBezTo>
                      <a:pt x="350" y="85"/>
                      <a:pt x="354" y="86"/>
                      <a:pt x="356" y="86"/>
                    </a:cubicBezTo>
                    <a:cubicBezTo>
                      <a:pt x="357" y="85"/>
                      <a:pt x="362" y="83"/>
                      <a:pt x="362" y="81"/>
                    </a:cubicBezTo>
                    <a:cubicBezTo>
                      <a:pt x="362" y="80"/>
                      <a:pt x="363" y="78"/>
                      <a:pt x="363" y="77"/>
                    </a:cubicBezTo>
                    <a:cubicBezTo>
                      <a:pt x="362" y="76"/>
                      <a:pt x="359" y="77"/>
                      <a:pt x="358" y="77"/>
                    </a:cubicBezTo>
                    <a:cubicBezTo>
                      <a:pt x="357" y="77"/>
                      <a:pt x="358" y="75"/>
                      <a:pt x="358" y="73"/>
                    </a:cubicBezTo>
                    <a:cubicBezTo>
                      <a:pt x="359" y="72"/>
                      <a:pt x="363" y="70"/>
                      <a:pt x="363" y="69"/>
                    </a:cubicBezTo>
                    <a:cubicBezTo>
                      <a:pt x="363" y="68"/>
                      <a:pt x="361" y="67"/>
                      <a:pt x="359" y="67"/>
                    </a:cubicBezTo>
                    <a:cubicBezTo>
                      <a:pt x="358" y="67"/>
                      <a:pt x="356" y="64"/>
                      <a:pt x="355" y="64"/>
                    </a:cubicBezTo>
                    <a:cubicBezTo>
                      <a:pt x="354" y="64"/>
                      <a:pt x="349" y="63"/>
                      <a:pt x="347" y="63"/>
                    </a:cubicBezTo>
                    <a:cubicBezTo>
                      <a:pt x="345" y="63"/>
                      <a:pt x="342" y="60"/>
                      <a:pt x="341" y="58"/>
                    </a:cubicBezTo>
                    <a:cubicBezTo>
                      <a:pt x="339" y="57"/>
                      <a:pt x="342" y="54"/>
                      <a:pt x="343" y="53"/>
                    </a:cubicBezTo>
                    <a:cubicBezTo>
                      <a:pt x="344" y="52"/>
                      <a:pt x="342" y="51"/>
                      <a:pt x="341" y="50"/>
                    </a:cubicBezTo>
                    <a:cubicBezTo>
                      <a:pt x="340" y="49"/>
                      <a:pt x="341" y="45"/>
                      <a:pt x="342" y="43"/>
                    </a:cubicBezTo>
                    <a:cubicBezTo>
                      <a:pt x="342" y="41"/>
                      <a:pt x="346" y="44"/>
                      <a:pt x="347" y="43"/>
                    </a:cubicBezTo>
                    <a:cubicBezTo>
                      <a:pt x="347" y="43"/>
                      <a:pt x="347" y="41"/>
                      <a:pt x="348" y="41"/>
                    </a:cubicBezTo>
                    <a:cubicBezTo>
                      <a:pt x="349" y="40"/>
                      <a:pt x="344" y="39"/>
                      <a:pt x="346" y="37"/>
                    </a:cubicBezTo>
                    <a:cubicBezTo>
                      <a:pt x="348" y="35"/>
                      <a:pt x="350" y="28"/>
                      <a:pt x="350" y="25"/>
                    </a:cubicBezTo>
                    <a:cubicBezTo>
                      <a:pt x="350" y="23"/>
                      <a:pt x="348" y="21"/>
                      <a:pt x="347" y="21"/>
                    </a:cubicBezTo>
                    <a:cubicBezTo>
                      <a:pt x="345" y="20"/>
                      <a:pt x="347" y="17"/>
                      <a:pt x="347" y="16"/>
                    </a:cubicBezTo>
                    <a:cubicBezTo>
                      <a:pt x="348" y="15"/>
                      <a:pt x="347" y="12"/>
                      <a:pt x="347" y="10"/>
                    </a:cubicBezTo>
                    <a:cubicBezTo>
                      <a:pt x="347" y="8"/>
                      <a:pt x="351" y="10"/>
                      <a:pt x="353" y="9"/>
                    </a:cubicBezTo>
                    <a:cubicBezTo>
                      <a:pt x="354" y="8"/>
                      <a:pt x="351" y="6"/>
                      <a:pt x="350" y="5"/>
                    </a:cubicBezTo>
                    <a:cubicBezTo>
                      <a:pt x="349" y="3"/>
                      <a:pt x="352" y="1"/>
                      <a:pt x="354" y="0"/>
                    </a:cubicBezTo>
                    <a:cubicBezTo>
                      <a:pt x="357" y="0"/>
                      <a:pt x="365" y="0"/>
                      <a:pt x="368" y="0"/>
                    </a:cubicBezTo>
                    <a:cubicBezTo>
                      <a:pt x="370" y="0"/>
                      <a:pt x="371" y="4"/>
                      <a:pt x="373" y="4"/>
                    </a:cubicBezTo>
                    <a:cubicBezTo>
                      <a:pt x="376" y="4"/>
                      <a:pt x="378" y="2"/>
                      <a:pt x="382" y="2"/>
                    </a:cubicBezTo>
                    <a:cubicBezTo>
                      <a:pt x="385" y="3"/>
                      <a:pt x="390" y="4"/>
                      <a:pt x="389" y="5"/>
                    </a:cubicBezTo>
                    <a:cubicBezTo>
                      <a:pt x="389" y="6"/>
                      <a:pt x="383" y="11"/>
                      <a:pt x="381" y="13"/>
                    </a:cubicBezTo>
                    <a:cubicBezTo>
                      <a:pt x="380" y="16"/>
                      <a:pt x="377" y="18"/>
                      <a:pt x="375" y="20"/>
                    </a:cubicBezTo>
                    <a:cubicBezTo>
                      <a:pt x="372" y="21"/>
                      <a:pt x="361" y="18"/>
                      <a:pt x="360" y="19"/>
                    </a:cubicBezTo>
                    <a:cubicBezTo>
                      <a:pt x="358" y="19"/>
                      <a:pt x="359" y="22"/>
                      <a:pt x="361" y="22"/>
                    </a:cubicBezTo>
                    <a:cubicBezTo>
                      <a:pt x="363" y="23"/>
                      <a:pt x="364" y="27"/>
                      <a:pt x="363" y="28"/>
                    </a:cubicBezTo>
                    <a:cubicBezTo>
                      <a:pt x="362" y="30"/>
                      <a:pt x="358" y="32"/>
                      <a:pt x="358" y="34"/>
                    </a:cubicBezTo>
                    <a:cubicBezTo>
                      <a:pt x="358" y="36"/>
                      <a:pt x="363" y="38"/>
                      <a:pt x="367" y="40"/>
                    </a:cubicBezTo>
                    <a:cubicBezTo>
                      <a:pt x="370" y="43"/>
                      <a:pt x="368" y="46"/>
                      <a:pt x="368" y="48"/>
                    </a:cubicBezTo>
                    <a:cubicBezTo>
                      <a:pt x="368" y="50"/>
                      <a:pt x="370" y="50"/>
                      <a:pt x="372" y="51"/>
                    </a:cubicBezTo>
                    <a:cubicBezTo>
                      <a:pt x="375" y="51"/>
                      <a:pt x="378" y="55"/>
                      <a:pt x="377" y="56"/>
                    </a:cubicBezTo>
                    <a:cubicBezTo>
                      <a:pt x="377" y="57"/>
                      <a:pt x="369" y="63"/>
                      <a:pt x="370" y="64"/>
                    </a:cubicBezTo>
                    <a:cubicBezTo>
                      <a:pt x="370" y="64"/>
                      <a:pt x="377" y="66"/>
                      <a:pt x="379" y="65"/>
                    </a:cubicBezTo>
                    <a:cubicBezTo>
                      <a:pt x="380" y="64"/>
                      <a:pt x="385" y="66"/>
                      <a:pt x="387" y="67"/>
                    </a:cubicBezTo>
                    <a:cubicBezTo>
                      <a:pt x="388" y="69"/>
                      <a:pt x="384" y="69"/>
                      <a:pt x="386" y="73"/>
                    </a:cubicBezTo>
                    <a:cubicBezTo>
                      <a:pt x="389" y="76"/>
                      <a:pt x="383" y="81"/>
                      <a:pt x="390" y="81"/>
                    </a:cubicBezTo>
                    <a:cubicBezTo>
                      <a:pt x="391" y="80"/>
                      <a:pt x="392" y="74"/>
                      <a:pt x="392" y="74"/>
                    </a:cubicBezTo>
                    <a:cubicBezTo>
                      <a:pt x="392" y="73"/>
                      <a:pt x="395" y="69"/>
                      <a:pt x="397" y="69"/>
                    </a:cubicBezTo>
                    <a:cubicBezTo>
                      <a:pt x="398" y="69"/>
                      <a:pt x="405" y="74"/>
                      <a:pt x="407" y="76"/>
                    </a:cubicBezTo>
                    <a:cubicBezTo>
                      <a:pt x="408" y="79"/>
                      <a:pt x="408" y="83"/>
                      <a:pt x="407" y="84"/>
                    </a:cubicBezTo>
                    <a:cubicBezTo>
                      <a:pt x="406" y="85"/>
                      <a:pt x="403" y="82"/>
                      <a:pt x="403" y="85"/>
                    </a:cubicBezTo>
                    <a:cubicBezTo>
                      <a:pt x="403" y="89"/>
                      <a:pt x="408" y="96"/>
                      <a:pt x="410" y="96"/>
                    </a:cubicBezTo>
                    <a:cubicBezTo>
                      <a:pt x="413" y="97"/>
                      <a:pt x="417" y="96"/>
                      <a:pt x="417" y="94"/>
                    </a:cubicBezTo>
                    <a:cubicBezTo>
                      <a:pt x="417" y="93"/>
                      <a:pt x="419" y="91"/>
                      <a:pt x="419" y="89"/>
                    </a:cubicBezTo>
                    <a:cubicBezTo>
                      <a:pt x="420" y="88"/>
                      <a:pt x="422" y="83"/>
                      <a:pt x="422" y="81"/>
                    </a:cubicBezTo>
                    <a:cubicBezTo>
                      <a:pt x="422" y="79"/>
                      <a:pt x="429" y="78"/>
                      <a:pt x="429" y="78"/>
                    </a:cubicBezTo>
                    <a:cubicBezTo>
                      <a:pt x="429" y="77"/>
                      <a:pt x="429" y="75"/>
                      <a:pt x="428" y="73"/>
                    </a:cubicBezTo>
                    <a:cubicBezTo>
                      <a:pt x="427" y="72"/>
                      <a:pt x="423" y="67"/>
                      <a:pt x="424" y="66"/>
                    </a:cubicBezTo>
                    <a:cubicBezTo>
                      <a:pt x="426" y="64"/>
                      <a:pt x="430" y="63"/>
                      <a:pt x="432" y="63"/>
                    </a:cubicBezTo>
                    <a:cubicBezTo>
                      <a:pt x="434" y="63"/>
                      <a:pt x="438" y="65"/>
                      <a:pt x="440" y="65"/>
                    </a:cubicBezTo>
                    <a:cubicBezTo>
                      <a:pt x="442" y="65"/>
                      <a:pt x="446" y="66"/>
                      <a:pt x="447" y="67"/>
                    </a:cubicBezTo>
                    <a:cubicBezTo>
                      <a:pt x="448" y="68"/>
                      <a:pt x="456" y="71"/>
                      <a:pt x="456" y="72"/>
                    </a:cubicBezTo>
                    <a:cubicBezTo>
                      <a:pt x="457" y="73"/>
                      <a:pt x="457" y="76"/>
                      <a:pt x="457" y="79"/>
                    </a:cubicBezTo>
                    <a:cubicBezTo>
                      <a:pt x="457" y="82"/>
                      <a:pt x="449" y="79"/>
                      <a:pt x="447" y="81"/>
                    </a:cubicBezTo>
                    <a:cubicBezTo>
                      <a:pt x="446" y="82"/>
                      <a:pt x="458" y="92"/>
                      <a:pt x="458" y="94"/>
                    </a:cubicBezTo>
                    <a:cubicBezTo>
                      <a:pt x="458" y="95"/>
                      <a:pt x="456" y="101"/>
                      <a:pt x="455" y="101"/>
                    </a:cubicBezTo>
                    <a:cubicBezTo>
                      <a:pt x="453" y="101"/>
                      <a:pt x="448" y="105"/>
                      <a:pt x="446" y="106"/>
                    </a:cubicBezTo>
                    <a:cubicBezTo>
                      <a:pt x="444" y="106"/>
                      <a:pt x="443" y="107"/>
                      <a:pt x="442" y="108"/>
                    </a:cubicBezTo>
                    <a:cubicBezTo>
                      <a:pt x="440" y="108"/>
                      <a:pt x="444" y="113"/>
                      <a:pt x="438" y="115"/>
                    </a:cubicBezTo>
                    <a:cubicBezTo>
                      <a:pt x="436" y="116"/>
                      <a:pt x="435" y="111"/>
                      <a:pt x="432" y="110"/>
                    </a:cubicBezTo>
                    <a:cubicBezTo>
                      <a:pt x="430" y="109"/>
                      <a:pt x="430" y="105"/>
                      <a:pt x="426" y="104"/>
                    </a:cubicBezTo>
                    <a:cubicBezTo>
                      <a:pt x="423" y="104"/>
                      <a:pt x="416" y="105"/>
                      <a:pt x="415" y="106"/>
                    </a:cubicBezTo>
                    <a:cubicBezTo>
                      <a:pt x="414" y="107"/>
                      <a:pt x="421" y="110"/>
                      <a:pt x="421" y="111"/>
                    </a:cubicBezTo>
                    <a:cubicBezTo>
                      <a:pt x="421" y="112"/>
                      <a:pt x="417" y="116"/>
                      <a:pt x="416" y="117"/>
                    </a:cubicBezTo>
                    <a:cubicBezTo>
                      <a:pt x="415" y="117"/>
                      <a:pt x="407" y="118"/>
                      <a:pt x="405" y="117"/>
                    </a:cubicBezTo>
                    <a:cubicBezTo>
                      <a:pt x="403" y="116"/>
                      <a:pt x="397" y="113"/>
                      <a:pt x="394" y="113"/>
                    </a:cubicBezTo>
                    <a:cubicBezTo>
                      <a:pt x="392" y="113"/>
                      <a:pt x="390" y="113"/>
                      <a:pt x="390" y="114"/>
                    </a:cubicBezTo>
                    <a:cubicBezTo>
                      <a:pt x="389" y="115"/>
                      <a:pt x="392" y="118"/>
                      <a:pt x="394" y="119"/>
                    </a:cubicBezTo>
                    <a:cubicBezTo>
                      <a:pt x="397" y="121"/>
                      <a:pt x="401" y="122"/>
                      <a:pt x="404" y="122"/>
                    </a:cubicBezTo>
                    <a:cubicBezTo>
                      <a:pt x="406" y="122"/>
                      <a:pt x="411" y="122"/>
                      <a:pt x="413" y="123"/>
                    </a:cubicBezTo>
                    <a:cubicBezTo>
                      <a:pt x="413" y="124"/>
                      <a:pt x="414" y="124"/>
                      <a:pt x="413" y="125"/>
                    </a:cubicBezTo>
                    <a:cubicBezTo>
                      <a:pt x="413" y="127"/>
                      <a:pt x="410" y="129"/>
                      <a:pt x="409" y="131"/>
                    </a:cubicBezTo>
                    <a:cubicBezTo>
                      <a:pt x="408" y="133"/>
                      <a:pt x="403" y="137"/>
                      <a:pt x="400" y="138"/>
                    </a:cubicBezTo>
                    <a:cubicBezTo>
                      <a:pt x="398" y="139"/>
                      <a:pt x="393" y="135"/>
                      <a:pt x="392" y="136"/>
                    </a:cubicBezTo>
                    <a:cubicBezTo>
                      <a:pt x="391" y="137"/>
                      <a:pt x="390" y="140"/>
                      <a:pt x="387" y="141"/>
                    </a:cubicBezTo>
                    <a:cubicBezTo>
                      <a:pt x="384" y="142"/>
                      <a:pt x="381" y="142"/>
                      <a:pt x="381" y="143"/>
                    </a:cubicBezTo>
                    <a:cubicBezTo>
                      <a:pt x="381" y="144"/>
                      <a:pt x="385" y="148"/>
                      <a:pt x="385" y="150"/>
                    </a:cubicBezTo>
                    <a:cubicBezTo>
                      <a:pt x="385" y="152"/>
                      <a:pt x="377" y="155"/>
                      <a:pt x="375" y="156"/>
                    </a:cubicBezTo>
                    <a:cubicBezTo>
                      <a:pt x="373" y="157"/>
                      <a:pt x="370" y="158"/>
                      <a:pt x="367" y="160"/>
                    </a:cubicBezTo>
                    <a:cubicBezTo>
                      <a:pt x="365" y="161"/>
                      <a:pt x="367" y="165"/>
                      <a:pt x="366" y="166"/>
                    </a:cubicBezTo>
                    <a:cubicBezTo>
                      <a:pt x="364" y="166"/>
                      <a:pt x="359" y="174"/>
                      <a:pt x="356" y="177"/>
                    </a:cubicBezTo>
                    <a:cubicBezTo>
                      <a:pt x="354" y="181"/>
                      <a:pt x="352" y="194"/>
                      <a:pt x="353" y="194"/>
                    </a:cubicBezTo>
                    <a:cubicBezTo>
                      <a:pt x="353" y="195"/>
                      <a:pt x="354" y="199"/>
                      <a:pt x="355" y="199"/>
                    </a:cubicBezTo>
                    <a:cubicBezTo>
                      <a:pt x="357" y="200"/>
                      <a:pt x="364" y="197"/>
                      <a:pt x="366" y="199"/>
                    </a:cubicBezTo>
                    <a:cubicBezTo>
                      <a:pt x="368" y="202"/>
                      <a:pt x="368" y="208"/>
                      <a:pt x="370" y="210"/>
                    </a:cubicBezTo>
                    <a:cubicBezTo>
                      <a:pt x="372" y="213"/>
                      <a:pt x="369" y="218"/>
                      <a:pt x="370" y="219"/>
                    </a:cubicBezTo>
                    <a:cubicBezTo>
                      <a:pt x="371" y="220"/>
                      <a:pt x="374" y="217"/>
                      <a:pt x="377" y="217"/>
                    </a:cubicBezTo>
                    <a:cubicBezTo>
                      <a:pt x="380" y="217"/>
                      <a:pt x="385" y="216"/>
                      <a:pt x="388" y="217"/>
                    </a:cubicBezTo>
                    <a:cubicBezTo>
                      <a:pt x="391" y="219"/>
                      <a:pt x="398" y="219"/>
                      <a:pt x="401" y="221"/>
                    </a:cubicBezTo>
                    <a:cubicBezTo>
                      <a:pt x="405" y="223"/>
                      <a:pt x="406" y="224"/>
                      <a:pt x="408" y="227"/>
                    </a:cubicBezTo>
                    <a:cubicBezTo>
                      <a:pt x="410" y="231"/>
                      <a:pt x="417" y="230"/>
                      <a:pt x="423" y="234"/>
                    </a:cubicBezTo>
                    <a:cubicBezTo>
                      <a:pt x="430" y="238"/>
                      <a:pt x="434" y="236"/>
                      <a:pt x="439" y="237"/>
                    </a:cubicBezTo>
                    <a:cubicBezTo>
                      <a:pt x="444" y="237"/>
                      <a:pt x="449" y="237"/>
                      <a:pt x="450" y="240"/>
                    </a:cubicBezTo>
                    <a:cubicBezTo>
                      <a:pt x="451" y="242"/>
                      <a:pt x="450" y="255"/>
                      <a:pt x="450" y="259"/>
                    </a:cubicBezTo>
                    <a:cubicBezTo>
                      <a:pt x="450" y="263"/>
                      <a:pt x="451" y="263"/>
                      <a:pt x="453" y="266"/>
                    </a:cubicBezTo>
                    <a:cubicBezTo>
                      <a:pt x="455" y="268"/>
                      <a:pt x="460" y="271"/>
                      <a:pt x="462" y="273"/>
                    </a:cubicBezTo>
                    <a:cubicBezTo>
                      <a:pt x="464" y="275"/>
                      <a:pt x="465" y="280"/>
                      <a:pt x="468" y="279"/>
                    </a:cubicBezTo>
                    <a:cubicBezTo>
                      <a:pt x="471" y="279"/>
                      <a:pt x="476" y="272"/>
                      <a:pt x="477" y="268"/>
                    </a:cubicBezTo>
                    <a:cubicBezTo>
                      <a:pt x="479" y="265"/>
                      <a:pt x="473" y="254"/>
                      <a:pt x="472" y="251"/>
                    </a:cubicBezTo>
                    <a:cubicBezTo>
                      <a:pt x="472" y="247"/>
                      <a:pt x="468" y="243"/>
                      <a:pt x="469" y="242"/>
                    </a:cubicBezTo>
                    <a:cubicBezTo>
                      <a:pt x="470" y="241"/>
                      <a:pt x="475" y="240"/>
                      <a:pt x="477" y="240"/>
                    </a:cubicBezTo>
                    <a:cubicBezTo>
                      <a:pt x="479" y="239"/>
                      <a:pt x="488" y="232"/>
                      <a:pt x="491" y="229"/>
                    </a:cubicBezTo>
                    <a:cubicBezTo>
                      <a:pt x="493" y="226"/>
                      <a:pt x="492" y="218"/>
                      <a:pt x="491" y="214"/>
                    </a:cubicBezTo>
                    <a:cubicBezTo>
                      <a:pt x="491" y="211"/>
                      <a:pt x="485" y="205"/>
                      <a:pt x="483" y="205"/>
                    </a:cubicBezTo>
                    <a:cubicBezTo>
                      <a:pt x="480" y="204"/>
                      <a:pt x="476" y="201"/>
                      <a:pt x="476" y="199"/>
                    </a:cubicBezTo>
                    <a:cubicBezTo>
                      <a:pt x="476" y="196"/>
                      <a:pt x="482" y="192"/>
                      <a:pt x="484" y="190"/>
                    </a:cubicBezTo>
                    <a:cubicBezTo>
                      <a:pt x="485" y="188"/>
                      <a:pt x="484" y="183"/>
                      <a:pt x="484" y="181"/>
                    </a:cubicBezTo>
                    <a:cubicBezTo>
                      <a:pt x="484" y="179"/>
                      <a:pt x="478" y="177"/>
                      <a:pt x="478" y="176"/>
                    </a:cubicBezTo>
                    <a:cubicBezTo>
                      <a:pt x="478" y="175"/>
                      <a:pt x="479" y="174"/>
                      <a:pt x="481" y="173"/>
                    </a:cubicBezTo>
                    <a:cubicBezTo>
                      <a:pt x="484" y="172"/>
                      <a:pt x="483" y="170"/>
                      <a:pt x="481" y="165"/>
                    </a:cubicBezTo>
                    <a:cubicBezTo>
                      <a:pt x="480" y="163"/>
                      <a:pt x="480" y="161"/>
                      <a:pt x="480" y="160"/>
                    </a:cubicBezTo>
                    <a:cubicBezTo>
                      <a:pt x="480" y="157"/>
                      <a:pt x="481" y="155"/>
                      <a:pt x="484" y="155"/>
                    </a:cubicBezTo>
                    <a:cubicBezTo>
                      <a:pt x="489" y="154"/>
                      <a:pt x="503" y="158"/>
                      <a:pt x="508" y="159"/>
                    </a:cubicBezTo>
                    <a:cubicBezTo>
                      <a:pt x="511" y="159"/>
                      <a:pt x="514" y="155"/>
                      <a:pt x="515" y="156"/>
                    </a:cubicBezTo>
                    <a:cubicBezTo>
                      <a:pt x="516" y="157"/>
                      <a:pt x="523" y="159"/>
                      <a:pt x="525" y="161"/>
                    </a:cubicBezTo>
                    <a:cubicBezTo>
                      <a:pt x="527" y="163"/>
                      <a:pt x="529" y="165"/>
                      <a:pt x="531" y="168"/>
                    </a:cubicBezTo>
                    <a:cubicBezTo>
                      <a:pt x="532" y="171"/>
                      <a:pt x="538" y="172"/>
                      <a:pt x="540" y="173"/>
                    </a:cubicBezTo>
                    <a:cubicBezTo>
                      <a:pt x="547" y="174"/>
                      <a:pt x="543" y="167"/>
                      <a:pt x="546" y="169"/>
                    </a:cubicBezTo>
                    <a:cubicBezTo>
                      <a:pt x="547" y="170"/>
                      <a:pt x="548" y="171"/>
                      <a:pt x="549" y="172"/>
                    </a:cubicBezTo>
                    <a:cubicBezTo>
                      <a:pt x="550" y="174"/>
                      <a:pt x="546" y="179"/>
                      <a:pt x="546" y="179"/>
                    </a:cubicBezTo>
                    <a:cubicBezTo>
                      <a:pt x="546" y="179"/>
                      <a:pt x="546" y="181"/>
                      <a:pt x="547" y="183"/>
                    </a:cubicBezTo>
                    <a:cubicBezTo>
                      <a:pt x="547" y="185"/>
                      <a:pt x="547" y="187"/>
                      <a:pt x="547" y="189"/>
                    </a:cubicBezTo>
                    <a:cubicBezTo>
                      <a:pt x="547" y="191"/>
                      <a:pt x="548" y="193"/>
                      <a:pt x="549" y="195"/>
                    </a:cubicBezTo>
                    <a:cubicBezTo>
                      <a:pt x="550" y="197"/>
                      <a:pt x="555" y="196"/>
                      <a:pt x="556" y="197"/>
                    </a:cubicBezTo>
                    <a:cubicBezTo>
                      <a:pt x="557" y="198"/>
                      <a:pt x="559" y="203"/>
                      <a:pt x="561" y="203"/>
                    </a:cubicBezTo>
                    <a:cubicBezTo>
                      <a:pt x="562" y="204"/>
                      <a:pt x="566" y="203"/>
                      <a:pt x="568" y="202"/>
                    </a:cubicBezTo>
                    <a:cubicBezTo>
                      <a:pt x="569" y="202"/>
                      <a:pt x="569" y="198"/>
                      <a:pt x="570" y="198"/>
                    </a:cubicBezTo>
                    <a:cubicBezTo>
                      <a:pt x="571" y="197"/>
                      <a:pt x="574" y="198"/>
                      <a:pt x="575" y="196"/>
                    </a:cubicBezTo>
                    <a:cubicBezTo>
                      <a:pt x="576" y="195"/>
                      <a:pt x="579" y="193"/>
                      <a:pt x="579" y="192"/>
                    </a:cubicBezTo>
                    <a:cubicBezTo>
                      <a:pt x="579" y="190"/>
                      <a:pt x="575" y="187"/>
                      <a:pt x="577" y="186"/>
                    </a:cubicBezTo>
                    <a:cubicBezTo>
                      <a:pt x="578" y="184"/>
                      <a:pt x="579" y="186"/>
                      <a:pt x="580" y="183"/>
                    </a:cubicBezTo>
                    <a:cubicBezTo>
                      <a:pt x="581" y="181"/>
                      <a:pt x="581" y="177"/>
                      <a:pt x="582" y="177"/>
                    </a:cubicBezTo>
                    <a:cubicBezTo>
                      <a:pt x="583" y="177"/>
                      <a:pt x="584" y="176"/>
                      <a:pt x="585" y="176"/>
                    </a:cubicBezTo>
                    <a:cubicBezTo>
                      <a:pt x="585" y="177"/>
                      <a:pt x="586" y="179"/>
                      <a:pt x="586" y="181"/>
                    </a:cubicBezTo>
                    <a:cubicBezTo>
                      <a:pt x="587" y="182"/>
                      <a:pt x="592" y="191"/>
                      <a:pt x="594" y="195"/>
                    </a:cubicBezTo>
                    <a:cubicBezTo>
                      <a:pt x="596" y="198"/>
                      <a:pt x="600" y="203"/>
                      <a:pt x="603" y="205"/>
                    </a:cubicBezTo>
                    <a:cubicBezTo>
                      <a:pt x="605" y="207"/>
                      <a:pt x="602" y="210"/>
                      <a:pt x="605" y="212"/>
                    </a:cubicBezTo>
                    <a:cubicBezTo>
                      <a:pt x="607" y="214"/>
                      <a:pt x="610" y="215"/>
                      <a:pt x="611" y="218"/>
                    </a:cubicBezTo>
                    <a:cubicBezTo>
                      <a:pt x="612" y="222"/>
                      <a:pt x="608" y="224"/>
                      <a:pt x="609" y="226"/>
                    </a:cubicBezTo>
                    <a:cubicBezTo>
                      <a:pt x="609" y="229"/>
                      <a:pt x="615" y="231"/>
                      <a:pt x="617" y="233"/>
                    </a:cubicBezTo>
                    <a:cubicBezTo>
                      <a:pt x="619" y="235"/>
                      <a:pt x="624" y="236"/>
                      <a:pt x="626" y="237"/>
                    </a:cubicBezTo>
                    <a:cubicBezTo>
                      <a:pt x="629" y="239"/>
                      <a:pt x="638" y="241"/>
                      <a:pt x="640" y="241"/>
                    </a:cubicBezTo>
                    <a:cubicBezTo>
                      <a:pt x="642" y="242"/>
                      <a:pt x="641" y="245"/>
                      <a:pt x="640" y="245"/>
                    </a:cubicBezTo>
                    <a:cubicBezTo>
                      <a:pt x="639" y="245"/>
                      <a:pt x="636" y="244"/>
                      <a:pt x="633" y="245"/>
                    </a:cubicBezTo>
                    <a:cubicBezTo>
                      <a:pt x="631" y="246"/>
                      <a:pt x="627" y="248"/>
                      <a:pt x="625" y="248"/>
                    </a:cubicBezTo>
                    <a:cubicBezTo>
                      <a:pt x="624" y="249"/>
                      <a:pt x="621" y="250"/>
                      <a:pt x="620" y="251"/>
                    </a:cubicBezTo>
                    <a:cubicBezTo>
                      <a:pt x="618" y="251"/>
                      <a:pt x="617" y="254"/>
                      <a:pt x="616" y="255"/>
                    </a:cubicBezTo>
                    <a:cubicBezTo>
                      <a:pt x="616" y="256"/>
                      <a:pt x="612" y="259"/>
                      <a:pt x="614" y="259"/>
                    </a:cubicBezTo>
                    <a:cubicBezTo>
                      <a:pt x="618" y="259"/>
                      <a:pt x="618" y="259"/>
                      <a:pt x="618" y="259"/>
                    </a:cubicBezTo>
                    <a:cubicBezTo>
                      <a:pt x="621" y="259"/>
                      <a:pt x="626" y="255"/>
                      <a:pt x="627" y="254"/>
                    </a:cubicBezTo>
                    <a:cubicBezTo>
                      <a:pt x="628" y="253"/>
                      <a:pt x="633" y="250"/>
                      <a:pt x="634" y="250"/>
                    </a:cubicBezTo>
                    <a:cubicBezTo>
                      <a:pt x="636" y="249"/>
                      <a:pt x="639" y="249"/>
                      <a:pt x="640" y="250"/>
                    </a:cubicBezTo>
                    <a:cubicBezTo>
                      <a:pt x="641" y="250"/>
                      <a:pt x="642" y="252"/>
                      <a:pt x="643" y="252"/>
                    </a:cubicBezTo>
                    <a:cubicBezTo>
                      <a:pt x="644" y="253"/>
                      <a:pt x="650" y="254"/>
                      <a:pt x="652" y="256"/>
                    </a:cubicBezTo>
                    <a:cubicBezTo>
                      <a:pt x="654" y="257"/>
                      <a:pt x="652" y="261"/>
                      <a:pt x="652" y="263"/>
                    </a:cubicBezTo>
                    <a:cubicBezTo>
                      <a:pt x="652" y="266"/>
                      <a:pt x="653" y="268"/>
                      <a:pt x="652" y="270"/>
                    </a:cubicBezTo>
                    <a:cubicBezTo>
                      <a:pt x="651" y="271"/>
                      <a:pt x="642" y="276"/>
                      <a:pt x="641" y="276"/>
                    </a:cubicBezTo>
                    <a:cubicBezTo>
                      <a:pt x="639" y="277"/>
                      <a:pt x="632" y="278"/>
                      <a:pt x="631" y="279"/>
                    </a:cubicBezTo>
                    <a:cubicBezTo>
                      <a:pt x="629" y="281"/>
                      <a:pt x="622" y="288"/>
                      <a:pt x="619" y="289"/>
                    </a:cubicBezTo>
                    <a:cubicBezTo>
                      <a:pt x="617" y="289"/>
                      <a:pt x="610" y="290"/>
                      <a:pt x="607" y="290"/>
                    </a:cubicBezTo>
                    <a:cubicBezTo>
                      <a:pt x="605" y="290"/>
                      <a:pt x="600" y="288"/>
                      <a:pt x="598" y="288"/>
                    </a:cubicBezTo>
                    <a:cubicBezTo>
                      <a:pt x="585" y="288"/>
                      <a:pt x="585" y="288"/>
                      <a:pt x="585" y="288"/>
                    </a:cubicBezTo>
                    <a:cubicBezTo>
                      <a:pt x="584" y="288"/>
                      <a:pt x="581" y="290"/>
                      <a:pt x="580" y="291"/>
                    </a:cubicBezTo>
                    <a:cubicBezTo>
                      <a:pt x="579" y="292"/>
                      <a:pt x="581" y="296"/>
                      <a:pt x="584" y="297"/>
                    </a:cubicBezTo>
                    <a:cubicBezTo>
                      <a:pt x="586" y="299"/>
                      <a:pt x="589" y="304"/>
                      <a:pt x="587" y="305"/>
                    </a:cubicBezTo>
                    <a:cubicBezTo>
                      <a:pt x="586" y="306"/>
                      <a:pt x="584" y="306"/>
                      <a:pt x="582" y="308"/>
                    </a:cubicBezTo>
                    <a:cubicBezTo>
                      <a:pt x="580" y="309"/>
                      <a:pt x="578" y="308"/>
                      <a:pt x="577" y="308"/>
                    </a:cubicBezTo>
                    <a:cubicBezTo>
                      <a:pt x="575" y="308"/>
                      <a:pt x="569" y="308"/>
                      <a:pt x="569" y="309"/>
                    </a:cubicBezTo>
                    <a:cubicBezTo>
                      <a:pt x="569" y="310"/>
                      <a:pt x="571" y="311"/>
                      <a:pt x="572" y="311"/>
                    </a:cubicBezTo>
                    <a:cubicBezTo>
                      <a:pt x="574" y="312"/>
                      <a:pt x="575" y="314"/>
                      <a:pt x="577" y="315"/>
                    </a:cubicBezTo>
                    <a:cubicBezTo>
                      <a:pt x="578" y="316"/>
                      <a:pt x="584" y="311"/>
                      <a:pt x="584" y="312"/>
                    </a:cubicBezTo>
                    <a:cubicBezTo>
                      <a:pt x="584" y="313"/>
                      <a:pt x="583" y="314"/>
                      <a:pt x="582" y="316"/>
                    </a:cubicBezTo>
                    <a:cubicBezTo>
                      <a:pt x="582" y="318"/>
                      <a:pt x="583" y="320"/>
                      <a:pt x="586" y="323"/>
                    </a:cubicBezTo>
                    <a:cubicBezTo>
                      <a:pt x="588" y="325"/>
                      <a:pt x="589" y="324"/>
                      <a:pt x="592" y="327"/>
                    </a:cubicBezTo>
                    <a:cubicBezTo>
                      <a:pt x="594" y="330"/>
                      <a:pt x="598" y="331"/>
                      <a:pt x="600" y="331"/>
                    </a:cubicBezTo>
                    <a:cubicBezTo>
                      <a:pt x="603" y="331"/>
                      <a:pt x="607" y="328"/>
                      <a:pt x="609" y="326"/>
                    </a:cubicBezTo>
                    <a:cubicBezTo>
                      <a:pt x="611" y="324"/>
                      <a:pt x="615" y="319"/>
                      <a:pt x="617" y="320"/>
                    </a:cubicBezTo>
                    <a:cubicBezTo>
                      <a:pt x="619" y="320"/>
                      <a:pt x="616" y="324"/>
                      <a:pt x="617" y="326"/>
                    </a:cubicBezTo>
                    <a:cubicBezTo>
                      <a:pt x="618" y="328"/>
                      <a:pt x="622" y="328"/>
                      <a:pt x="622" y="330"/>
                    </a:cubicBezTo>
                    <a:cubicBezTo>
                      <a:pt x="622" y="332"/>
                      <a:pt x="614" y="336"/>
                      <a:pt x="612" y="337"/>
                    </a:cubicBezTo>
                    <a:cubicBezTo>
                      <a:pt x="611" y="338"/>
                      <a:pt x="607" y="340"/>
                      <a:pt x="604" y="341"/>
                    </a:cubicBezTo>
                    <a:cubicBezTo>
                      <a:pt x="600" y="341"/>
                      <a:pt x="590" y="344"/>
                      <a:pt x="588" y="344"/>
                    </a:cubicBezTo>
                    <a:cubicBezTo>
                      <a:pt x="587" y="345"/>
                      <a:pt x="583" y="350"/>
                      <a:pt x="581" y="351"/>
                    </a:cubicBezTo>
                    <a:cubicBezTo>
                      <a:pt x="580" y="352"/>
                      <a:pt x="579" y="355"/>
                      <a:pt x="577" y="355"/>
                    </a:cubicBezTo>
                    <a:cubicBezTo>
                      <a:pt x="576" y="355"/>
                      <a:pt x="575" y="354"/>
                      <a:pt x="573" y="352"/>
                    </a:cubicBezTo>
                    <a:cubicBezTo>
                      <a:pt x="572" y="350"/>
                      <a:pt x="572" y="346"/>
                      <a:pt x="573" y="344"/>
                    </a:cubicBezTo>
                    <a:cubicBezTo>
                      <a:pt x="574" y="342"/>
                      <a:pt x="581" y="338"/>
                      <a:pt x="584" y="337"/>
                    </a:cubicBezTo>
                    <a:cubicBezTo>
                      <a:pt x="587" y="336"/>
                      <a:pt x="590" y="336"/>
                      <a:pt x="588" y="334"/>
                    </a:cubicBezTo>
                    <a:cubicBezTo>
                      <a:pt x="587" y="333"/>
                      <a:pt x="586" y="329"/>
                      <a:pt x="585" y="330"/>
                    </a:cubicBezTo>
                    <a:cubicBezTo>
                      <a:pt x="585" y="330"/>
                      <a:pt x="583" y="332"/>
                      <a:pt x="582" y="333"/>
                    </a:cubicBezTo>
                    <a:cubicBezTo>
                      <a:pt x="580" y="334"/>
                      <a:pt x="572" y="337"/>
                      <a:pt x="570" y="337"/>
                    </a:cubicBezTo>
                    <a:cubicBezTo>
                      <a:pt x="568" y="338"/>
                      <a:pt x="567" y="340"/>
                      <a:pt x="567" y="340"/>
                    </a:cubicBezTo>
                    <a:cubicBezTo>
                      <a:pt x="561" y="331"/>
                      <a:pt x="561" y="331"/>
                      <a:pt x="561" y="331"/>
                    </a:cubicBezTo>
                    <a:cubicBezTo>
                      <a:pt x="561" y="329"/>
                      <a:pt x="561" y="321"/>
                      <a:pt x="560" y="318"/>
                    </a:cubicBezTo>
                    <a:cubicBezTo>
                      <a:pt x="559" y="315"/>
                      <a:pt x="553" y="318"/>
                      <a:pt x="550" y="316"/>
                    </a:cubicBezTo>
                    <a:cubicBezTo>
                      <a:pt x="548" y="315"/>
                      <a:pt x="541" y="330"/>
                      <a:pt x="540" y="333"/>
                    </a:cubicBezTo>
                    <a:cubicBezTo>
                      <a:pt x="539" y="337"/>
                      <a:pt x="532" y="338"/>
                      <a:pt x="532" y="338"/>
                    </a:cubicBezTo>
                    <a:cubicBezTo>
                      <a:pt x="506" y="339"/>
                      <a:pt x="506" y="339"/>
                      <a:pt x="506" y="339"/>
                    </a:cubicBezTo>
                    <a:cubicBezTo>
                      <a:pt x="495" y="349"/>
                      <a:pt x="495" y="349"/>
                      <a:pt x="495" y="349"/>
                    </a:cubicBezTo>
                    <a:cubicBezTo>
                      <a:pt x="495" y="349"/>
                      <a:pt x="495" y="349"/>
                      <a:pt x="495" y="349"/>
                    </a:cubicBezTo>
                    <a:cubicBezTo>
                      <a:pt x="495" y="348"/>
                      <a:pt x="494" y="348"/>
                      <a:pt x="492" y="348"/>
                    </a:cubicBezTo>
                    <a:cubicBezTo>
                      <a:pt x="488" y="348"/>
                      <a:pt x="480" y="348"/>
                      <a:pt x="480" y="348"/>
                    </a:cubicBezTo>
                    <a:cubicBezTo>
                      <a:pt x="476" y="348"/>
                      <a:pt x="474" y="350"/>
                      <a:pt x="473" y="351"/>
                    </a:cubicBezTo>
                    <a:cubicBezTo>
                      <a:pt x="472" y="352"/>
                      <a:pt x="472" y="354"/>
                      <a:pt x="476" y="354"/>
                    </a:cubicBezTo>
                    <a:cubicBezTo>
                      <a:pt x="472" y="359"/>
                      <a:pt x="472" y="359"/>
                      <a:pt x="472" y="359"/>
                    </a:cubicBezTo>
                    <a:cubicBezTo>
                      <a:pt x="470" y="359"/>
                      <a:pt x="467" y="359"/>
                      <a:pt x="466" y="360"/>
                    </a:cubicBezTo>
                    <a:cubicBezTo>
                      <a:pt x="463" y="360"/>
                      <a:pt x="459" y="360"/>
                      <a:pt x="456" y="361"/>
                    </a:cubicBezTo>
                    <a:cubicBezTo>
                      <a:pt x="453" y="362"/>
                      <a:pt x="448" y="367"/>
                      <a:pt x="446" y="367"/>
                    </a:cubicBezTo>
                    <a:cubicBezTo>
                      <a:pt x="446" y="367"/>
                      <a:pt x="445" y="367"/>
                      <a:pt x="444" y="367"/>
                    </a:cubicBezTo>
                    <a:cubicBezTo>
                      <a:pt x="448" y="358"/>
                      <a:pt x="448" y="358"/>
                      <a:pt x="448" y="358"/>
                    </a:cubicBezTo>
                    <a:cubicBezTo>
                      <a:pt x="450" y="360"/>
                      <a:pt x="451" y="357"/>
                      <a:pt x="453" y="356"/>
                    </a:cubicBezTo>
                    <a:cubicBezTo>
                      <a:pt x="455" y="356"/>
                      <a:pt x="455" y="348"/>
                      <a:pt x="455" y="346"/>
                    </a:cubicBezTo>
                    <a:cubicBezTo>
                      <a:pt x="456" y="344"/>
                      <a:pt x="455" y="339"/>
                      <a:pt x="457" y="339"/>
                    </a:cubicBezTo>
                    <a:cubicBezTo>
                      <a:pt x="459" y="338"/>
                      <a:pt x="462" y="344"/>
                      <a:pt x="465" y="345"/>
                    </a:cubicBezTo>
                    <a:cubicBezTo>
                      <a:pt x="468" y="346"/>
                      <a:pt x="468" y="344"/>
                      <a:pt x="468" y="342"/>
                    </a:cubicBezTo>
                    <a:cubicBezTo>
                      <a:pt x="469" y="341"/>
                      <a:pt x="463" y="331"/>
                      <a:pt x="461" y="331"/>
                    </a:cubicBezTo>
                    <a:cubicBezTo>
                      <a:pt x="460" y="331"/>
                      <a:pt x="455" y="329"/>
                      <a:pt x="454" y="329"/>
                    </a:cubicBezTo>
                    <a:cubicBezTo>
                      <a:pt x="452" y="329"/>
                      <a:pt x="453" y="333"/>
                      <a:pt x="451" y="333"/>
                    </a:cubicBezTo>
                    <a:cubicBezTo>
                      <a:pt x="449" y="333"/>
                      <a:pt x="443" y="332"/>
                      <a:pt x="440" y="332"/>
                    </a:cubicBezTo>
                    <a:cubicBezTo>
                      <a:pt x="432" y="325"/>
                      <a:pt x="432" y="325"/>
                      <a:pt x="432" y="325"/>
                    </a:cubicBezTo>
                    <a:cubicBezTo>
                      <a:pt x="434" y="325"/>
                      <a:pt x="431" y="321"/>
                      <a:pt x="431" y="319"/>
                    </a:cubicBezTo>
                    <a:cubicBezTo>
                      <a:pt x="431" y="317"/>
                      <a:pt x="431" y="312"/>
                      <a:pt x="430" y="312"/>
                    </a:cubicBezTo>
                    <a:cubicBezTo>
                      <a:pt x="429" y="312"/>
                      <a:pt x="422" y="312"/>
                      <a:pt x="421" y="311"/>
                    </a:cubicBezTo>
                    <a:cubicBezTo>
                      <a:pt x="419" y="310"/>
                      <a:pt x="420" y="303"/>
                      <a:pt x="417" y="303"/>
                    </a:cubicBezTo>
                    <a:cubicBezTo>
                      <a:pt x="415" y="303"/>
                      <a:pt x="409" y="302"/>
                      <a:pt x="407" y="301"/>
                    </a:cubicBezTo>
                    <a:cubicBezTo>
                      <a:pt x="404" y="300"/>
                      <a:pt x="402" y="302"/>
                      <a:pt x="401" y="303"/>
                    </a:cubicBezTo>
                    <a:cubicBezTo>
                      <a:pt x="401" y="304"/>
                      <a:pt x="395" y="308"/>
                      <a:pt x="394" y="310"/>
                    </a:cubicBezTo>
                    <a:cubicBezTo>
                      <a:pt x="394" y="310"/>
                      <a:pt x="393" y="311"/>
                      <a:pt x="392" y="311"/>
                    </a:cubicBezTo>
                    <a:cubicBezTo>
                      <a:pt x="392" y="311"/>
                      <a:pt x="392" y="311"/>
                      <a:pt x="392" y="311"/>
                    </a:cubicBezTo>
                    <a:cubicBezTo>
                      <a:pt x="392" y="311"/>
                      <a:pt x="388" y="307"/>
                      <a:pt x="386" y="308"/>
                    </a:cubicBezTo>
                    <a:cubicBezTo>
                      <a:pt x="385" y="308"/>
                      <a:pt x="380" y="309"/>
                      <a:pt x="376" y="308"/>
                    </a:cubicBezTo>
                    <a:cubicBezTo>
                      <a:pt x="373" y="307"/>
                      <a:pt x="362" y="306"/>
                      <a:pt x="361" y="306"/>
                    </a:cubicBezTo>
                    <a:cubicBezTo>
                      <a:pt x="360" y="306"/>
                      <a:pt x="356" y="298"/>
                      <a:pt x="356" y="297"/>
                    </a:cubicBezTo>
                    <a:cubicBezTo>
                      <a:pt x="356" y="296"/>
                      <a:pt x="350" y="295"/>
                      <a:pt x="350" y="295"/>
                    </a:cubicBezTo>
                    <a:cubicBezTo>
                      <a:pt x="350" y="295"/>
                      <a:pt x="350" y="301"/>
                      <a:pt x="348" y="301"/>
                    </a:cubicBezTo>
                    <a:cubicBezTo>
                      <a:pt x="142" y="301"/>
                      <a:pt x="142" y="301"/>
                      <a:pt x="142" y="301"/>
                    </a:cubicBezTo>
                    <a:cubicBezTo>
                      <a:pt x="142" y="301"/>
                      <a:pt x="142" y="301"/>
                      <a:pt x="142" y="301"/>
                    </a:cubicBezTo>
                    <a:cubicBezTo>
                      <a:pt x="142" y="301"/>
                      <a:pt x="142" y="301"/>
                      <a:pt x="142" y="300"/>
                    </a:cubicBezTo>
                    <a:cubicBezTo>
                      <a:pt x="141" y="299"/>
                      <a:pt x="139" y="295"/>
                      <a:pt x="137" y="295"/>
                    </a:cubicBezTo>
                    <a:cubicBezTo>
                      <a:pt x="135" y="295"/>
                      <a:pt x="132" y="295"/>
                      <a:pt x="129" y="294"/>
                    </a:cubicBezTo>
                    <a:cubicBezTo>
                      <a:pt x="126" y="292"/>
                      <a:pt x="123" y="289"/>
                      <a:pt x="122" y="288"/>
                    </a:cubicBezTo>
                    <a:cubicBezTo>
                      <a:pt x="122" y="287"/>
                      <a:pt x="116" y="285"/>
                      <a:pt x="115" y="284"/>
                    </a:cubicBezTo>
                    <a:cubicBezTo>
                      <a:pt x="114" y="284"/>
                      <a:pt x="110" y="282"/>
                      <a:pt x="110" y="282"/>
                    </a:cubicBezTo>
                    <a:cubicBezTo>
                      <a:pt x="109" y="281"/>
                      <a:pt x="106" y="279"/>
                      <a:pt x="104" y="279"/>
                    </a:cubicBezTo>
                    <a:cubicBezTo>
                      <a:pt x="103" y="278"/>
                      <a:pt x="102" y="277"/>
                      <a:pt x="100" y="275"/>
                    </a:cubicBezTo>
                    <a:cubicBezTo>
                      <a:pt x="97" y="273"/>
                      <a:pt x="97" y="270"/>
                      <a:pt x="96" y="268"/>
                    </a:cubicBezTo>
                    <a:cubicBezTo>
                      <a:pt x="96" y="266"/>
                      <a:pt x="92" y="263"/>
                      <a:pt x="91" y="261"/>
                    </a:cubicBezTo>
                    <a:cubicBezTo>
                      <a:pt x="90" y="260"/>
                      <a:pt x="87" y="259"/>
                      <a:pt x="84" y="258"/>
                    </a:cubicBezTo>
                    <a:cubicBezTo>
                      <a:pt x="81" y="257"/>
                      <a:pt x="81" y="253"/>
                      <a:pt x="80" y="252"/>
                    </a:cubicBezTo>
                    <a:cubicBezTo>
                      <a:pt x="78" y="250"/>
                      <a:pt x="80" y="250"/>
                      <a:pt x="81" y="249"/>
                    </a:cubicBezTo>
                    <a:cubicBezTo>
                      <a:pt x="82" y="249"/>
                      <a:pt x="84" y="244"/>
                      <a:pt x="84" y="243"/>
                    </a:cubicBezTo>
                    <a:cubicBezTo>
                      <a:pt x="84" y="242"/>
                      <a:pt x="84" y="241"/>
                      <a:pt x="82" y="240"/>
                    </a:cubicBezTo>
                    <a:cubicBezTo>
                      <a:pt x="81" y="239"/>
                      <a:pt x="79" y="242"/>
                      <a:pt x="78" y="241"/>
                    </a:cubicBezTo>
                    <a:cubicBezTo>
                      <a:pt x="77" y="240"/>
                      <a:pt x="78" y="235"/>
                      <a:pt x="78" y="233"/>
                    </a:cubicBezTo>
                    <a:cubicBezTo>
                      <a:pt x="78" y="231"/>
                      <a:pt x="76" y="229"/>
                      <a:pt x="74" y="229"/>
                    </a:cubicBezTo>
                    <a:cubicBezTo>
                      <a:pt x="72" y="228"/>
                      <a:pt x="72" y="234"/>
                      <a:pt x="70" y="234"/>
                    </a:cubicBezTo>
                    <a:cubicBezTo>
                      <a:pt x="69" y="235"/>
                      <a:pt x="68" y="233"/>
                      <a:pt x="66" y="232"/>
                    </a:cubicBezTo>
                    <a:cubicBezTo>
                      <a:pt x="66" y="231"/>
                      <a:pt x="62" y="225"/>
                      <a:pt x="62" y="223"/>
                    </a:cubicBezTo>
                    <a:cubicBezTo>
                      <a:pt x="61" y="220"/>
                      <a:pt x="62" y="219"/>
                      <a:pt x="60" y="218"/>
                    </a:cubicBezTo>
                    <a:cubicBezTo>
                      <a:pt x="59" y="216"/>
                      <a:pt x="59" y="213"/>
                      <a:pt x="58" y="212"/>
                    </a:cubicBezTo>
                    <a:cubicBezTo>
                      <a:pt x="58" y="211"/>
                      <a:pt x="54" y="205"/>
                      <a:pt x="52" y="204"/>
                    </a:cubicBezTo>
                    <a:cubicBezTo>
                      <a:pt x="51" y="203"/>
                      <a:pt x="48" y="194"/>
                      <a:pt x="47" y="193"/>
                    </a:cubicBezTo>
                    <a:cubicBezTo>
                      <a:pt x="46" y="192"/>
                      <a:pt x="46" y="192"/>
                      <a:pt x="45" y="192"/>
                    </a:cubicBezTo>
                    <a:cubicBezTo>
                      <a:pt x="45" y="192"/>
                      <a:pt x="45" y="185"/>
                      <a:pt x="43" y="185"/>
                    </a:cubicBezTo>
                    <a:cubicBezTo>
                      <a:pt x="41" y="184"/>
                      <a:pt x="38" y="186"/>
                      <a:pt x="37" y="186"/>
                    </a:cubicBezTo>
                    <a:cubicBezTo>
                      <a:pt x="36" y="186"/>
                      <a:pt x="29" y="194"/>
                      <a:pt x="29" y="194"/>
                    </a:cubicBezTo>
                    <a:cubicBezTo>
                      <a:pt x="29" y="193"/>
                      <a:pt x="26" y="190"/>
                      <a:pt x="25" y="190"/>
                    </a:cubicBezTo>
                    <a:cubicBezTo>
                      <a:pt x="24" y="189"/>
                      <a:pt x="17" y="183"/>
                      <a:pt x="17" y="183"/>
                    </a:cubicBezTo>
                    <a:cubicBezTo>
                      <a:pt x="17" y="182"/>
                      <a:pt x="19" y="178"/>
                      <a:pt x="18" y="177"/>
                    </a:cubicBezTo>
                    <a:cubicBezTo>
                      <a:pt x="16" y="176"/>
                      <a:pt x="9" y="178"/>
                      <a:pt x="8" y="177"/>
                    </a:cubicBezTo>
                    <a:cubicBezTo>
                      <a:pt x="7" y="177"/>
                      <a:pt x="1" y="175"/>
                      <a:pt x="1" y="17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512" name="Group 257"/>
            <p:cNvGrpSpPr>
              <a:grpSpLocks/>
            </p:cNvGrpSpPr>
            <p:nvPr/>
          </p:nvGrpSpPr>
          <p:grpSpPr bwMode="auto">
            <a:xfrm>
              <a:off x="2082901" y="2918336"/>
              <a:ext cx="2217280" cy="1396692"/>
              <a:chOff x="98" y="1208"/>
              <a:chExt cx="1609" cy="1077"/>
            </a:xfrm>
            <a:solidFill>
              <a:srgbClr val="EBEBE3"/>
            </a:solidFill>
          </p:grpSpPr>
          <p:sp>
            <p:nvSpPr>
              <p:cNvPr id="525" name="Freeform 258"/>
              <p:cNvSpPr>
                <a:spLocks/>
              </p:cNvSpPr>
              <p:nvPr/>
            </p:nvSpPr>
            <p:spPr bwMode="auto">
              <a:xfrm>
                <a:off x="1675" y="2271"/>
                <a:ext cx="32" cy="14"/>
              </a:xfrm>
              <a:custGeom>
                <a:avLst/>
                <a:gdLst>
                  <a:gd name="T0" fmla="*/ 196608 w 16"/>
                  <a:gd name="T1" fmla="*/ 458752 h 7"/>
                  <a:gd name="T2" fmla="*/ 131072 w 16"/>
                  <a:gd name="T3" fmla="*/ 65536 h 7"/>
                  <a:gd name="T4" fmla="*/ 589824 w 16"/>
                  <a:gd name="T5" fmla="*/ 0 h 7"/>
                  <a:gd name="T6" fmla="*/ 1048576 w 16"/>
                  <a:gd name="T7" fmla="*/ 131072 h 7"/>
                  <a:gd name="T8" fmla="*/ 720896 w 16"/>
                  <a:gd name="T9" fmla="*/ 458752 h 7"/>
                  <a:gd name="T10" fmla="*/ 196608 w 16"/>
                  <a:gd name="T11" fmla="*/ 458752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" h="7">
                    <a:moveTo>
                      <a:pt x="3" y="7"/>
                    </a:moveTo>
                    <a:cubicBezTo>
                      <a:pt x="2" y="6"/>
                      <a:pt x="0" y="3"/>
                      <a:pt x="2" y="1"/>
                    </a:cubicBezTo>
                    <a:cubicBezTo>
                      <a:pt x="3" y="0"/>
                      <a:pt x="6" y="0"/>
                      <a:pt x="9" y="0"/>
                    </a:cubicBezTo>
                    <a:cubicBezTo>
                      <a:pt x="9" y="0"/>
                      <a:pt x="16" y="1"/>
                      <a:pt x="16" y="2"/>
                    </a:cubicBezTo>
                    <a:cubicBezTo>
                      <a:pt x="15" y="4"/>
                      <a:pt x="13" y="7"/>
                      <a:pt x="11" y="7"/>
                    </a:cubicBezTo>
                    <a:cubicBezTo>
                      <a:pt x="11" y="7"/>
                      <a:pt x="3" y="7"/>
                      <a:pt x="3" y="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" name="Freeform 259"/>
              <p:cNvSpPr>
                <a:spLocks/>
              </p:cNvSpPr>
              <p:nvPr/>
            </p:nvSpPr>
            <p:spPr bwMode="auto">
              <a:xfrm>
                <a:off x="1527" y="2160"/>
                <a:ext cx="27" cy="30"/>
              </a:xfrm>
              <a:custGeom>
                <a:avLst/>
                <a:gdLst>
                  <a:gd name="T0" fmla="*/ 227087 w 13"/>
                  <a:gd name="T1" fmla="*/ 524288 h 15"/>
                  <a:gd name="T2" fmla="*/ 334370 w 13"/>
                  <a:gd name="T3" fmla="*/ 65536 h 15"/>
                  <a:gd name="T4" fmla="*/ 694461 w 13"/>
                  <a:gd name="T5" fmla="*/ 65536 h 15"/>
                  <a:gd name="T6" fmla="*/ 979564 w 13"/>
                  <a:gd name="T7" fmla="*/ 458752 h 15"/>
                  <a:gd name="T8" fmla="*/ 1442342 w 13"/>
                  <a:gd name="T9" fmla="*/ 655360 h 15"/>
                  <a:gd name="T10" fmla="*/ 1083095 w 13"/>
                  <a:gd name="T11" fmla="*/ 983040 h 15"/>
                  <a:gd name="T12" fmla="*/ 227087 w 13"/>
                  <a:gd name="T13" fmla="*/ 524288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5">
                    <a:moveTo>
                      <a:pt x="2" y="8"/>
                    </a:moveTo>
                    <a:cubicBezTo>
                      <a:pt x="0" y="6"/>
                      <a:pt x="0" y="2"/>
                      <a:pt x="3" y="1"/>
                    </a:cubicBezTo>
                    <a:cubicBezTo>
                      <a:pt x="3" y="1"/>
                      <a:pt x="5" y="0"/>
                      <a:pt x="6" y="1"/>
                    </a:cubicBezTo>
                    <a:cubicBezTo>
                      <a:pt x="7" y="2"/>
                      <a:pt x="6" y="6"/>
                      <a:pt x="8" y="7"/>
                    </a:cubicBezTo>
                    <a:cubicBezTo>
                      <a:pt x="9" y="8"/>
                      <a:pt x="11" y="8"/>
                      <a:pt x="12" y="10"/>
                    </a:cubicBezTo>
                    <a:cubicBezTo>
                      <a:pt x="13" y="12"/>
                      <a:pt x="10" y="15"/>
                      <a:pt x="9" y="15"/>
                    </a:cubicBezTo>
                    <a:cubicBezTo>
                      <a:pt x="8" y="15"/>
                      <a:pt x="4" y="10"/>
                      <a:pt x="2" y="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7" name="Freeform 260"/>
              <p:cNvSpPr>
                <a:spLocks/>
              </p:cNvSpPr>
              <p:nvPr/>
            </p:nvSpPr>
            <p:spPr bwMode="auto">
              <a:xfrm>
                <a:off x="1503" y="2135"/>
                <a:ext cx="24" cy="19"/>
              </a:xfrm>
              <a:custGeom>
                <a:avLst/>
                <a:gdLst>
                  <a:gd name="T0" fmla="*/ 393216 w 12"/>
                  <a:gd name="T1" fmla="*/ 1128790 h 9"/>
                  <a:gd name="T2" fmla="*/ 131072 w 12"/>
                  <a:gd name="T3" fmla="*/ 444575 h 9"/>
                  <a:gd name="T4" fmla="*/ 393216 w 12"/>
                  <a:gd name="T5" fmla="*/ 0 h 9"/>
                  <a:gd name="T6" fmla="*/ 655360 w 12"/>
                  <a:gd name="T7" fmla="*/ 133378 h 9"/>
                  <a:gd name="T8" fmla="*/ 655360 w 12"/>
                  <a:gd name="T9" fmla="*/ 1254925 h 9"/>
                  <a:gd name="T10" fmla="*/ 393216 w 12"/>
                  <a:gd name="T11" fmla="*/ 1128790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9">
                    <a:moveTo>
                      <a:pt x="6" y="7"/>
                    </a:moveTo>
                    <a:cubicBezTo>
                      <a:pt x="5" y="7"/>
                      <a:pt x="2" y="4"/>
                      <a:pt x="2" y="3"/>
                    </a:cubicBezTo>
                    <a:cubicBezTo>
                      <a:pt x="0" y="1"/>
                      <a:pt x="4" y="0"/>
                      <a:pt x="6" y="0"/>
                    </a:cubicBezTo>
                    <a:cubicBezTo>
                      <a:pt x="6" y="0"/>
                      <a:pt x="8" y="0"/>
                      <a:pt x="10" y="1"/>
                    </a:cubicBezTo>
                    <a:cubicBezTo>
                      <a:pt x="12" y="2"/>
                      <a:pt x="11" y="7"/>
                      <a:pt x="10" y="8"/>
                    </a:cubicBezTo>
                    <a:cubicBezTo>
                      <a:pt x="10" y="9"/>
                      <a:pt x="7" y="8"/>
                      <a:pt x="6" y="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8" name="Freeform 261"/>
              <p:cNvSpPr>
                <a:spLocks/>
              </p:cNvSpPr>
              <p:nvPr/>
            </p:nvSpPr>
            <p:spPr bwMode="auto">
              <a:xfrm>
                <a:off x="786" y="1724"/>
                <a:ext cx="897" cy="442"/>
              </a:xfrm>
              <a:custGeom>
                <a:avLst/>
                <a:gdLst>
                  <a:gd name="T0" fmla="*/ 1107578 w 443"/>
                  <a:gd name="T1" fmla="*/ 2047269 h 218"/>
                  <a:gd name="T2" fmla="*/ 1424053 w 443"/>
                  <a:gd name="T3" fmla="*/ 478939 h 218"/>
                  <a:gd name="T4" fmla="*/ 18542308 w 443"/>
                  <a:gd name="T5" fmla="*/ 155053 h 218"/>
                  <a:gd name="T6" fmla="*/ 20936237 w 443"/>
                  <a:gd name="T7" fmla="*/ 1047522 h 218"/>
                  <a:gd name="T8" fmla="*/ 20581367 w 443"/>
                  <a:gd name="T9" fmla="*/ 1644972 h 218"/>
                  <a:gd name="T10" fmla="*/ 20936237 w 443"/>
                  <a:gd name="T11" fmla="*/ 2456293 h 218"/>
                  <a:gd name="T12" fmla="*/ 22588894 w 443"/>
                  <a:gd name="T13" fmla="*/ 2297415 h 218"/>
                  <a:gd name="T14" fmla="*/ 24589734 w 443"/>
                  <a:gd name="T15" fmla="*/ 2456293 h 218"/>
                  <a:gd name="T16" fmla="*/ 23543964 w 443"/>
                  <a:gd name="T17" fmla="*/ 2935241 h 218"/>
                  <a:gd name="T18" fmla="*/ 22746936 w 443"/>
                  <a:gd name="T19" fmla="*/ 4150885 h 218"/>
                  <a:gd name="T20" fmla="*/ 23234294 w 443"/>
                  <a:gd name="T21" fmla="*/ 6105622 h 218"/>
                  <a:gd name="T22" fmla="*/ 23696539 w 443"/>
                  <a:gd name="T23" fmla="*/ 3827333 h 218"/>
                  <a:gd name="T24" fmla="*/ 25159672 w 443"/>
                  <a:gd name="T25" fmla="*/ 3493832 h 218"/>
                  <a:gd name="T26" fmla="*/ 25704450 w 443"/>
                  <a:gd name="T27" fmla="*/ 4382400 h 218"/>
                  <a:gd name="T28" fmla="*/ 25392418 w 443"/>
                  <a:gd name="T29" fmla="*/ 5951268 h 218"/>
                  <a:gd name="T30" fmla="*/ 27803489 w 443"/>
                  <a:gd name="T31" fmla="*/ 5559665 h 218"/>
                  <a:gd name="T32" fmla="*/ 28123353 w 443"/>
                  <a:gd name="T33" fmla="*/ 4827074 h 218"/>
                  <a:gd name="T34" fmla="*/ 29620171 w 443"/>
                  <a:gd name="T35" fmla="*/ 4382400 h 218"/>
                  <a:gd name="T36" fmla="*/ 32581923 w 443"/>
                  <a:gd name="T37" fmla="*/ 3493832 h 218"/>
                  <a:gd name="T38" fmla="*/ 34815623 w 443"/>
                  <a:gd name="T39" fmla="*/ 1887689 h 218"/>
                  <a:gd name="T40" fmla="*/ 34582746 w 443"/>
                  <a:gd name="T41" fmla="*/ 4150885 h 218"/>
                  <a:gd name="T42" fmla="*/ 33044237 w 443"/>
                  <a:gd name="T43" fmla="*/ 5872343 h 218"/>
                  <a:gd name="T44" fmla="*/ 33438297 w 443"/>
                  <a:gd name="T45" fmla="*/ 6274760 h 218"/>
                  <a:gd name="T46" fmla="*/ 31238643 w 443"/>
                  <a:gd name="T47" fmla="*/ 6923829 h 218"/>
                  <a:gd name="T48" fmla="*/ 30478203 w 443"/>
                  <a:gd name="T49" fmla="*/ 8571092 h 218"/>
                  <a:gd name="T50" fmla="*/ 29926712 w 443"/>
                  <a:gd name="T51" fmla="*/ 9049928 h 218"/>
                  <a:gd name="T52" fmla="*/ 29851798 w 443"/>
                  <a:gd name="T53" fmla="*/ 7760005 h 218"/>
                  <a:gd name="T54" fmla="*/ 29467315 w 443"/>
                  <a:gd name="T55" fmla="*/ 9285031 h 218"/>
                  <a:gd name="T56" fmla="*/ 29467315 w 443"/>
                  <a:gd name="T57" fmla="*/ 11103326 h 218"/>
                  <a:gd name="T58" fmla="*/ 28043126 w 443"/>
                  <a:gd name="T59" fmla="*/ 11818354 h 218"/>
                  <a:gd name="T60" fmla="*/ 26658696 w 443"/>
                  <a:gd name="T61" fmla="*/ 13396221 h 218"/>
                  <a:gd name="T62" fmla="*/ 26968060 w 443"/>
                  <a:gd name="T63" fmla="*/ 15733588 h 218"/>
                  <a:gd name="T64" fmla="*/ 26889235 w 443"/>
                  <a:gd name="T65" fmla="*/ 17778659 h 218"/>
                  <a:gd name="T66" fmla="*/ 26088771 w 443"/>
                  <a:gd name="T67" fmla="*/ 16899166 h 218"/>
                  <a:gd name="T68" fmla="*/ 24925640 w 443"/>
                  <a:gd name="T69" fmla="*/ 14443678 h 218"/>
                  <a:gd name="T70" fmla="*/ 23387096 w 443"/>
                  <a:gd name="T71" fmla="*/ 14207226 h 218"/>
                  <a:gd name="T72" fmla="*/ 21735341 w 443"/>
                  <a:gd name="T73" fmla="*/ 15000081 h 218"/>
                  <a:gd name="T74" fmla="*/ 19780834 w 443"/>
                  <a:gd name="T75" fmla="*/ 14846143 h 218"/>
                  <a:gd name="T76" fmla="*/ 17541606 w 443"/>
                  <a:gd name="T77" fmla="*/ 15409264 h 218"/>
                  <a:gd name="T78" fmla="*/ 16926682 w 443"/>
                  <a:gd name="T79" fmla="*/ 17142459 h 218"/>
                  <a:gd name="T80" fmla="*/ 14424181 w 443"/>
                  <a:gd name="T81" fmla="*/ 14677121 h 218"/>
                  <a:gd name="T82" fmla="*/ 12309987 w 443"/>
                  <a:gd name="T83" fmla="*/ 14443678 h 218"/>
                  <a:gd name="T84" fmla="*/ 10126095 w 443"/>
                  <a:gd name="T85" fmla="*/ 13189410 h 218"/>
                  <a:gd name="T86" fmla="*/ 6155001 w 443"/>
                  <a:gd name="T87" fmla="*/ 12643522 h 218"/>
                  <a:gd name="T88" fmla="*/ 4694475 w 443"/>
                  <a:gd name="T89" fmla="*/ 12643522 h 218"/>
                  <a:gd name="T90" fmla="*/ 2646237 w 443"/>
                  <a:gd name="T91" fmla="*/ 11427377 h 218"/>
                  <a:gd name="T92" fmla="*/ 1192431 w 443"/>
                  <a:gd name="T93" fmla="*/ 8571092 h 218"/>
                  <a:gd name="T94" fmla="*/ 468987 w 443"/>
                  <a:gd name="T95" fmla="*/ 6274760 h 218"/>
                  <a:gd name="T96" fmla="*/ 309362 w 443"/>
                  <a:gd name="T97" fmla="*/ 1887689 h 21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43" h="218">
                    <a:moveTo>
                      <a:pt x="7" y="19"/>
                    </a:moveTo>
                    <a:cubicBezTo>
                      <a:pt x="8" y="19"/>
                      <a:pt x="11" y="17"/>
                      <a:pt x="13" y="18"/>
                    </a:cubicBezTo>
                    <a:cubicBezTo>
                      <a:pt x="16" y="19"/>
                      <a:pt x="13" y="24"/>
                      <a:pt x="14" y="25"/>
                    </a:cubicBezTo>
                    <a:cubicBezTo>
                      <a:pt x="16" y="26"/>
                      <a:pt x="18" y="25"/>
                      <a:pt x="20" y="23"/>
                    </a:cubicBezTo>
                    <a:cubicBezTo>
                      <a:pt x="20" y="22"/>
                      <a:pt x="18" y="16"/>
                      <a:pt x="19" y="13"/>
                    </a:cubicBezTo>
                    <a:cubicBezTo>
                      <a:pt x="19" y="10"/>
                      <a:pt x="19" y="8"/>
                      <a:pt x="18" y="6"/>
                    </a:cubicBezTo>
                    <a:cubicBezTo>
                      <a:pt x="224" y="6"/>
                      <a:pt x="224" y="6"/>
                      <a:pt x="224" y="6"/>
                    </a:cubicBezTo>
                    <a:cubicBezTo>
                      <a:pt x="226" y="6"/>
                      <a:pt x="226" y="0"/>
                      <a:pt x="226" y="0"/>
                    </a:cubicBezTo>
                    <a:cubicBezTo>
                      <a:pt x="226" y="0"/>
                      <a:pt x="232" y="1"/>
                      <a:pt x="232" y="2"/>
                    </a:cubicBezTo>
                    <a:cubicBezTo>
                      <a:pt x="232" y="3"/>
                      <a:pt x="236" y="11"/>
                      <a:pt x="237" y="11"/>
                    </a:cubicBezTo>
                    <a:cubicBezTo>
                      <a:pt x="238" y="11"/>
                      <a:pt x="249" y="12"/>
                      <a:pt x="252" y="13"/>
                    </a:cubicBezTo>
                    <a:cubicBezTo>
                      <a:pt x="256" y="14"/>
                      <a:pt x="261" y="13"/>
                      <a:pt x="262" y="13"/>
                    </a:cubicBezTo>
                    <a:cubicBezTo>
                      <a:pt x="264" y="12"/>
                      <a:pt x="268" y="16"/>
                      <a:pt x="268" y="16"/>
                    </a:cubicBezTo>
                    <a:cubicBezTo>
                      <a:pt x="268" y="16"/>
                      <a:pt x="268" y="16"/>
                      <a:pt x="268" y="16"/>
                    </a:cubicBezTo>
                    <a:cubicBezTo>
                      <a:pt x="265" y="18"/>
                      <a:pt x="259" y="19"/>
                      <a:pt x="258" y="20"/>
                    </a:cubicBezTo>
                    <a:cubicBezTo>
                      <a:pt x="257" y="22"/>
                      <a:pt x="249" y="26"/>
                      <a:pt x="250" y="28"/>
                    </a:cubicBezTo>
                    <a:cubicBezTo>
                      <a:pt x="250" y="30"/>
                      <a:pt x="254" y="30"/>
                      <a:pt x="255" y="28"/>
                    </a:cubicBezTo>
                    <a:cubicBezTo>
                      <a:pt x="257" y="27"/>
                      <a:pt x="260" y="28"/>
                      <a:pt x="262" y="30"/>
                    </a:cubicBezTo>
                    <a:cubicBezTo>
                      <a:pt x="263" y="32"/>
                      <a:pt x="269" y="28"/>
                      <a:pt x="273" y="26"/>
                    </a:cubicBezTo>
                    <a:cubicBezTo>
                      <a:pt x="273" y="26"/>
                      <a:pt x="282" y="19"/>
                      <a:pt x="283" y="22"/>
                    </a:cubicBezTo>
                    <a:cubicBezTo>
                      <a:pt x="284" y="24"/>
                      <a:pt x="282" y="26"/>
                      <a:pt x="283" y="28"/>
                    </a:cubicBezTo>
                    <a:cubicBezTo>
                      <a:pt x="285" y="30"/>
                      <a:pt x="288" y="31"/>
                      <a:pt x="291" y="32"/>
                    </a:cubicBezTo>
                    <a:cubicBezTo>
                      <a:pt x="294" y="32"/>
                      <a:pt x="298" y="29"/>
                      <a:pt x="301" y="29"/>
                    </a:cubicBezTo>
                    <a:cubicBezTo>
                      <a:pt x="303" y="28"/>
                      <a:pt x="305" y="30"/>
                      <a:pt x="308" y="30"/>
                    </a:cubicBezTo>
                    <a:cubicBezTo>
                      <a:pt x="316" y="37"/>
                      <a:pt x="316" y="37"/>
                      <a:pt x="316" y="37"/>
                    </a:cubicBezTo>
                    <a:cubicBezTo>
                      <a:pt x="313" y="37"/>
                      <a:pt x="306" y="37"/>
                      <a:pt x="304" y="35"/>
                    </a:cubicBezTo>
                    <a:cubicBezTo>
                      <a:pt x="303" y="34"/>
                      <a:pt x="299" y="35"/>
                      <a:pt x="295" y="36"/>
                    </a:cubicBezTo>
                    <a:cubicBezTo>
                      <a:pt x="292" y="36"/>
                      <a:pt x="289" y="38"/>
                      <a:pt x="287" y="39"/>
                    </a:cubicBezTo>
                    <a:cubicBezTo>
                      <a:pt x="285" y="41"/>
                      <a:pt x="284" y="44"/>
                      <a:pt x="286" y="45"/>
                    </a:cubicBezTo>
                    <a:cubicBezTo>
                      <a:pt x="287" y="46"/>
                      <a:pt x="286" y="49"/>
                      <a:pt x="285" y="51"/>
                    </a:cubicBezTo>
                    <a:cubicBezTo>
                      <a:pt x="284" y="54"/>
                      <a:pt x="283" y="64"/>
                      <a:pt x="283" y="68"/>
                    </a:cubicBezTo>
                    <a:cubicBezTo>
                      <a:pt x="283" y="72"/>
                      <a:pt x="285" y="76"/>
                      <a:pt x="287" y="76"/>
                    </a:cubicBezTo>
                    <a:cubicBezTo>
                      <a:pt x="289" y="77"/>
                      <a:pt x="290" y="76"/>
                      <a:pt x="291" y="75"/>
                    </a:cubicBezTo>
                    <a:cubicBezTo>
                      <a:pt x="293" y="74"/>
                      <a:pt x="294" y="70"/>
                      <a:pt x="295" y="68"/>
                    </a:cubicBezTo>
                    <a:cubicBezTo>
                      <a:pt x="297" y="66"/>
                      <a:pt x="293" y="58"/>
                      <a:pt x="293" y="55"/>
                    </a:cubicBezTo>
                    <a:cubicBezTo>
                      <a:pt x="293" y="52"/>
                      <a:pt x="294" y="48"/>
                      <a:pt x="297" y="47"/>
                    </a:cubicBezTo>
                    <a:cubicBezTo>
                      <a:pt x="301" y="45"/>
                      <a:pt x="303" y="46"/>
                      <a:pt x="303" y="45"/>
                    </a:cubicBezTo>
                    <a:cubicBezTo>
                      <a:pt x="303" y="43"/>
                      <a:pt x="305" y="41"/>
                      <a:pt x="307" y="41"/>
                    </a:cubicBezTo>
                    <a:cubicBezTo>
                      <a:pt x="309" y="41"/>
                      <a:pt x="313" y="42"/>
                      <a:pt x="315" y="43"/>
                    </a:cubicBezTo>
                    <a:cubicBezTo>
                      <a:pt x="317" y="44"/>
                      <a:pt x="316" y="46"/>
                      <a:pt x="316" y="49"/>
                    </a:cubicBezTo>
                    <a:cubicBezTo>
                      <a:pt x="316" y="52"/>
                      <a:pt x="311" y="55"/>
                      <a:pt x="313" y="57"/>
                    </a:cubicBezTo>
                    <a:cubicBezTo>
                      <a:pt x="315" y="60"/>
                      <a:pt x="320" y="55"/>
                      <a:pt x="322" y="54"/>
                    </a:cubicBezTo>
                    <a:cubicBezTo>
                      <a:pt x="323" y="54"/>
                      <a:pt x="322" y="61"/>
                      <a:pt x="324" y="63"/>
                    </a:cubicBezTo>
                    <a:cubicBezTo>
                      <a:pt x="320" y="72"/>
                      <a:pt x="320" y="72"/>
                      <a:pt x="320" y="72"/>
                    </a:cubicBezTo>
                    <a:cubicBezTo>
                      <a:pt x="319" y="72"/>
                      <a:pt x="318" y="72"/>
                      <a:pt x="318" y="73"/>
                    </a:cubicBezTo>
                    <a:cubicBezTo>
                      <a:pt x="316" y="74"/>
                      <a:pt x="319" y="77"/>
                      <a:pt x="320" y="77"/>
                    </a:cubicBezTo>
                    <a:cubicBezTo>
                      <a:pt x="322" y="78"/>
                      <a:pt x="327" y="78"/>
                      <a:pt x="330" y="77"/>
                    </a:cubicBezTo>
                    <a:cubicBezTo>
                      <a:pt x="333" y="75"/>
                      <a:pt x="346" y="69"/>
                      <a:pt x="348" y="68"/>
                    </a:cubicBezTo>
                    <a:cubicBezTo>
                      <a:pt x="350" y="68"/>
                      <a:pt x="352" y="66"/>
                      <a:pt x="351" y="65"/>
                    </a:cubicBezTo>
                    <a:cubicBezTo>
                      <a:pt x="351" y="64"/>
                      <a:pt x="350" y="64"/>
                      <a:pt x="348" y="64"/>
                    </a:cubicBezTo>
                    <a:cubicBezTo>
                      <a:pt x="352" y="59"/>
                      <a:pt x="352" y="59"/>
                      <a:pt x="352" y="59"/>
                    </a:cubicBezTo>
                    <a:cubicBezTo>
                      <a:pt x="355" y="59"/>
                      <a:pt x="364" y="60"/>
                      <a:pt x="366" y="60"/>
                    </a:cubicBezTo>
                    <a:cubicBezTo>
                      <a:pt x="369" y="60"/>
                      <a:pt x="371" y="59"/>
                      <a:pt x="372" y="57"/>
                    </a:cubicBezTo>
                    <a:cubicBezTo>
                      <a:pt x="372" y="56"/>
                      <a:pt x="372" y="54"/>
                      <a:pt x="371" y="54"/>
                    </a:cubicBezTo>
                    <a:cubicBezTo>
                      <a:pt x="371" y="54"/>
                      <a:pt x="371" y="54"/>
                      <a:pt x="371" y="54"/>
                    </a:cubicBezTo>
                    <a:cubicBezTo>
                      <a:pt x="382" y="44"/>
                      <a:pt x="382" y="44"/>
                      <a:pt x="382" y="44"/>
                    </a:cubicBezTo>
                    <a:cubicBezTo>
                      <a:pt x="408" y="43"/>
                      <a:pt x="408" y="43"/>
                      <a:pt x="408" y="43"/>
                    </a:cubicBezTo>
                    <a:cubicBezTo>
                      <a:pt x="408" y="43"/>
                      <a:pt x="415" y="42"/>
                      <a:pt x="416" y="38"/>
                    </a:cubicBezTo>
                    <a:cubicBezTo>
                      <a:pt x="417" y="35"/>
                      <a:pt x="424" y="20"/>
                      <a:pt x="426" y="21"/>
                    </a:cubicBezTo>
                    <a:cubicBezTo>
                      <a:pt x="429" y="23"/>
                      <a:pt x="435" y="20"/>
                      <a:pt x="436" y="23"/>
                    </a:cubicBezTo>
                    <a:cubicBezTo>
                      <a:pt x="437" y="26"/>
                      <a:pt x="437" y="34"/>
                      <a:pt x="437" y="36"/>
                    </a:cubicBezTo>
                    <a:cubicBezTo>
                      <a:pt x="443" y="45"/>
                      <a:pt x="443" y="45"/>
                      <a:pt x="443" y="45"/>
                    </a:cubicBezTo>
                    <a:cubicBezTo>
                      <a:pt x="443" y="46"/>
                      <a:pt x="437" y="50"/>
                      <a:pt x="433" y="51"/>
                    </a:cubicBezTo>
                    <a:cubicBezTo>
                      <a:pt x="430" y="53"/>
                      <a:pt x="424" y="54"/>
                      <a:pt x="422" y="56"/>
                    </a:cubicBezTo>
                    <a:cubicBezTo>
                      <a:pt x="419" y="57"/>
                      <a:pt x="416" y="60"/>
                      <a:pt x="413" y="64"/>
                    </a:cubicBezTo>
                    <a:cubicBezTo>
                      <a:pt x="410" y="68"/>
                      <a:pt x="413" y="71"/>
                      <a:pt x="414" y="72"/>
                    </a:cubicBezTo>
                    <a:cubicBezTo>
                      <a:pt x="415" y="73"/>
                      <a:pt x="418" y="70"/>
                      <a:pt x="418" y="70"/>
                    </a:cubicBezTo>
                    <a:cubicBezTo>
                      <a:pt x="419" y="70"/>
                      <a:pt x="419" y="71"/>
                      <a:pt x="420" y="73"/>
                    </a:cubicBezTo>
                    <a:cubicBezTo>
                      <a:pt x="420" y="74"/>
                      <a:pt x="420" y="77"/>
                      <a:pt x="419" y="77"/>
                    </a:cubicBezTo>
                    <a:cubicBezTo>
                      <a:pt x="418" y="77"/>
                      <a:pt x="416" y="77"/>
                      <a:pt x="413" y="77"/>
                    </a:cubicBezTo>
                    <a:cubicBezTo>
                      <a:pt x="411" y="77"/>
                      <a:pt x="406" y="80"/>
                      <a:pt x="401" y="80"/>
                    </a:cubicBezTo>
                    <a:cubicBezTo>
                      <a:pt x="396" y="80"/>
                      <a:pt x="392" y="84"/>
                      <a:pt x="391" y="85"/>
                    </a:cubicBezTo>
                    <a:cubicBezTo>
                      <a:pt x="390" y="87"/>
                      <a:pt x="389" y="90"/>
                      <a:pt x="389" y="92"/>
                    </a:cubicBezTo>
                    <a:cubicBezTo>
                      <a:pt x="389" y="94"/>
                      <a:pt x="385" y="96"/>
                      <a:pt x="384" y="98"/>
                    </a:cubicBezTo>
                    <a:cubicBezTo>
                      <a:pt x="382" y="99"/>
                      <a:pt x="382" y="102"/>
                      <a:pt x="382" y="105"/>
                    </a:cubicBezTo>
                    <a:cubicBezTo>
                      <a:pt x="382" y="107"/>
                      <a:pt x="379" y="112"/>
                      <a:pt x="379" y="113"/>
                    </a:cubicBezTo>
                    <a:cubicBezTo>
                      <a:pt x="378" y="114"/>
                      <a:pt x="378" y="115"/>
                      <a:pt x="377" y="115"/>
                    </a:cubicBezTo>
                    <a:cubicBezTo>
                      <a:pt x="376" y="115"/>
                      <a:pt x="375" y="113"/>
                      <a:pt x="375" y="111"/>
                    </a:cubicBezTo>
                    <a:cubicBezTo>
                      <a:pt x="375" y="110"/>
                      <a:pt x="374" y="107"/>
                      <a:pt x="374" y="105"/>
                    </a:cubicBezTo>
                    <a:cubicBezTo>
                      <a:pt x="374" y="103"/>
                      <a:pt x="374" y="103"/>
                      <a:pt x="374" y="101"/>
                    </a:cubicBezTo>
                    <a:cubicBezTo>
                      <a:pt x="373" y="98"/>
                      <a:pt x="374" y="96"/>
                      <a:pt x="374" y="95"/>
                    </a:cubicBezTo>
                    <a:cubicBezTo>
                      <a:pt x="374" y="94"/>
                      <a:pt x="372" y="95"/>
                      <a:pt x="370" y="96"/>
                    </a:cubicBezTo>
                    <a:cubicBezTo>
                      <a:pt x="368" y="97"/>
                      <a:pt x="368" y="102"/>
                      <a:pt x="369" y="105"/>
                    </a:cubicBezTo>
                    <a:cubicBezTo>
                      <a:pt x="370" y="108"/>
                      <a:pt x="369" y="111"/>
                      <a:pt x="369" y="114"/>
                    </a:cubicBezTo>
                    <a:cubicBezTo>
                      <a:pt x="369" y="116"/>
                      <a:pt x="373" y="118"/>
                      <a:pt x="373" y="119"/>
                    </a:cubicBezTo>
                    <a:cubicBezTo>
                      <a:pt x="373" y="120"/>
                      <a:pt x="378" y="131"/>
                      <a:pt x="378" y="132"/>
                    </a:cubicBezTo>
                    <a:cubicBezTo>
                      <a:pt x="377" y="134"/>
                      <a:pt x="371" y="136"/>
                      <a:pt x="369" y="136"/>
                    </a:cubicBezTo>
                    <a:cubicBezTo>
                      <a:pt x="367" y="136"/>
                      <a:pt x="363" y="138"/>
                      <a:pt x="361" y="139"/>
                    </a:cubicBezTo>
                    <a:cubicBezTo>
                      <a:pt x="360" y="140"/>
                      <a:pt x="360" y="144"/>
                      <a:pt x="358" y="145"/>
                    </a:cubicBezTo>
                    <a:cubicBezTo>
                      <a:pt x="357" y="146"/>
                      <a:pt x="354" y="143"/>
                      <a:pt x="351" y="145"/>
                    </a:cubicBezTo>
                    <a:cubicBezTo>
                      <a:pt x="348" y="146"/>
                      <a:pt x="349" y="151"/>
                      <a:pt x="349" y="151"/>
                    </a:cubicBezTo>
                    <a:cubicBezTo>
                      <a:pt x="348" y="152"/>
                      <a:pt x="347" y="153"/>
                      <a:pt x="345" y="154"/>
                    </a:cubicBezTo>
                    <a:cubicBezTo>
                      <a:pt x="343" y="156"/>
                      <a:pt x="338" y="157"/>
                      <a:pt x="334" y="164"/>
                    </a:cubicBezTo>
                    <a:cubicBezTo>
                      <a:pt x="330" y="170"/>
                      <a:pt x="334" y="179"/>
                      <a:pt x="335" y="183"/>
                    </a:cubicBezTo>
                    <a:cubicBezTo>
                      <a:pt x="335" y="186"/>
                      <a:pt x="339" y="187"/>
                      <a:pt x="340" y="188"/>
                    </a:cubicBezTo>
                    <a:cubicBezTo>
                      <a:pt x="340" y="190"/>
                      <a:pt x="338" y="192"/>
                      <a:pt x="338" y="193"/>
                    </a:cubicBezTo>
                    <a:cubicBezTo>
                      <a:pt x="338" y="195"/>
                      <a:pt x="339" y="195"/>
                      <a:pt x="342" y="199"/>
                    </a:cubicBezTo>
                    <a:cubicBezTo>
                      <a:pt x="344" y="204"/>
                      <a:pt x="343" y="210"/>
                      <a:pt x="343" y="213"/>
                    </a:cubicBezTo>
                    <a:cubicBezTo>
                      <a:pt x="342" y="216"/>
                      <a:pt x="340" y="218"/>
                      <a:pt x="337" y="218"/>
                    </a:cubicBezTo>
                    <a:cubicBezTo>
                      <a:pt x="336" y="218"/>
                      <a:pt x="336" y="217"/>
                      <a:pt x="336" y="217"/>
                    </a:cubicBezTo>
                    <a:cubicBezTo>
                      <a:pt x="333" y="217"/>
                      <a:pt x="333" y="216"/>
                      <a:pt x="332" y="213"/>
                    </a:cubicBezTo>
                    <a:cubicBezTo>
                      <a:pt x="330" y="211"/>
                      <a:pt x="329" y="210"/>
                      <a:pt x="327" y="207"/>
                    </a:cubicBezTo>
                    <a:cubicBezTo>
                      <a:pt x="325" y="205"/>
                      <a:pt x="321" y="197"/>
                      <a:pt x="321" y="193"/>
                    </a:cubicBezTo>
                    <a:cubicBezTo>
                      <a:pt x="321" y="190"/>
                      <a:pt x="321" y="186"/>
                      <a:pt x="319" y="184"/>
                    </a:cubicBezTo>
                    <a:cubicBezTo>
                      <a:pt x="318" y="182"/>
                      <a:pt x="315" y="178"/>
                      <a:pt x="312" y="177"/>
                    </a:cubicBezTo>
                    <a:cubicBezTo>
                      <a:pt x="309" y="176"/>
                      <a:pt x="308" y="180"/>
                      <a:pt x="306" y="181"/>
                    </a:cubicBezTo>
                    <a:cubicBezTo>
                      <a:pt x="304" y="182"/>
                      <a:pt x="302" y="181"/>
                      <a:pt x="301" y="179"/>
                    </a:cubicBezTo>
                    <a:cubicBezTo>
                      <a:pt x="300" y="177"/>
                      <a:pt x="296" y="174"/>
                      <a:pt x="293" y="174"/>
                    </a:cubicBezTo>
                    <a:cubicBezTo>
                      <a:pt x="291" y="174"/>
                      <a:pt x="285" y="176"/>
                      <a:pt x="279" y="176"/>
                    </a:cubicBezTo>
                    <a:cubicBezTo>
                      <a:pt x="273" y="176"/>
                      <a:pt x="274" y="177"/>
                      <a:pt x="272" y="178"/>
                    </a:cubicBezTo>
                    <a:cubicBezTo>
                      <a:pt x="271" y="179"/>
                      <a:pt x="273" y="183"/>
                      <a:pt x="272" y="184"/>
                    </a:cubicBezTo>
                    <a:cubicBezTo>
                      <a:pt x="270" y="185"/>
                      <a:pt x="267" y="186"/>
                      <a:pt x="264" y="186"/>
                    </a:cubicBezTo>
                    <a:cubicBezTo>
                      <a:pt x="261" y="186"/>
                      <a:pt x="258" y="182"/>
                      <a:pt x="255" y="181"/>
                    </a:cubicBezTo>
                    <a:cubicBezTo>
                      <a:pt x="253" y="180"/>
                      <a:pt x="249" y="182"/>
                      <a:pt x="248" y="182"/>
                    </a:cubicBezTo>
                    <a:cubicBezTo>
                      <a:pt x="247" y="181"/>
                      <a:pt x="246" y="181"/>
                      <a:pt x="242" y="180"/>
                    </a:cubicBezTo>
                    <a:cubicBezTo>
                      <a:pt x="239" y="178"/>
                      <a:pt x="234" y="181"/>
                      <a:pt x="232" y="182"/>
                    </a:cubicBezTo>
                    <a:cubicBezTo>
                      <a:pt x="229" y="183"/>
                      <a:pt x="223" y="188"/>
                      <a:pt x="220" y="189"/>
                    </a:cubicBezTo>
                    <a:cubicBezTo>
                      <a:pt x="218" y="190"/>
                      <a:pt x="209" y="198"/>
                      <a:pt x="209" y="200"/>
                    </a:cubicBezTo>
                    <a:cubicBezTo>
                      <a:pt x="209" y="202"/>
                      <a:pt x="212" y="207"/>
                      <a:pt x="213" y="210"/>
                    </a:cubicBezTo>
                    <a:cubicBezTo>
                      <a:pt x="212" y="210"/>
                      <a:pt x="212" y="210"/>
                      <a:pt x="212" y="210"/>
                    </a:cubicBezTo>
                    <a:cubicBezTo>
                      <a:pt x="207" y="212"/>
                      <a:pt x="207" y="212"/>
                      <a:pt x="207" y="212"/>
                    </a:cubicBezTo>
                    <a:cubicBezTo>
                      <a:pt x="207" y="212"/>
                      <a:pt x="198" y="208"/>
                      <a:pt x="197" y="207"/>
                    </a:cubicBezTo>
                    <a:cubicBezTo>
                      <a:pt x="196" y="206"/>
                      <a:pt x="185" y="182"/>
                      <a:pt x="181" y="180"/>
                    </a:cubicBezTo>
                    <a:cubicBezTo>
                      <a:pt x="176" y="178"/>
                      <a:pt x="173" y="178"/>
                      <a:pt x="171" y="178"/>
                    </a:cubicBezTo>
                    <a:cubicBezTo>
                      <a:pt x="169" y="179"/>
                      <a:pt x="169" y="186"/>
                      <a:pt x="165" y="185"/>
                    </a:cubicBezTo>
                    <a:cubicBezTo>
                      <a:pt x="161" y="183"/>
                      <a:pt x="155" y="181"/>
                      <a:pt x="154" y="177"/>
                    </a:cubicBezTo>
                    <a:cubicBezTo>
                      <a:pt x="153" y="173"/>
                      <a:pt x="152" y="171"/>
                      <a:pt x="149" y="170"/>
                    </a:cubicBezTo>
                    <a:cubicBezTo>
                      <a:pt x="147" y="168"/>
                      <a:pt x="141" y="162"/>
                      <a:pt x="141" y="162"/>
                    </a:cubicBezTo>
                    <a:cubicBezTo>
                      <a:pt x="127" y="162"/>
                      <a:pt x="127" y="162"/>
                      <a:pt x="127" y="162"/>
                    </a:cubicBezTo>
                    <a:cubicBezTo>
                      <a:pt x="127" y="167"/>
                      <a:pt x="127" y="167"/>
                      <a:pt x="127" y="167"/>
                    </a:cubicBezTo>
                    <a:cubicBezTo>
                      <a:pt x="105" y="166"/>
                      <a:pt x="105" y="166"/>
                      <a:pt x="105" y="166"/>
                    </a:cubicBezTo>
                    <a:cubicBezTo>
                      <a:pt x="77" y="155"/>
                      <a:pt x="77" y="155"/>
                      <a:pt x="77" y="155"/>
                    </a:cubicBezTo>
                    <a:cubicBezTo>
                      <a:pt x="77" y="152"/>
                      <a:pt x="77" y="152"/>
                      <a:pt x="77" y="152"/>
                    </a:cubicBezTo>
                    <a:cubicBezTo>
                      <a:pt x="66" y="154"/>
                      <a:pt x="66" y="154"/>
                      <a:pt x="66" y="154"/>
                    </a:cubicBezTo>
                    <a:cubicBezTo>
                      <a:pt x="59" y="155"/>
                      <a:pt x="59" y="155"/>
                      <a:pt x="59" y="155"/>
                    </a:cubicBezTo>
                    <a:cubicBezTo>
                      <a:pt x="58" y="154"/>
                      <a:pt x="58" y="152"/>
                      <a:pt x="58" y="151"/>
                    </a:cubicBezTo>
                    <a:cubicBezTo>
                      <a:pt x="57" y="148"/>
                      <a:pt x="43" y="141"/>
                      <a:pt x="40" y="140"/>
                    </a:cubicBezTo>
                    <a:cubicBezTo>
                      <a:pt x="38" y="138"/>
                      <a:pt x="34" y="142"/>
                      <a:pt x="33" y="140"/>
                    </a:cubicBezTo>
                    <a:cubicBezTo>
                      <a:pt x="32" y="138"/>
                      <a:pt x="30" y="131"/>
                      <a:pt x="30" y="130"/>
                    </a:cubicBezTo>
                    <a:cubicBezTo>
                      <a:pt x="29" y="129"/>
                      <a:pt x="25" y="125"/>
                      <a:pt x="22" y="122"/>
                    </a:cubicBezTo>
                    <a:cubicBezTo>
                      <a:pt x="20" y="119"/>
                      <a:pt x="17" y="108"/>
                      <a:pt x="15" y="105"/>
                    </a:cubicBezTo>
                    <a:cubicBezTo>
                      <a:pt x="12" y="102"/>
                      <a:pt x="9" y="97"/>
                      <a:pt x="9" y="95"/>
                    </a:cubicBezTo>
                    <a:cubicBezTo>
                      <a:pt x="9" y="93"/>
                      <a:pt x="3" y="89"/>
                      <a:pt x="3" y="87"/>
                    </a:cubicBezTo>
                    <a:cubicBezTo>
                      <a:pt x="3" y="85"/>
                      <a:pt x="6" y="79"/>
                      <a:pt x="6" y="77"/>
                    </a:cubicBezTo>
                    <a:cubicBezTo>
                      <a:pt x="6" y="74"/>
                      <a:pt x="2" y="67"/>
                      <a:pt x="2" y="65"/>
                    </a:cubicBezTo>
                    <a:cubicBezTo>
                      <a:pt x="2" y="62"/>
                      <a:pt x="7" y="43"/>
                      <a:pt x="7" y="38"/>
                    </a:cubicBezTo>
                    <a:cubicBezTo>
                      <a:pt x="7" y="34"/>
                      <a:pt x="5" y="26"/>
                      <a:pt x="4" y="23"/>
                    </a:cubicBezTo>
                    <a:cubicBezTo>
                      <a:pt x="3" y="21"/>
                      <a:pt x="0" y="17"/>
                      <a:pt x="1" y="17"/>
                    </a:cubicBezTo>
                    <a:cubicBezTo>
                      <a:pt x="2" y="18"/>
                      <a:pt x="6" y="19"/>
                      <a:pt x="7" y="1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9" name="Freeform 262"/>
              <p:cNvSpPr>
                <a:spLocks/>
              </p:cNvSpPr>
              <p:nvPr/>
            </p:nvSpPr>
            <p:spPr bwMode="auto">
              <a:xfrm>
                <a:off x="651" y="1603"/>
                <a:ext cx="26" cy="22"/>
              </a:xfrm>
              <a:custGeom>
                <a:avLst/>
                <a:gdLst>
                  <a:gd name="T0" fmla="*/ 524288 w 13"/>
                  <a:gd name="T1" fmla="*/ 196608 h 11"/>
                  <a:gd name="T2" fmla="*/ 786432 w 13"/>
                  <a:gd name="T3" fmla="*/ 589824 h 11"/>
                  <a:gd name="T4" fmla="*/ 393216 w 13"/>
                  <a:gd name="T5" fmla="*/ 458752 h 11"/>
                  <a:gd name="T6" fmla="*/ 327680 w 13"/>
                  <a:gd name="T7" fmla="*/ 720896 h 11"/>
                  <a:gd name="T8" fmla="*/ 0 w 13"/>
                  <a:gd name="T9" fmla="*/ 131072 h 11"/>
                  <a:gd name="T10" fmla="*/ 262144 w 13"/>
                  <a:gd name="T11" fmla="*/ 0 h 11"/>
                  <a:gd name="T12" fmla="*/ 524288 w 13"/>
                  <a:gd name="T13" fmla="*/ 196608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1">
                    <a:moveTo>
                      <a:pt x="8" y="3"/>
                    </a:moveTo>
                    <a:cubicBezTo>
                      <a:pt x="9" y="4"/>
                      <a:pt x="13" y="8"/>
                      <a:pt x="12" y="9"/>
                    </a:cubicBezTo>
                    <a:cubicBezTo>
                      <a:pt x="12" y="10"/>
                      <a:pt x="7" y="7"/>
                      <a:pt x="6" y="7"/>
                    </a:cubicBezTo>
                    <a:cubicBezTo>
                      <a:pt x="6" y="7"/>
                      <a:pt x="6" y="11"/>
                      <a:pt x="5" y="11"/>
                    </a:cubicBezTo>
                    <a:cubicBezTo>
                      <a:pt x="3" y="10"/>
                      <a:pt x="0" y="2"/>
                      <a:pt x="0" y="2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5" y="1"/>
                      <a:pt x="7" y="2"/>
                      <a:pt x="8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0" name="Freeform 263"/>
              <p:cNvSpPr>
                <a:spLocks/>
              </p:cNvSpPr>
              <p:nvPr/>
            </p:nvSpPr>
            <p:spPr bwMode="auto">
              <a:xfrm>
                <a:off x="636" y="1577"/>
                <a:ext cx="13" cy="22"/>
              </a:xfrm>
              <a:custGeom>
                <a:avLst/>
                <a:gdLst>
                  <a:gd name="T0" fmla="*/ 212734 w 6"/>
                  <a:gd name="T1" fmla="*/ 393216 h 11"/>
                  <a:gd name="T2" fmla="*/ 460924 w 6"/>
                  <a:gd name="T3" fmla="*/ 0 h 11"/>
                  <a:gd name="T4" fmla="*/ 1211368 w 6"/>
                  <a:gd name="T5" fmla="*/ 65536 h 11"/>
                  <a:gd name="T6" fmla="*/ 1211368 w 6"/>
                  <a:gd name="T7" fmla="*/ 589824 h 11"/>
                  <a:gd name="T8" fmla="*/ 212734 w 6"/>
                  <a:gd name="T9" fmla="*/ 720896 h 11"/>
                  <a:gd name="T10" fmla="*/ 212734 w 6"/>
                  <a:gd name="T11" fmla="*/ 393216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11">
                    <a:moveTo>
                      <a:pt x="1" y="6"/>
                    </a:moveTo>
                    <a:cubicBezTo>
                      <a:pt x="1" y="4"/>
                      <a:pt x="2" y="0"/>
                      <a:pt x="2" y="0"/>
                    </a:cubicBezTo>
                    <a:cubicBezTo>
                      <a:pt x="3" y="0"/>
                      <a:pt x="5" y="0"/>
                      <a:pt x="5" y="1"/>
                    </a:cubicBezTo>
                    <a:cubicBezTo>
                      <a:pt x="6" y="2"/>
                      <a:pt x="5" y="8"/>
                      <a:pt x="5" y="9"/>
                    </a:cubicBezTo>
                    <a:cubicBezTo>
                      <a:pt x="5" y="10"/>
                      <a:pt x="3" y="11"/>
                      <a:pt x="1" y="11"/>
                    </a:cubicBezTo>
                    <a:cubicBezTo>
                      <a:pt x="0" y="11"/>
                      <a:pt x="1" y="7"/>
                      <a:pt x="1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1" name="Freeform 264"/>
              <p:cNvSpPr>
                <a:spLocks/>
              </p:cNvSpPr>
              <p:nvPr/>
            </p:nvSpPr>
            <p:spPr bwMode="auto">
              <a:xfrm>
                <a:off x="628" y="1544"/>
                <a:ext cx="17" cy="24"/>
              </a:xfrm>
              <a:custGeom>
                <a:avLst/>
                <a:gdLst>
                  <a:gd name="T0" fmla="*/ 1085123 w 8"/>
                  <a:gd name="T1" fmla="*/ 327680 h 12"/>
                  <a:gd name="T2" fmla="*/ 1229980 w 8"/>
                  <a:gd name="T3" fmla="*/ 589824 h 12"/>
                  <a:gd name="T4" fmla="*/ 340064 w 8"/>
                  <a:gd name="T5" fmla="*/ 786432 h 12"/>
                  <a:gd name="T6" fmla="*/ 340064 w 8"/>
                  <a:gd name="T7" fmla="*/ 458752 h 12"/>
                  <a:gd name="T8" fmla="*/ 160030 w 8"/>
                  <a:gd name="T9" fmla="*/ 0 h 12"/>
                  <a:gd name="T10" fmla="*/ 1085123 w 8"/>
                  <a:gd name="T11" fmla="*/ 327680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" h="12">
                    <a:moveTo>
                      <a:pt x="6" y="5"/>
                    </a:moveTo>
                    <a:cubicBezTo>
                      <a:pt x="6" y="5"/>
                      <a:pt x="8" y="9"/>
                      <a:pt x="7" y="9"/>
                    </a:cubicBezTo>
                    <a:cubicBezTo>
                      <a:pt x="7" y="10"/>
                      <a:pt x="3" y="12"/>
                      <a:pt x="2" y="12"/>
                    </a:cubicBezTo>
                    <a:cubicBezTo>
                      <a:pt x="2" y="11"/>
                      <a:pt x="2" y="8"/>
                      <a:pt x="2" y="7"/>
                    </a:cubicBezTo>
                    <a:cubicBezTo>
                      <a:pt x="2" y="6"/>
                      <a:pt x="0" y="0"/>
                      <a:pt x="1" y="0"/>
                    </a:cubicBezTo>
                    <a:cubicBezTo>
                      <a:pt x="2" y="0"/>
                      <a:pt x="6" y="5"/>
                      <a:pt x="6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2" name="Freeform 265"/>
              <p:cNvSpPr>
                <a:spLocks/>
              </p:cNvSpPr>
              <p:nvPr/>
            </p:nvSpPr>
            <p:spPr bwMode="auto">
              <a:xfrm>
                <a:off x="600" y="1552"/>
                <a:ext cx="26" cy="41"/>
              </a:xfrm>
              <a:custGeom>
                <a:avLst/>
                <a:gdLst>
                  <a:gd name="T0" fmla="*/ 524288 w 13"/>
                  <a:gd name="T1" fmla="*/ 859987 h 20"/>
                  <a:gd name="T2" fmla="*/ 196608 w 13"/>
                  <a:gd name="T3" fmla="*/ 765515 h 20"/>
                  <a:gd name="T4" fmla="*/ 0 w 13"/>
                  <a:gd name="T5" fmla="*/ 182157 h 20"/>
                  <a:gd name="T6" fmla="*/ 393216 w 13"/>
                  <a:gd name="T7" fmla="*/ 0 h 20"/>
                  <a:gd name="T8" fmla="*/ 589824 w 13"/>
                  <a:gd name="T9" fmla="*/ 0 h 20"/>
                  <a:gd name="T10" fmla="*/ 720896 w 13"/>
                  <a:gd name="T11" fmla="*/ 859987 h 20"/>
                  <a:gd name="T12" fmla="*/ 851968 w 13"/>
                  <a:gd name="T13" fmla="*/ 1762973 h 20"/>
                  <a:gd name="T14" fmla="*/ 851968 w 13"/>
                  <a:gd name="T15" fmla="*/ 1945081 h 20"/>
                  <a:gd name="T16" fmla="*/ 524288 w 13"/>
                  <a:gd name="T17" fmla="*/ 1279413 h 20"/>
                  <a:gd name="T18" fmla="*/ 524288 w 13"/>
                  <a:gd name="T19" fmla="*/ 859987 h 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3" h="20">
                    <a:moveTo>
                      <a:pt x="8" y="9"/>
                    </a:moveTo>
                    <a:cubicBezTo>
                      <a:pt x="7" y="9"/>
                      <a:pt x="3" y="9"/>
                      <a:pt x="3" y="8"/>
                    </a:cubicBezTo>
                    <a:cubicBezTo>
                      <a:pt x="3" y="6"/>
                      <a:pt x="0" y="2"/>
                      <a:pt x="0" y="2"/>
                    </a:cubicBezTo>
                    <a:cubicBezTo>
                      <a:pt x="0" y="1"/>
                      <a:pt x="5" y="0"/>
                      <a:pt x="6" y="0"/>
                    </a:cubicBezTo>
                    <a:cubicBezTo>
                      <a:pt x="7" y="0"/>
                      <a:pt x="9" y="0"/>
                      <a:pt x="9" y="0"/>
                    </a:cubicBezTo>
                    <a:cubicBezTo>
                      <a:pt x="9" y="1"/>
                      <a:pt x="11" y="8"/>
                      <a:pt x="11" y="9"/>
                    </a:cubicBezTo>
                    <a:cubicBezTo>
                      <a:pt x="11" y="10"/>
                      <a:pt x="13" y="18"/>
                      <a:pt x="13" y="18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20"/>
                      <a:pt x="8" y="14"/>
                      <a:pt x="8" y="13"/>
                    </a:cubicBezTo>
                    <a:cubicBezTo>
                      <a:pt x="7" y="12"/>
                      <a:pt x="9" y="10"/>
                      <a:pt x="8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3" name="Freeform 266"/>
              <p:cNvSpPr>
                <a:spLocks/>
              </p:cNvSpPr>
              <p:nvPr/>
            </p:nvSpPr>
            <p:spPr bwMode="auto">
              <a:xfrm>
                <a:off x="323" y="1534"/>
                <a:ext cx="48" cy="47"/>
              </a:xfrm>
              <a:custGeom>
                <a:avLst/>
                <a:gdLst>
                  <a:gd name="T0" fmla="*/ 196608 w 24"/>
                  <a:gd name="T1" fmla="*/ 1951704 h 23"/>
                  <a:gd name="T2" fmla="*/ 196608 w 24"/>
                  <a:gd name="T3" fmla="*/ 1590513 h 23"/>
                  <a:gd name="T4" fmla="*/ 65536 w 24"/>
                  <a:gd name="T5" fmla="*/ 1214194 h 23"/>
                  <a:gd name="T6" fmla="*/ 786432 w 24"/>
                  <a:gd name="T7" fmla="*/ 445491 h 23"/>
                  <a:gd name="T8" fmla="*/ 1245184 w 24"/>
                  <a:gd name="T9" fmla="*/ 0 h 23"/>
                  <a:gd name="T10" fmla="*/ 1507328 w 24"/>
                  <a:gd name="T11" fmla="*/ 270346 h 23"/>
                  <a:gd name="T12" fmla="*/ 1245184 w 24"/>
                  <a:gd name="T13" fmla="*/ 552446 h 23"/>
                  <a:gd name="T14" fmla="*/ 1310720 w 24"/>
                  <a:gd name="T15" fmla="*/ 1128911 h 23"/>
                  <a:gd name="T16" fmla="*/ 655360 w 24"/>
                  <a:gd name="T17" fmla="*/ 1590513 h 23"/>
                  <a:gd name="T18" fmla="*/ 196608 w 24"/>
                  <a:gd name="T19" fmla="*/ 1951704 h 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3" y="21"/>
                    </a:moveTo>
                    <a:cubicBezTo>
                      <a:pt x="1" y="20"/>
                      <a:pt x="3" y="17"/>
                      <a:pt x="3" y="17"/>
                    </a:cubicBezTo>
                    <a:cubicBezTo>
                      <a:pt x="3" y="17"/>
                      <a:pt x="0" y="14"/>
                      <a:pt x="1" y="13"/>
                    </a:cubicBezTo>
                    <a:cubicBezTo>
                      <a:pt x="3" y="12"/>
                      <a:pt x="10" y="8"/>
                      <a:pt x="12" y="5"/>
                    </a:cubicBezTo>
                    <a:cubicBezTo>
                      <a:pt x="14" y="3"/>
                      <a:pt x="19" y="0"/>
                      <a:pt x="19" y="0"/>
                    </a:cubicBezTo>
                    <a:cubicBezTo>
                      <a:pt x="19" y="0"/>
                      <a:pt x="23" y="1"/>
                      <a:pt x="23" y="3"/>
                    </a:cubicBezTo>
                    <a:cubicBezTo>
                      <a:pt x="24" y="6"/>
                      <a:pt x="19" y="3"/>
                      <a:pt x="19" y="6"/>
                    </a:cubicBezTo>
                    <a:cubicBezTo>
                      <a:pt x="19" y="9"/>
                      <a:pt x="22" y="11"/>
                      <a:pt x="20" y="12"/>
                    </a:cubicBezTo>
                    <a:cubicBezTo>
                      <a:pt x="18" y="13"/>
                      <a:pt x="13" y="15"/>
                      <a:pt x="10" y="17"/>
                    </a:cubicBezTo>
                    <a:cubicBezTo>
                      <a:pt x="7" y="19"/>
                      <a:pt x="5" y="23"/>
                      <a:pt x="3" y="2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4" name="Freeform 267"/>
              <p:cNvSpPr>
                <a:spLocks/>
              </p:cNvSpPr>
              <p:nvPr/>
            </p:nvSpPr>
            <p:spPr bwMode="auto">
              <a:xfrm>
                <a:off x="116" y="1208"/>
                <a:ext cx="512" cy="425"/>
              </a:xfrm>
              <a:custGeom>
                <a:avLst/>
                <a:gdLst>
                  <a:gd name="T0" fmla="*/ 2778798 w 253"/>
                  <a:gd name="T1" fmla="*/ 5234181 h 210"/>
                  <a:gd name="T2" fmla="*/ 3867804 w 253"/>
                  <a:gd name="T3" fmla="*/ 5160771 h 210"/>
                  <a:gd name="T4" fmla="*/ 2548214 w 253"/>
                  <a:gd name="T5" fmla="*/ 4274008 h 210"/>
                  <a:gd name="T6" fmla="*/ 1259176 w 253"/>
                  <a:gd name="T7" fmla="*/ 2779852 h 210"/>
                  <a:gd name="T8" fmla="*/ 3553104 w 253"/>
                  <a:gd name="T9" fmla="*/ 1260014 h 210"/>
                  <a:gd name="T10" fmla="*/ 5950450 w 253"/>
                  <a:gd name="T11" fmla="*/ 699313 h 210"/>
                  <a:gd name="T12" fmla="*/ 8638646 w 253"/>
                  <a:gd name="T13" fmla="*/ 467233 h 210"/>
                  <a:gd name="T14" fmla="*/ 10044212 w 253"/>
                  <a:gd name="T15" fmla="*/ 1100952 h 210"/>
                  <a:gd name="T16" fmla="*/ 15047951 w 253"/>
                  <a:gd name="T17" fmla="*/ 1415276 h 210"/>
                  <a:gd name="T18" fmla="*/ 17003860 w 253"/>
                  <a:gd name="T19" fmla="*/ 10845209 h 210"/>
                  <a:gd name="T20" fmla="*/ 18381836 w 253"/>
                  <a:gd name="T21" fmla="*/ 11896586 h 210"/>
                  <a:gd name="T22" fmla="*/ 19782794 w 253"/>
                  <a:gd name="T23" fmla="*/ 11467643 h 210"/>
                  <a:gd name="T24" fmla="*/ 19860079 w 253"/>
                  <a:gd name="T25" fmla="*/ 12916728 h 210"/>
                  <a:gd name="T26" fmla="*/ 18915217 w 253"/>
                  <a:gd name="T27" fmla="*/ 12993491 h 210"/>
                  <a:gd name="T28" fmla="*/ 17330249 w 253"/>
                  <a:gd name="T29" fmla="*/ 11971137 h 210"/>
                  <a:gd name="T30" fmla="*/ 16003778 w 253"/>
                  <a:gd name="T31" fmla="*/ 11542549 h 210"/>
                  <a:gd name="T32" fmla="*/ 13606440 w 253"/>
                  <a:gd name="T33" fmla="*/ 11237202 h 210"/>
                  <a:gd name="T34" fmla="*/ 13214534 w 253"/>
                  <a:gd name="T35" fmla="*/ 10845209 h 210"/>
                  <a:gd name="T36" fmla="*/ 12269018 w 253"/>
                  <a:gd name="T37" fmla="*/ 11237202 h 210"/>
                  <a:gd name="T38" fmla="*/ 10205265 w 253"/>
                  <a:gd name="T39" fmla="*/ 12279300 h 210"/>
                  <a:gd name="T40" fmla="*/ 9968992 w 253"/>
                  <a:gd name="T41" fmla="*/ 11731405 h 210"/>
                  <a:gd name="T42" fmla="*/ 10988777 w 253"/>
                  <a:gd name="T43" fmla="*/ 10693200 h 210"/>
                  <a:gd name="T44" fmla="*/ 10287448 w 253"/>
                  <a:gd name="T45" fmla="*/ 10366691 h 210"/>
                  <a:gd name="T46" fmla="*/ 8793887 w 253"/>
                  <a:gd name="T47" fmla="*/ 11818052 h 210"/>
                  <a:gd name="T48" fmla="*/ 7827335 w 253"/>
                  <a:gd name="T49" fmla="*/ 13464008 h 210"/>
                  <a:gd name="T50" fmla="*/ 6723495 w 253"/>
                  <a:gd name="T51" fmla="*/ 14258422 h 210"/>
                  <a:gd name="T52" fmla="*/ 5623496 w 253"/>
                  <a:gd name="T53" fmla="*/ 15144644 h 210"/>
                  <a:gd name="T54" fmla="*/ 3476217 w 253"/>
                  <a:gd name="T55" fmla="*/ 15862872 h 210"/>
                  <a:gd name="T56" fmla="*/ 2377918 w 253"/>
                  <a:gd name="T57" fmla="*/ 16546462 h 210"/>
                  <a:gd name="T58" fmla="*/ 2452545 w 253"/>
                  <a:gd name="T59" fmla="*/ 15862872 h 210"/>
                  <a:gd name="T60" fmla="*/ 3867804 w 253"/>
                  <a:gd name="T61" fmla="*/ 15069535 h 210"/>
                  <a:gd name="T62" fmla="*/ 5700351 w 253"/>
                  <a:gd name="T63" fmla="*/ 14167381 h 210"/>
                  <a:gd name="T64" fmla="*/ 6647733 w 253"/>
                  <a:gd name="T65" fmla="*/ 12449511 h 210"/>
                  <a:gd name="T66" fmla="*/ 5793624 w 253"/>
                  <a:gd name="T67" fmla="*/ 12449511 h 210"/>
                  <a:gd name="T68" fmla="*/ 4660301 w 253"/>
                  <a:gd name="T69" fmla="*/ 12449511 h 210"/>
                  <a:gd name="T70" fmla="*/ 3867804 w 253"/>
                  <a:gd name="T71" fmla="*/ 11896586 h 210"/>
                  <a:gd name="T72" fmla="*/ 2070552 w 253"/>
                  <a:gd name="T73" fmla="*/ 11237202 h 210"/>
                  <a:gd name="T74" fmla="*/ 1911239 w 253"/>
                  <a:gd name="T75" fmla="*/ 9050561 h 210"/>
                  <a:gd name="T76" fmla="*/ 3397703 w 253"/>
                  <a:gd name="T77" fmla="*/ 8138790 h 210"/>
                  <a:gd name="T78" fmla="*/ 4096755 w 253"/>
                  <a:gd name="T79" fmla="*/ 7446123 h 210"/>
                  <a:gd name="T80" fmla="*/ 3245645 w 253"/>
                  <a:gd name="T81" fmla="*/ 7346044 h 210"/>
                  <a:gd name="T82" fmla="*/ 1100559 w 253"/>
                  <a:gd name="T83" fmla="*/ 7119889 h 21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253" h="210">
                    <a:moveTo>
                      <a:pt x="0" y="77"/>
                    </a:moveTo>
                    <a:cubicBezTo>
                      <a:pt x="0" y="75"/>
                      <a:pt x="22" y="67"/>
                      <a:pt x="25" y="66"/>
                    </a:cubicBezTo>
                    <a:cubicBezTo>
                      <a:pt x="27" y="65"/>
                      <a:pt x="36" y="65"/>
                      <a:pt x="35" y="66"/>
                    </a:cubicBezTo>
                    <a:cubicBezTo>
                      <a:pt x="34" y="67"/>
                      <a:pt x="33" y="71"/>
                      <a:pt x="34" y="71"/>
                    </a:cubicBezTo>
                    <a:cubicBezTo>
                      <a:pt x="36" y="72"/>
                      <a:pt x="48" y="72"/>
                      <a:pt x="49" y="71"/>
                    </a:cubicBezTo>
                    <a:cubicBezTo>
                      <a:pt x="50" y="71"/>
                      <a:pt x="50" y="66"/>
                      <a:pt x="49" y="65"/>
                    </a:cubicBezTo>
                    <a:cubicBezTo>
                      <a:pt x="48" y="64"/>
                      <a:pt x="49" y="61"/>
                      <a:pt x="47" y="61"/>
                    </a:cubicBezTo>
                    <a:cubicBezTo>
                      <a:pt x="45" y="61"/>
                      <a:pt x="34" y="60"/>
                      <a:pt x="34" y="59"/>
                    </a:cubicBezTo>
                    <a:cubicBezTo>
                      <a:pt x="34" y="58"/>
                      <a:pt x="32" y="55"/>
                      <a:pt x="32" y="54"/>
                    </a:cubicBezTo>
                    <a:cubicBezTo>
                      <a:pt x="31" y="52"/>
                      <a:pt x="24" y="49"/>
                      <a:pt x="22" y="47"/>
                    </a:cubicBezTo>
                    <a:cubicBezTo>
                      <a:pt x="19" y="45"/>
                      <a:pt x="11" y="44"/>
                      <a:pt x="12" y="42"/>
                    </a:cubicBezTo>
                    <a:cubicBezTo>
                      <a:pt x="13" y="40"/>
                      <a:pt x="14" y="34"/>
                      <a:pt x="16" y="35"/>
                    </a:cubicBezTo>
                    <a:cubicBezTo>
                      <a:pt x="17" y="36"/>
                      <a:pt x="32" y="35"/>
                      <a:pt x="35" y="33"/>
                    </a:cubicBezTo>
                    <a:cubicBezTo>
                      <a:pt x="38" y="31"/>
                      <a:pt x="38" y="25"/>
                      <a:pt x="39" y="23"/>
                    </a:cubicBezTo>
                    <a:cubicBezTo>
                      <a:pt x="39" y="21"/>
                      <a:pt x="43" y="17"/>
                      <a:pt x="45" y="16"/>
                    </a:cubicBezTo>
                    <a:cubicBezTo>
                      <a:pt x="47" y="15"/>
                      <a:pt x="55" y="15"/>
                      <a:pt x="57" y="15"/>
                    </a:cubicBezTo>
                    <a:cubicBezTo>
                      <a:pt x="60" y="14"/>
                      <a:pt x="65" y="8"/>
                      <a:pt x="68" y="8"/>
                    </a:cubicBezTo>
                    <a:cubicBezTo>
                      <a:pt x="71" y="7"/>
                      <a:pt x="68" y="9"/>
                      <a:pt x="75" y="9"/>
                    </a:cubicBezTo>
                    <a:cubicBezTo>
                      <a:pt x="82" y="9"/>
                      <a:pt x="86" y="0"/>
                      <a:pt x="88" y="1"/>
                    </a:cubicBezTo>
                    <a:cubicBezTo>
                      <a:pt x="90" y="1"/>
                      <a:pt x="92" y="2"/>
                      <a:pt x="94" y="3"/>
                    </a:cubicBezTo>
                    <a:cubicBezTo>
                      <a:pt x="97" y="3"/>
                      <a:pt x="105" y="6"/>
                      <a:pt x="109" y="6"/>
                    </a:cubicBezTo>
                    <a:cubicBezTo>
                      <a:pt x="112" y="6"/>
                      <a:pt x="117" y="6"/>
                      <a:pt x="120" y="7"/>
                    </a:cubicBezTo>
                    <a:cubicBezTo>
                      <a:pt x="123" y="7"/>
                      <a:pt x="119" y="10"/>
                      <a:pt x="120" y="12"/>
                    </a:cubicBezTo>
                    <a:cubicBezTo>
                      <a:pt x="122" y="13"/>
                      <a:pt x="122" y="12"/>
                      <a:pt x="127" y="14"/>
                    </a:cubicBezTo>
                    <a:cubicBezTo>
                      <a:pt x="132" y="15"/>
                      <a:pt x="141" y="13"/>
                      <a:pt x="144" y="13"/>
                    </a:cubicBezTo>
                    <a:cubicBezTo>
                      <a:pt x="148" y="13"/>
                      <a:pt x="155" y="16"/>
                      <a:pt x="165" y="17"/>
                    </a:cubicBezTo>
                    <a:cubicBezTo>
                      <a:pt x="175" y="19"/>
                      <a:pt x="186" y="18"/>
                      <a:pt x="190" y="18"/>
                    </a:cubicBezTo>
                    <a:cubicBezTo>
                      <a:pt x="192" y="18"/>
                      <a:pt x="201" y="21"/>
                      <a:pt x="207" y="23"/>
                    </a:cubicBezTo>
                    <a:cubicBezTo>
                      <a:pt x="208" y="135"/>
                      <a:pt x="208" y="135"/>
                      <a:pt x="208" y="135"/>
                    </a:cubicBezTo>
                    <a:cubicBezTo>
                      <a:pt x="208" y="135"/>
                      <a:pt x="214" y="137"/>
                      <a:pt x="215" y="137"/>
                    </a:cubicBezTo>
                    <a:cubicBezTo>
                      <a:pt x="216" y="138"/>
                      <a:pt x="223" y="136"/>
                      <a:pt x="225" y="137"/>
                    </a:cubicBezTo>
                    <a:cubicBezTo>
                      <a:pt x="226" y="138"/>
                      <a:pt x="224" y="142"/>
                      <a:pt x="224" y="143"/>
                    </a:cubicBezTo>
                    <a:cubicBezTo>
                      <a:pt x="224" y="143"/>
                      <a:pt x="231" y="149"/>
                      <a:pt x="232" y="150"/>
                    </a:cubicBezTo>
                    <a:cubicBezTo>
                      <a:pt x="233" y="150"/>
                      <a:pt x="236" y="153"/>
                      <a:pt x="236" y="154"/>
                    </a:cubicBezTo>
                    <a:cubicBezTo>
                      <a:pt x="236" y="154"/>
                      <a:pt x="243" y="146"/>
                      <a:pt x="244" y="146"/>
                    </a:cubicBezTo>
                    <a:cubicBezTo>
                      <a:pt x="245" y="146"/>
                      <a:pt x="248" y="144"/>
                      <a:pt x="250" y="145"/>
                    </a:cubicBezTo>
                    <a:cubicBezTo>
                      <a:pt x="252" y="145"/>
                      <a:pt x="252" y="152"/>
                      <a:pt x="252" y="152"/>
                    </a:cubicBezTo>
                    <a:cubicBezTo>
                      <a:pt x="251" y="151"/>
                      <a:pt x="251" y="151"/>
                      <a:pt x="250" y="152"/>
                    </a:cubicBezTo>
                    <a:cubicBezTo>
                      <a:pt x="249" y="153"/>
                      <a:pt x="253" y="163"/>
                      <a:pt x="251" y="163"/>
                    </a:cubicBezTo>
                    <a:cubicBezTo>
                      <a:pt x="250" y="164"/>
                      <a:pt x="245" y="156"/>
                      <a:pt x="243" y="157"/>
                    </a:cubicBezTo>
                    <a:cubicBezTo>
                      <a:pt x="239" y="158"/>
                      <a:pt x="245" y="163"/>
                      <a:pt x="245" y="164"/>
                    </a:cubicBezTo>
                    <a:cubicBezTo>
                      <a:pt x="245" y="165"/>
                      <a:pt x="241" y="164"/>
                      <a:pt x="239" y="164"/>
                    </a:cubicBezTo>
                    <a:cubicBezTo>
                      <a:pt x="238" y="164"/>
                      <a:pt x="237" y="163"/>
                      <a:pt x="235" y="161"/>
                    </a:cubicBezTo>
                    <a:cubicBezTo>
                      <a:pt x="234" y="160"/>
                      <a:pt x="229" y="157"/>
                      <a:pt x="227" y="155"/>
                    </a:cubicBezTo>
                    <a:cubicBezTo>
                      <a:pt x="225" y="153"/>
                      <a:pt x="221" y="152"/>
                      <a:pt x="219" y="151"/>
                    </a:cubicBezTo>
                    <a:cubicBezTo>
                      <a:pt x="217" y="150"/>
                      <a:pt x="221" y="147"/>
                      <a:pt x="219" y="146"/>
                    </a:cubicBezTo>
                    <a:cubicBezTo>
                      <a:pt x="217" y="144"/>
                      <a:pt x="213" y="148"/>
                      <a:pt x="212" y="148"/>
                    </a:cubicBezTo>
                    <a:cubicBezTo>
                      <a:pt x="211" y="148"/>
                      <a:pt x="207" y="148"/>
                      <a:pt x="202" y="146"/>
                    </a:cubicBezTo>
                    <a:cubicBezTo>
                      <a:pt x="197" y="143"/>
                      <a:pt x="189" y="145"/>
                      <a:pt x="187" y="145"/>
                    </a:cubicBezTo>
                    <a:cubicBezTo>
                      <a:pt x="184" y="145"/>
                      <a:pt x="182" y="144"/>
                      <a:pt x="180" y="143"/>
                    </a:cubicBezTo>
                    <a:cubicBezTo>
                      <a:pt x="179" y="142"/>
                      <a:pt x="174" y="142"/>
                      <a:pt x="172" y="142"/>
                    </a:cubicBezTo>
                    <a:cubicBezTo>
                      <a:pt x="170" y="142"/>
                      <a:pt x="167" y="144"/>
                      <a:pt x="166" y="144"/>
                    </a:cubicBezTo>
                    <a:cubicBezTo>
                      <a:pt x="166" y="144"/>
                      <a:pt x="165" y="144"/>
                      <a:pt x="164" y="142"/>
                    </a:cubicBezTo>
                    <a:cubicBezTo>
                      <a:pt x="163" y="140"/>
                      <a:pt x="168" y="138"/>
                      <a:pt x="167" y="137"/>
                    </a:cubicBezTo>
                    <a:cubicBezTo>
                      <a:pt x="167" y="135"/>
                      <a:pt x="163" y="134"/>
                      <a:pt x="162" y="134"/>
                    </a:cubicBezTo>
                    <a:cubicBezTo>
                      <a:pt x="161" y="133"/>
                      <a:pt x="155" y="134"/>
                      <a:pt x="153" y="135"/>
                    </a:cubicBezTo>
                    <a:cubicBezTo>
                      <a:pt x="152" y="136"/>
                      <a:pt x="155" y="140"/>
                      <a:pt x="155" y="142"/>
                    </a:cubicBezTo>
                    <a:cubicBezTo>
                      <a:pt x="155" y="145"/>
                      <a:pt x="151" y="146"/>
                      <a:pt x="148" y="146"/>
                    </a:cubicBezTo>
                    <a:cubicBezTo>
                      <a:pt x="146" y="146"/>
                      <a:pt x="141" y="148"/>
                      <a:pt x="139" y="149"/>
                    </a:cubicBezTo>
                    <a:cubicBezTo>
                      <a:pt x="137" y="149"/>
                      <a:pt x="131" y="154"/>
                      <a:pt x="129" y="155"/>
                    </a:cubicBezTo>
                    <a:cubicBezTo>
                      <a:pt x="126" y="155"/>
                      <a:pt x="125" y="156"/>
                      <a:pt x="124" y="155"/>
                    </a:cubicBezTo>
                    <a:cubicBezTo>
                      <a:pt x="122" y="155"/>
                      <a:pt x="127" y="151"/>
                      <a:pt x="127" y="150"/>
                    </a:cubicBezTo>
                    <a:cubicBezTo>
                      <a:pt x="127" y="150"/>
                      <a:pt x="126" y="149"/>
                      <a:pt x="126" y="148"/>
                    </a:cubicBezTo>
                    <a:cubicBezTo>
                      <a:pt x="125" y="147"/>
                      <a:pt x="128" y="139"/>
                      <a:pt x="130" y="138"/>
                    </a:cubicBezTo>
                    <a:cubicBezTo>
                      <a:pt x="131" y="138"/>
                      <a:pt x="132" y="137"/>
                      <a:pt x="134" y="136"/>
                    </a:cubicBezTo>
                    <a:cubicBezTo>
                      <a:pt x="135" y="135"/>
                      <a:pt x="138" y="135"/>
                      <a:pt x="139" y="135"/>
                    </a:cubicBezTo>
                    <a:cubicBezTo>
                      <a:pt x="140" y="135"/>
                      <a:pt x="142" y="134"/>
                      <a:pt x="141" y="133"/>
                    </a:cubicBezTo>
                    <a:cubicBezTo>
                      <a:pt x="140" y="132"/>
                      <a:pt x="139" y="129"/>
                      <a:pt x="137" y="129"/>
                    </a:cubicBezTo>
                    <a:cubicBezTo>
                      <a:pt x="135" y="129"/>
                      <a:pt x="132" y="130"/>
                      <a:pt x="130" y="131"/>
                    </a:cubicBezTo>
                    <a:cubicBezTo>
                      <a:pt x="128" y="132"/>
                      <a:pt x="124" y="136"/>
                      <a:pt x="123" y="137"/>
                    </a:cubicBezTo>
                    <a:cubicBezTo>
                      <a:pt x="122" y="138"/>
                      <a:pt x="119" y="145"/>
                      <a:pt x="117" y="146"/>
                    </a:cubicBezTo>
                    <a:cubicBezTo>
                      <a:pt x="116" y="147"/>
                      <a:pt x="113" y="148"/>
                      <a:pt x="111" y="149"/>
                    </a:cubicBezTo>
                    <a:cubicBezTo>
                      <a:pt x="108" y="150"/>
                      <a:pt x="107" y="154"/>
                      <a:pt x="106" y="155"/>
                    </a:cubicBezTo>
                    <a:cubicBezTo>
                      <a:pt x="106" y="156"/>
                      <a:pt x="115" y="154"/>
                      <a:pt x="114" y="159"/>
                    </a:cubicBezTo>
                    <a:cubicBezTo>
                      <a:pt x="113" y="160"/>
                      <a:pt x="101" y="170"/>
                      <a:pt x="99" y="170"/>
                    </a:cubicBezTo>
                    <a:cubicBezTo>
                      <a:pt x="97" y="171"/>
                      <a:pt x="94" y="172"/>
                      <a:pt x="92" y="172"/>
                    </a:cubicBezTo>
                    <a:cubicBezTo>
                      <a:pt x="90" y="173"/>
                      <a:pt x="92" y="175"/>
                      <a:pt x="91" y="176"/>
                    </a:cubicBezTo>
                    <a:cubicBezTo>
                      <a:pt x="90" y="177"/>
                      <a:pt x="87" y="180"/>
                      <a:pt x="85" y="180"/>
                    </a:cubicBezTo>
                    <a:cubicBezTo>
                      <a:pt x="84" y="181"/>
                      <a:pt x="78" y="183"/>
                      <a:pt x="77" y="183"/>
                    </a:cubicBezTo>
                    <a:cubicBezTo>
                      <a:pt x="75" y="184"/>
                      <a:pt x="78" y="187"/>
                      <a:pt x="77" y="188"/>
                    </a:cubicBezTo>
                    <a:cubicBezTo>
                      <a:pt x="76" y="189"/>
                      <a:pt x="72" y="191"/>
                      <a:pt x="71" y="191"/>
                    </a:cubicBezTo>
                    <a:cubicBezTo>
                      <a:pt x="69" y="191"/>
                      <a:pt x="63" y="194"/>
                      <a:pt x="62" y="195"/>
                    </a:cubicBezTo>
                    <a:cubicBezTo>
                      <a:pt x="60" y="196"/>
                      <a:pt x="54" y="197"/>
                      <a:pt x="52" y="197"/>
                    </a:cubicBezTo>
                    <a:cubicBezTo>
                      <a:pt x="50" y="197"/>
                      <a:pt x="45" y="200"/>
                      <a:pt x="44" y="200"/>
                    </a:cubicBezTo>
                    <a:cubicBezTo>
                      <a:pt x="43" y="200"/>
                      <a:pt x="40" y="203"/>
                      <a:pt x="39" y="204"/>
                    </a:cubicBezTo>
                    <a:cubicBezTo>
                      <a:pt x="37" y="205"/>
                      <a:pt x="33" y="205"/>
                      <a:pt x="32" y="205"/>
                    </a:cubicBezTo>
                    <a:cubicBezTo>
                      <a:pt x="31" y="205"/>
                      <a:pt x="31" y="208"/>
                      <a:pt x="30" y="209"/>
                    </a:cubicBezTo>
                    <a:cubicBezTo>
                      <a:pt x="28" y="210"/>
                      <a:pt x="25" y="208"/>
                      <a:pt x="23" y="208"/>
                    </a:cubicBezTo>
                    <a:cubicBezTo>
                      <a:pt x="22" y="207"/>
                      <a:pt x="23" y="204"/>
                      <a:pt x="25" y="203"/>
                    </a:cubicBezTo>
                    <a:cubicBezTo>
                      <a:pt x="26" y="203"/>
                      <a:pt x="29" y="200"/>
                      <a:pt x="31" y="200"/>
                    </a:cubicBezTo>
                    <a:cubicBezTo>
                      <a:pt x="32" y="200"/>
                      <a:pt x="35" y="199"/>
                      <a:pt x="36" y="199"/>
                    </a:cubicBezTo>
                    <a:cubicBezTo>
                      <a:pt x="37" y="199"/>
                      <a:pt x="39" y="197"/>
                      <a:pt x="41" y="196"/>
                    </a:cubicBezTo>
                    <a:cubicBezTo>
                      <a:pt x="43" y="195"/>
                      <a:pt x="45" y="192"/>
                      <a:pt x="49" y="190"/>
                    </a:cubicBezTo>
                    <a:cubicBezTo>
                      <a:pt x="52" y="188"/>
                      <a:pt x="56" y="190"/>
                      <a:pt x="58" y="190"/>
                    </a:cubicBezTo>
                    <a:cubicBezTo>
                      <a:pt x="60" y="190"/>
                      <a:pt x="60" y="186"/>
                      <a:pt x="61" y="185"/>
                    </a:cubicBezTo>
                    <a:cubicBezTo>
                      <a:pt x="61" y="184"/>
                      <a:pt x="70" y="180"/>
                      <a:pt x="72" y="179"/>
                    </a:cubicBezTo>
                    <a:cubicBezTo>
                      <a:pt x="73" y="179"/>
                      <a:pt x="78" y="174"/>
                      <a:pt x="79" y="172"/>
                    </a:cubicBezTo>
                    <a:cubicBezTo>
                      <a:pt x="81" y="170"/>
                      <a:pt x="81" y="167"/>
                      <a:pt x="82" y="165"/>
                    </a:cubicBezTo>
                    <a:cubicBezTo>
                      <a:pt x="82" y="163"/>
                      <a:pt x="86" y="158"/>
                      <a:pt x="84" y="157"/>
                    </a:cubicBezTo>
                    <a:cubicBezTo>
                      <a:pt x="83" y="157"/>
                      <a:pt x="79" y="160"/>
                      <a:pt x="78" y="160"/>
                    </a:cubicBezTo>
                    <a:cubicBezTo>
                      <a:pt x="77" y="161"/>
                      <a:pt x="76" y="159"/>
                      <a:pt x="76" y="158"/>
                    </a:cubicBezTo>
                    <a:cubicBezTo>
                      <a:pt x="76" y="157"/>
                      <a:pt x="74" y="157"/>
                      <a:pt x="73" y="157"/>
                    </a:cubicBezTo>
                    <a:cubicBezTo>
                      <a:pt x="71" y="158"/>
                      <a:pt x="72" y="163"/>
                      <a:pt x="71" y="164"/>
                    </a:cubicBezTo>
                    <a:cubicBezTo>
                      <a:pt x="69" y="164"/>
                      <a:pt x="66" y="159"/>
                      <a:pt x="65" y="158"/>
                    </a:cubicBezTo>
                    <a:cubicBezTo>
                      <a:pt x="64" y="157"/>
                      <a:pt x="60" y="156"/>
                      <a:pt x="59" y="157"/>
                    </a:cubicBezTo>
                    <a:cubicBezTo>
                      <a:pt x="57" y="157"/>
                      <a:pt x="49" y="162"/>
                      <a:pt x="48" y="160"/>
                    </a:cubicBezTo>
                    <a:cubicBezTo>
                      <a:pt x="48" y="158"/>
                      <a:pt x="47" y="156"/>
                      <a:pt x="47" y="155"/>
                    </a:cubicBezTo>
                    <a:cubicBezTo>
                      <a:pt x="46" y="154"/>
                      <a:pt x="50" y="151"/>
                      <a:pt x="49" y="150"/>
                    </a:cubicBezTo>
                    <a:cubicBezTo>
                      <a:pt x="48" y="149"/>
                      <a:pt x="46" y="145"/>
                      <a:pt x="44" y="145"/>
                    </a:cubicBezTo>
                    <a:cubicBezTo>
                      <a:pt x="43" y="145"/>
                      <a:pt x="35" y="148"/>
                      <a:pt x="33" y="148"/>
                    </a:cubicBezTo>
                    <a:cubicBezTo>
                      <a:pt x="30" y="148"/>
                      <a:pt x="28" y="145"/>
                      <a:pt x="26" y="142"/>
                    </a:cubicBezTo>
                    <a:cubicBezTo>
                      <a:pt x="23" y="140"/>
                      <a:pt x="23" y="138"/>
                      <a:pt x="23" y="136"/>
                    </a:cubicBezTo>
                    <a:cubicBezTo>
                      <a:pt x="23" y="133"/>
                      <a:pt x="16" y="128"/>
                      <a:pt x="16" y="125"/>
                    </a:cubicBezTo>
                    <a:cubicBezTo>
                      <a:pt x="16" y="121"/>
                      <a:pt x="23" y="115"/>
                      <a:pt x="24" y="114"/>
                    </a:cubicBezTo>
                    <a:cubicBezTo>
                      <a:pt x="26" y="113"/>
                      <a:pt x="23" y="109"/>
                      <a:pt x="28" y="107"/>
                    </a:cubicBezTo>
                    <a:cubicBezTo>
                      <a:pt x="34" y="105"/>
                      <a:pt x="35" y="110"/>
                      <a:pt x="37" y="110"/>
                    </a:cubicBezTo>
                    <a:cubicBezTo>
                      <a:pt x="40" y="111"/>
                      <a:pt x="42" y="103"/>
                      <a:pt x="43" y="103"/>
                    </a:cubicBezTo>
                    <a:cubicBezTo>
                      <a:pt x="44" y="103"/>
                      <a:pt x="46" y="103"/>
                      <a:pt x="49" y="104"/>
                    </a:cubicBezTo>
                    <a:cubicBezTo>
                      <a:pt x="51" y="105"/>
                      <a:pt x="56" y="101"/>
                      <a:pt x="57" y="99"/>
                    </a:cubicBezTo>
                    <a:cubicBezTo>
                      <a:pt x="58" y="97"/>
                      <a:pt x="50" y="94"/>
                      <a:pt x="52" y="94"/>
                    </a:cubicBezTo>
                    <a:cubicBezTo>
                      <a:pt x="54" y="93"/>
                      <a:pt x="56" y="88"/>
                      <a:pt x="55" y="87"/>
                    </a:cubicBezTo>
                    <a:cubicBezTo>
                      <a:pt x="55" y="86"/>
                      <a:pt x="49" y="87"/>
                      <a:pt x="47" y="88"/>
                    </a:cubicBezTo>
                    <a:cubicBezTo>
                      <a:pt x="46" y="88"/>
                      <a:pt x="43" y="93"/>
                      <a:pt x="41" y="93"/>
                    </a:cubicBezTo>
                    <a:cubicBezTo>
                      <a:pt x="39" y="93"/>
                      <a:pt x="39" y="92"/>
                      <a:pt x="38" y="91"/>
                    </a:cubicBezTo>
                    <a:cubicBezTo>
                      <a:pt x="36" y="89"/>
                      <a:pt x="30" y="92"/>
                      <a:pt x="27" y="92"/>
                    </a:cubicBezTo>
                    <a:cubicBezTo>
                      <a:pt x="23" y="93"/>
                      <a:pt x="17" y="91"/>
                      <a:pt x="14" y="90"/>
                    </a:cubicBezTo>
                    <a:cubicBezTo>
                      <a:pt x="12" y="89"/>
                      <a:pt x="12" y="84"/>
                      <a:pt x="10" y="82"/>
                    </a:cubicBezTo>
                    <a:cubicBezTo>
                      <a:pt x="8" y="81"/>
                      <a:pt x="0" y="79"/>
                      <a:pt x="0" y="7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5" name="Freeform 268"/>
              <p:cNvSpPr>
                <a:spLocks/>
              </p:cNvSpPr>
              <p:nvPr/>
            </p:nvSpPr>
            <p:spPr bwMode="auto">
              <a:xfrm>
                <a:off x="120" y="1629"/>
                <a:ext cx="33" cy="20"/>
              </a:xfrm>
              <a:custGeom>
                <a:avLst/>
                <a:gdLst>
                  <a:gd name="T0" fmla="*/ 735444 w 16"/>
                  <a:gd name="T1" fmla="*/ 0 h 10"/>
                  <a:gd name="T2" fmla="*/ 1092024 w 16"/>
                  <a:gd name="T3" fmla="*/ 65536 h 10"/>
                  <a:gd name="T4" fmla="*/ 1516853 w 16"/>
                  <a:gd name="T5" fmla="*/ 65536 h 10"/>
                  <a:gd name="T6" fmla="*/ 1711980 w 16"/>
                  <a:gd name="T7" fmla="*/ 262144 h 10"/>
                  <a:gd name="T8" fmla="*/ 1186773 w 16"/>
                  <a:gd name="T9" fmla="*/ 458752 h 10"/>
                  <a:gd name="T10" fmla="*/ 427676 w 16"/>
                  <a:gd name="T11" fmla="*/ 655360 h 10"/>
                  <a:gd name="T12" fmla="*/ 100537 w 16"/>
                  <a:gd name="T13" fmla="*/ 524288 h 10"/>
                  <a:gd name="T14" fmla="*/ 529466 w 16"/>
                  <a:gd name="T15" fmla="*/ 327680 h 10"/>
                  <a:gd name="T16" fmla="*/ 735444 w 16"/>
                  <a:gd name="T17" fmla="*/ 0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" h="10">
                    <a:moveTo>
                      <a:pt x="7" y="0"/>
                    </a:moveTo>
                    <a:cubicBezTo>
                      <a:pt x="8" y="0"/>
                      <a:pt x="9" y="1"/>
                      <a:pt x="10" y="1"/>
                    </a:cubicBezTo>
                    <a:cubicBezTo>
                      <a:pt x="11" y="1"/>
                      <a:pt x="14" y="1"/>
                      <a:pt x="14" y="1"/>
                    </a:cubicBezTo>
                    <a:cubicBezTo>
                      <a:pt x="16" y="2"/>
                      <a:pt x="16" y="4"/>
                      <a:pt x="16" y="4"/>
                    </a:cubicBezTo>
                    <a:cubicBezTo>
                      <a:pt x="16" y="4"/>
                      <a:pt x="12" y="7"/>
                      <a:pt x="11" y="7"/>
                    </a:cubicBezTo>
                    <a:cubicBezTo>
                      <a:pt x="9" y="8"/>
                      <a:pt x="5" y="10"/>
                      <a:pt x="4" y="10"/>
                    </a:cubicBezTo>
                    <a:cubicBezTo>
                      <a:pt x="3" y="10"/>
                      <a:pt x="0" y="9"/>
                      <a:pt x="1" y="8"/>
                    </a:cubicBezTo>
                    <a:cubicBezTo>
                      <a:pt x="2" y="7"/>
                      <a:pt x="5" y="6"/>
                      <a:pt x="5" y="5"/>
                    </a:cubicBezTo>
                    <a:cubicBezTo>
                      <a:pt x="5" y="4"/>
                      <a:pt x="5" y="0"/>
                      <a:pt x="7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6" name="Freeform 269"/>
              <p:cNvSpPr>
                <a:spLocks/>
              </p:cNvSpPr>
              <p:nvPr/>
            </p:nvSpPr>
            <p:spPr bwMode="auto">
              <a:xfrm>
                <a:off x="98" y="1647"/>
                <a:ext cx="18" cy="15"/>
              </a:xfrm>
              <a:custGeom>
                <a:avLst/>
                <a:gdLst>
                  <a:gd name="T0" fmla="*/ 589824 w 9"/>
                  <a:gd name="T1" fmla="*/ 385903 h 7"/>
                  <a:gd name="T2" fmla="*/ 262144 w 9"/>
                  <a:gd name="T3" fmla="*/ 1206270 h 7"/>
                  <a:gd name="T4" fmla="*/ 0 w 9"/>
                  <a:gd name="T5" fmla="*/ 1386041 h 7"/>
                  <a:gd name="T6" fmla="*/ 0 w 9"/>
                  <a:gd name="T7" fmla="*/ 1022959 h 7"/>
                  <a:gd name="T8" fmla="*/ 393216 w 9"/>
                  <a:gd name="T9" fmla="*/ 0 h 7"/>
                  <a:gd name="T10" fmla="*/ 589824 w 9"/>
                  <a:gd name="T11" fmla="*/ 385903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7">
                    <a:moveTo>
                      <a:pt x="9" y="2"/>
                    </a:moveTo>
                    <a:cubicBezTo>
                      <a:pt x="8" y="4"/>
                      <a:pt x="6" y="6"/>
                      <a:pt x="4" y="6"/>
                    </a:cubicBezTo>
                    <a:cubicBezTo>
                      <a:pt x="2" y="7"/>
                      <a:pt x="2" y="7"/>
                      <a:pt x="0" y="7"/>
                    </a:cubicBezTo>
                    <a:cubicBezTo>
                      <a:pt x="0" y="7"/>
                      <a:pt x="0" y="7"/>
                      <a:pt x="0" y="5"/>
                    </a:cubicBezTo>
                    <a:cubicBezTo>
                      <a:pt x="2" y="2"/>
                      <a:pt x="6" y="0"/>
                      <a:pt x="6" y="0"/>
                    </a:cubicBezTo>
                    <a:cubicBezTo>
                      <a:pt x="7" y="0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513" name="Group 270"/>
            <p:cNvGrpSpPr>
              <a:grpSpLocks/>
            </p:cNvGrpSpPr>
            <p:nvPr/>
          </p:nvGrpSpPr>
          <p:grpSpPr bwMode="auto">
            <a:xfrm>
              <a:off x="5529198" y="3334018"/>
              <a:ext cx="203714" cy="245714"/>
              <a:chOff x="2598" y="1530"/>
              <a:chExt cx="148" cy="188"/>
            </a:xfrm>
            <a:solidFill>
              <a:srgbClr val="EBEBE3"/>
            </a:solidFill>
          </p:grpSpPr>
          <p:sp>
            <p:nvSpPr>
              <p:cNvPr id="522" name="Freeform 271"/>
              <p:cNvSpPr>
                <a:spLocks/>
              </p:cNvSpPr>
              <p:nvPr/>
            </p:nvSpPr>
            <p:spPr bwMode="auto">
              <a:xfrm>
                <a:off x="2616" y="1530"/>
                <a:ext cx="130" cy="188"/>
              </a:xfrm>
              <a:custGeom>
                <a:avLst/>
                <a:gdLst>
                  <a:gd name="T0" fmla="*/ 0 w 64"/>
                  <a:gd name="T1" fmla="*/ 1158931 h 93"/>
                  <a:gd name="T2" fmla="*/ 162667 w 64"/>
                  <a:gd name="T3" fmla="*/ 931445 h 93"/>
                  <a:gd name="T4" fmla="*/ 572672 w 64"/>
                  <a:gd name="T5" fmla="*/ 1079983 h 93"/>
                  <a:gd name="T6" fmla="*/ 1000685 w 64"/>
                  <a:gd name="T7" fmla="*/ 149513 h 93"/>
                  <a:gd name="T8" fmla="*/ 2195340 w 64"/>
                  <a:gd name="T9" fmla="*/ 0 h 93"/>
                  <a:gd name="T10" fmla="*/ 2282788 w 64"/>
                  <a:gd name="T11" fmla="*/ 227933 h 93"/>
                  <a:gd name="T12" fmla="*/ 1603475 w 64"/>
                  <a:gd name="T13" fmla="*/ 688213 h 93"/>
                  <a:gd name="T14" fmla="*/ 1525885 w 64"/>
                  <a:gd name="T15" fmla="*/ 1006218 h 93"/>
                  <a:gd name="T16" fmla="*/ 2936923 w 64"/>
                  <a:gd name="T17" fmla="*/ 931445 h 93"/>
                  <a:gd name="T18" fmla="*/ 2526434 w 64"/>
                  <a:gd name="T19" fmla="*/ 1882921 h 93"/>
                  <a:gd name="T20" fmla="*/ 1933957 w 64"/>
                  <a:gd name="T21" fmla="*/ 2183191 h 93"/>
                  <a:gd name="T22" fmla="*/ 2448836 w 64"/>
                  <a:gd name="T23" fmla="*/ 2421761 h 93"/>
                  <a:gd name="T24" fmla="*/ 3014521 w 64"/>
                  <a:gd name="T25" fmla="*/ 2645059 h 93"/>
                  <a:gd name="T26" fmla="*/ 3439126 w 64"/>
                  <a:gd name="T27" fmla="*/ 3428045 h 93"/>
                  <a:gd name="T28" fmla="*/ 3928350 w 64"/>
                  <a:gd name="T29" fmla="*/ 3651277 h 93"/>
                  <a:gd name="T30" fmla="*/ 4381518 w 64"/>
                  <a:gd name="T31" fmla="*/ 4508258 h 93"/>
                  <a:gd name="T32" fmla="*/ 4208900 w 64"/>
                  <a:gd name="T33" fmla="*/ 4895603 h 93"/>
                  <a:gd name="T34" fmla="*/ 4539155 w 64"/>
                  <a:gd name="T35" fmla="*/ 4968874 h 93"/>
                  <a:gd name="T36" fmla="*/ 4799500 w 64"/>
                  <a:gd name="T37" fmla="*/ 4810500 h 93"/>
                  <a:gd name="T38" fmla="*/ 5209862 w 64"/>
                  <a:gd name="T39" fmla="*/ 4895603 h 93"/>
                  <a:gd name="T40" fmla="*/ 5131819 w 64"/>
                  <a:gd name="T41" fmla="*/ 5611428 h 93"/>
                  <a:gd name="T42" fmla="*/ 4459284 w 64"/>
                  <a:gd name="T43" fmla="*/ 5922606 h 93"/>
                  <a:gd name="T44" fmla="*/ 5131819 w 64"/>
                  <a:gd name="T45" fmla="*/ 6221880 h 93"/>
                  <a:gd name="T46" fmla="*/ 4296029 w 64"/>
                  <a:gd name="T47" fmla="*/ 6618617 h 93"/>
                  <a:gd name="T48" fmla="*/ 3099454 w 64"/>
                  <a:gd name="T49" fmla="*/ 6542337 h 93"/>
                  <a:gd name="T50" fmla="*/ 2114968 w 64"/>
                  <a:gd name="T51" fmla="*/ 6701806 h 93"/>
                  <a:gd name="T52" fmla="*/ 1856223 w 64"/>
                  <a:gd name="T53" fmla="*/ 7079393 h 93"/>
                  <a:gd name="T54" fmla="*/ 1445870 w 64"/>
                  <a:gd name="T55" fmla="*/ 6929811 h 93"/>
                  <a:gd name="T56" fmla="*/ 833530 w 64"/>
                  <a:gd name="T57" fmla="*/ 7231638 h 93"/>
                  <a:gd name="T58" fmla="*/ 410353 w 64"/>
                  <a:gd name="T59" fmla="*/ 7153285 h 93"/>
                  <a:gd name="T60" fmla="*/ 1080783 w 64"/>
                  <a:gd name="T61" fmla="*/ 6701806 h 93"/>
                  <a:gd name="T62" fmla="*/ 1445870 w 64"/>
                  <a:gd name="T63" fmla="*/ 6314411 h 93"/>
                  <a:gd name="T64" fmla="*/ 2195340 w 64"/>
                  <a:gd name="T65" fmla="*/ 6221880 h 93"/>
                  <a:gd name="T66" fmla="*/ 2448836 w 64"/>
                  <a:gd name="T67" fmla="*/ 5998775 h 93"/>
                  <a:gd name="T68" fmla="*/ 1693108 w 64"/>
                  <a:gd name="T69" fmla="*/ 5844825 h 93"/>
                  <a:gd name="T70" fmla="*/ 913833 w 64"/>
                  <a:gd name="T71" fmla="*/ 5770929 h 93"/>
                  <a:gd name="T72" fmla="*/ 1080783 w 64"/>
                  <a:gd name="T73" fmla="*/ 5538543 h 93"/>
                  <a:gd name="T74" fmla="*/ 1603475 w 64"/>
                  <a:gd name="T75" fmla="*/ 5270297 h 93"/>
                  <a:gd name="T76" fmla="*/ 1525885 w 64"/>
                  <a:gd name="T77" fmla="*/ 4895603 h 93"/>
                  <a:gd name="T78" fmla="*/ 1163240 w 64"/>
                  <a:gd name="T79" fmla="*/ 4810500 h 93"/>
                  <a:gd name="T80" fmla="*/ 1525885 w 64"/>
                  <a:gd name="T81" fmla="*/ 4508258 h 93"/>
                  <a:gd name="T82" fmla="*/ 2282788 w 64"/>
                  <a:gd name="T83" fmla="*/ 4508258 h 93"/>
                  <a:gd name="T84" fmla="*/ 2282788 w 64"/>
                  <a:gd name="T85" fmla="*/ 3879038 h 93"/>
                  <a:gd name="T86" fmla="*/ 1933957 w 64"/>
                  <a:gd name="T87" fmla="*/ 3502040 h 93"/>
                  <a:gd name="T88" fmla="*/ 2282788 w 64"/>
                  <a:gd name="T89" fmla="*/ 3199766 h 93"/>
                  <a:gd name="T90" fmla="*/ 1693108 w 64"/>
                  <a:gd name="T91" fmla="*/ 3274103 h 93"/>
                  <a:gd name="T92" fmla="*/ 1163240 w 64"/>
                  <a:gd name="T93" fmla="*/ 3502040 h 93"/>
                  <a:gd name="T94" fmla="*/ 1000685 w 64"/>
                  <a:gd name="T95" fmla="*/ 3274103 h 93"/>
                  <a:gd name="T96" fmla="*/ 1080783 w 64"/>
                  <a:gd name="T97" fmla="*/ 2967479 h 93"/>
                  <a:gd name="T98" fmla="*/ 1243783 w 64"/>
                  <a:gd name="T99" fmla="*/ 2739811 h 93"/>
                  <a:gd name="T100" fmla="*/ 1163240 w 64"/>
                  <a:gd name="T101" fmla="*/ 2342785 h 93"/>
                  <a:gd name="T102" fmla="*/ 913833 w 64"/>
                  <a:gd name="T103" fmla="*/ 2183191 h 93"/>
                  <a:gd name="T104" fmla="*/ 492645 w 64"/>
                  <a:gd name="T105" fmla="*/ 2496767 h 93"/>
                  <a:gd name="T106" fmla="*/ 410353 w 64"/>
                  <a:gd name="T107" fmla="*/ 2034075 h 93"/>
                  <a:gd name="T108" fmla="*/ 410353 w 64"/>
                  <a:gd name="T109" fmla="*/ 1467955 h 93"/>
                  <a:gd name="T110" fmla="*/ 0 w 64"/>
                  <a:gd name="T111" fmla="*/ 1158931 h 9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4" h="93">
                    <a:moveTo>
                      <a:pt x="0" y="15"/>
                    </a:moveTo>
                    <a:cubicBezTo>
                      <a:pt x="1" y="14"/>
                      <a:pt x="2" y="12"/>
                      <a:pt x="2" y="12"/>
                    </a:cubicBezTo>
                    <a:cubicBezTo>
                      <a:pt x="3" y="12"/>
                      <a:pt x="6" y="15"/>
                      <a:pt x="7" y="14"/>
                    </a:cubicBezTo>
                    <a:cubicBezTo>
                      <a:pt x="8" y="13"/>
                      <a:pt x="11" y="3"/>
                      <a:pt x="12" y="2"/>
                    </a:cubicBezTo>
                    <a:cubicBezTo>
                      <a:pt x="13" y="1"/>
                      <a:pt x="25" y="1"/>
                      <a:pt x="26" y="0"/>
                    </a:cubicBezTo>
                    <a:cubicBezTo>
                      <a:pt x="26" y="0"/>
                      <a:pt x="27" y="2"/>
                      <a:pt x="27" y="3"/>
                    </a:cubicBezTo>
                    <a:cubicBezTo>
                      <a:pt x="27" y="5"/>
                      <a:pt x="20" y="8"/>
                      <a:pt x="19" y="9"/>
                    </a:cubicBezTo>
                    <a:cubicBezTo>
                      <a:pt x="18" y="9"/>
                      <a:pt x="17" y="13"/>
                      <a:pt x="18" y="13"/>
                    </a:cubicBezTo>
                    <a:cubicBezTo>
                      <a:pt x="19" y="14"/>
                      <a:pt x="34" y="11"/>
                      <a:pt x="35" y="12"/>
                    </a:cubicBezTo>
                    <a:cubicBezTo>
                      <a:pt x="36" y="13"/>
                      <a:pt x="31" y="23"/>
                      <a:pt x="30" y="24"/>
                    </a:cubicBezTo>
                    <a:cubicBezTo>
                      <a:pt x="29" y="25"/>
                      <a:pt x="23" y="27"/>
                      <a:pt x="23" y="28"/>
                    </a:cubicBezTo>
                    <a:cubicBezTo>
                      <a:pt x="21" y="29"/>
                      <a:pt x="28" y="31"/>
                      <a:pt x="29" y="31"/>
                    </a:cubicBezTo>
                    <a:cubicBezTo>
                      <a:pt x="31" y="31"/>
                      <a:pt x="34" y="30"/>
                      <a:pt x="36" y="34"/>
                    </a:cubicBezTo>
                    <a:cubicBezTo>
                      <a:pt x="38" y="37"/>
                      <a:pt x="39" y="43"/>
                      <a:pt x="41" y="44"/>
                    </a:cubicBezTo>
                    <a:cubicBezTo>
                      <a:pt x="43" y="45"/>
                      <a:pt x="46" y="44"/>
                      <a:pt x="47" y="47"/>
                    </a:cubicBezTo>
                    <a:cubicBezTo>
                      <a:pt x="48" y="49"/>
                      <a:pt x="52" y="56"/>
                      <a:pt x="52" y="58"/>
                    </a:cubicBezTo>
                    <a:cubicBezTo>
                      <a:pt x="52" y="59"/>
                      <a:pt x="49" y="61"/>
                      <a:pt x="50" y="63"/>
                    </a:cubicBezTo>
                    <a:cubicBezTo>
                      <a:pt x="51" y="64"/>
                      <a:pt x="53" y="65"/>
                      <a:pt x="54" y="64"/>
                    </a:cubicBezTo>
                    <a:cubicBezTo>
                      <a:pt x="55" y="64"/>
                      <a:pt x="57" y="62"/>
                      <a:pt x="57" y="62"/>
                    </a:cubicBezTo>
                    <a:cubicBezTo>
                      <a:pt x="57" y="62"/>
                      <a:pt x="61" y="62"/>
                      <a:pt x="62" y="63"/>
                    </a:cubicBezTo>
                    <a:cubicBezTo>
                      <a:pt x="64" y="65"/>
                      <a:pt x="64" y="70"/>
                      <a:pt x="61" y="72"/>
                    </a:cubicBezTo>
                    <a:cubicBezTo>
                      <a:pt x="58" y="74"/>
                      <a:pt x="53" y="75"/>
                      <a:pt x="53" y="76"/>
                    </a:cubicBezTo>
                    <a:cubicBezTo>
                      <a:pt x="52" y="78"/>
                      <a:pt x="61" y="79"/>
                      <a:pt x="61" y="80"/>
                    </a:cubicBezTo>
                    <a:cubicBezTo>
                      <a:pt x="61" y="81"/>
                      <a:pt x="52" y="85"/>
                      <a:pt x="51" y="85"/>
                    </a:cubicBezTo>
                    <a:cubicBezTo>
                      <a:pt x="49" y="84"/>
                      <a:pt x="40" y="83"/>
                      <a:pt x="37" y="84"/>
                    </a:cubicBezTo>
                    <a:cubicBezTo>
                      <a:pt x="35" y="85"/>
                      <a:pt x="26" y="85"/>
                      <a:pt x="25" y="86"/>
                    </a:cubicBezTo>
                    <a:cubicBezTo>
                      <a:pt x="24" y="88"/>
                      <a:pt x="24" y="91"/>
                      <a:pt x="22" y="91"/>
                    </a:cubicBezTo>
                    <a:cubicBezTo>
                      <a:pt x="20" y="90"/>
                      <a:pt x="19" y="88"/>
                      <a:pt x="17" y="89"/>
                    </a:cubicBezTo>
                    <a:cubicBezTo>
                      <a:pt x="15" y="90"/>
                      <a:pt x="11" y="93"/>
                      <a:pt x="10" y="93"/>
                    </a:cubicBezTo>
                    <a:cubicBezTo>
                      <a:pt x="9" y="93"/>
                      <a:pt x="5" y="93"/>
                      <a:pt x="5" y="92"/>
                    </a:cubicBezTo>
                    <a:cubicBezTo>
                      <a:pt x="5" y="90"/>
                      <a:pt x="11" y="86"/>
                      <a:pt x="13" y="86"/>
                    </a:cubicBezTo>
                    <a:cubicBezTo>
                      <a:pt x="14" y="85"/>
                      <a:pt x="16" y="81"/>
                      <a:pt x="17" y="81"/>
                    </a:cubicBezTo>
                    <a:cubicBezTo>
                      <a:pt x="18" y="80"/>
                      <a:pt x="25" y="80"/>
                      <a:pt x="26" y="80"/>
                    </a:cubicBezTo>
                    <a:cubicBezTo>
                      <a:pt x="27" y="79"/>
                      <a:pt x="30" y="78"/>
                      <a:pt x="29" y="77"/>
                    </a:cubicBezTo>
                    <a:cubicBezTo>
                      <a:pt x="28" y="75"/>
                      <a:pt x="21" y="75"/>
                      <a:pt x="20" y="75"/>
                    </a:cubicBezTo>
                    <a:cubicBezTo>
                      <a:pt x="19" y="74"/>
                      <a:pt x="12" y="76"/>
                      <a:pt x="11" y="74"/>
                    </a:cubicBezTo>
                    <a:cubicBezTo>
                      <a:pt x="10" y="73"/>
                      <a:pt x="12" y="72"/>
                      <a:pt x="13" y="71"/>
                    </a:cubicBezTo>
                    <a:cubicBezTo>
                      <a:pt x="14" y="70"/>
                      <a:pt x="19" y="69"/>
                      <a:pt x="19" y="68"/>
                    </a:cubicBezTo>
                    <a:cubicBezTo>
                      <a:pt x="19" y="68"/>
                      <a:pt x="19" y="63"/>
                      <a:pt x="18" y="63"/>
                    </a:cubicBezTo>
                    <a:cubicBezTo>
                      <a:pt x="17" y="62"/>
                      <a:pt x="14" y="64"/>
                      <a:pt x="14" y="62"/>
                    </a:cubicBezTo>
                    <a:cubicBezTo>
                      <a:pt x="14" y="61"/>
                      <a:pt x="16" y="59"/>
                      <a:pt x="18" y="58"/>
                    </a:cubicBezTo>
                    <a:cubicBezTo>
                      <a:pt x="19" y="58"/>
                      <a:pt x="26" y="59"/>
                      <a:pt x="27" y="58"/>
                    </a:cubicBezTo>
                    <a:cubicBezTo>
                      <a:pt x="28" y="57"/>
                      <a:pt x="28" y="52"/>
                      <a:pt x="27" y="50"/>
                    </a:cubicBezTo>
                    <a:cubicBezTo>
                      <a:pt x="26" y="49"/>
                      <a:pt x="23" y="46"/>
                      <a:pt x="23" y="45"/>
                    </a:cubicBezTo>
                    <a:cubicBezTo>
                      <a:pt x="23" y="44"/>
                      <a:pt x="27" y="42"/>
                      <a:pt x="27" y="41"/>
                    </a:cubicBezTo>
                    <a:cubicBezTo>
                      <a:pt x="26" y="39"/>
                      <a:pt x="21" y="41"/>
                      <a:pt x="20" y="42"/>
                    </a:cubicBezTo>
                    <a:cubicBezTo>
                      <a:pt x="19" y="43"/>
                      <a:pt x="15" y="45"/>
                      <a:pt x="14" y="45"/>
                    </a:cubicBezTo>
                    <a:cubicBezTo>
                      <a:pt x="13" y="44"/>
                      <a:pt x="14" y="43"/>
                      <a:pt x="12" y="42"/>
                    </a:cubicBezTo>
                    <a:cubicBezTo>
                      <a:pt x="10" y="40"/>
                      <a:pt x="13" y="38"/>
                      <a:pt x="13" y="38"/>
                    </a:cubicBezTo>
                    <a:cubicBezTo>
                      <a:pt x="13" y="36"/>
                      <a:pt x="16" y="36"/>
                      <a:pt x="15" y="35"/>
                    </a:cubicBezTo>
                    <a:cubicBezTo>
                      <a:pt x="14" y="34"/>
                      <a:pt x="14" y="32"/>
                      <a:pt x="14" y="30"/>
                    </a:cubicBezTo>
                    <a:cubicBezTo>
                      <a:pt x="14" y="29"/>
                      <a:pt x="12" y="28"/>
                      <a:pt x="11" y="28"/>
                    </a:cubicBezTo>
                    <a:cubicBezTo>
                      <a:pt x="10" y="28"/>
                      <a:pt x="8" y="33"/>
                      <a:pt x="6" y="32"/>
                    </a:cubicBezTo>
                    <a:cubicBezTo>
                      <a:pt x="4" y="31"/>
                      <a:pt x="5" y="27"/>
                      <a:pt x="5" y="26"/>
                    </a:cubicBezTo>
                    <a:cubicBezTo>
                      <a:pt x="5" y="25"/>
                      <a:pt x="7" y="20"/>
                      <a:pt x="5" y="19"/>
                    </a:cubicBezTo>
                    <a:cubicBezTo>
                      <a:pt x="4" y="18"/>
                      <a:pt x="0" y="16"/>
                      <a:pt x="0" y="1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3" name="Freeform 272"/>
              <p:cNvSpPr>
                <a:spLocks/>
              </p:cNvSpPr>
              <p:nvPr/>
            </p:nvSpPr>
            <p:spPr bwMode="auto">
              <a:xfrm>
                <a:off x="2598" y="1530"/>
                <a:ext cx="26" cy="42"/>
              </a:xfrm>
              <a:custGeom>
                <a:avLst/>
                <a:gdLst>
                  <a:gd name="T0" fmla="*/ 0 w 13"/>
                  <a:gd name="T1" fmla="*/ 983040 h 21"/>
                  <a:gd name="T2" fmla="*/ 131072 w 13"/>
                  <a:gd name="T3" fmla="*/ 327680 h 21"/>
                  <a:gd name="T4" fmla="*/ 786432 w 13"/>
                  <a:gd name="T5" fmla="*/ 65536 h 21"/>
                  <a:gd name="T6" fmla="*/ 720896 w 13"/>
                  <a:gd name="T7" fmla="*/ 393216 h 21"/>
                  <a:gd name="T8" fmla="*/ 393216 w 13"/>
                  <a:gd name="T9" fmla="*/ 655360 h 21"/>
                  <a:gd name="T10" fmla="*/ 196608 w 13"/>
                  <a:gd name="T11" fmla="*/ 1179648 h 21"/>
                  <a:gd name="T12" fmla="*/ 65536 w 13"/>
                  <a:gd name="T13" fmla="*/ 1376256 h 21"/>
                  <a:gd name="T14" fmla="*/ 0 w 13"/>
                  <a:gd name="T15" fmla="*/ 983040 h 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0" y="15"/>
                    </a:moveTo>
                    <a:cubicBezTo>
                      <a:pt x="0" y="13"/>
                      <a:pt x="1" y="6"/>
                      <a:pt x="2" y="5"/>
                    </a:cubicBezTo>
                    <a:cubicBezTo>
                      <a:pt x="3" y="4"/>
                      <a:pt x="10" y="0"/>
                      <a:pt x="12" y="1"/>
                    </a:cubicBezTo>
                    <a:cubicBezTo>
                      <a:pt x="13" y="2"/>
                      <a:pt x="11" y="5"/>
                      <a:pt x="11" y="6"/>
                    </a:cubicBezTo>
                    <a:cubicBezTo>
                      <a:pt x="11" y="6"/>
                      <a:pt x="6" y="9"/>
                      <a:pt x="6" y="10"/>
                    </a:cubicBezTo>
                    <a:cubicBezTo>
                      <a:pt x="6" y="10"/>
                      <a:pt x="3" y="17"/>
                      <a:pt x="3" y="18"/>
                    </a:cubicBezTo>
                    <a:cubicBezTo>
                      <a:pt x="3" y="18"/>
                      <a:pt x="2" y="21"/>
                      <a:pt x="1" y="21"/>
                    </a:cubicBezTo>
                    <a:cubicBezTo>
                      <a:pt x="0" y="21"/>
                      <a:pt x="0" y="18"/>
                      <a:pt x="0" y="1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4" name="Freeform 273"/>
              <p:cNvSpPr>
                <a:spLocks/>
              </p:cNvSpPr>
              <p:nvPr/>
            </p:nvSpPr>
            <p:spPr bwMode="auto">
              <a:xfrm>
                <a:off x="2600" y="1607"/>
                <a:ext cx="35" cy="26"/>
              </a:xfrm>
              <a:custGeom>
                <a:avLst/>
                <a:gdLst>
                  <a:gd name="T0" fmla="*/ 1160402 w 17"/>
                  <a:gd name="T1" fmla="*/ 0 h 13"/>
                  <a:gd name="T2" fmla="*/ 1670840 w 17"/>
                  <a:gd name="T3" fmla="*/ 524288 h 13"/>
                  <a:gd name="T4" fmla="*/ 957839 w 17"/>
                  <a:gd name="T5" fmla="*/ 851968 h 13"/>
                  <a:gd name="T6" fmla="*/ 608796 w 17"/>
                  <a:gd name="T7" fmla="*/ 720896 h 13"/>
                  <a:gd name="T8" fmla="*/ 92995 w 17"/>
                  <a:gd name="T9" fmla="*/ 655360 h 13"/>
                  <a:gd name="T10" fmla="*/ 394182 w 17"/>
                  <a:gd name="T11" fmla="*/ 196608 h 13"/>
                  <a:gd name="T12" fmla="*/ 718630 w 17"/>
                  <a:gd name="T13" fmla="*/ 0 h 13"/>
                  <a:gd name="T14" fmla="*/ 1160402 w 17"/>
                  <a:gd name="T15" fmla="*/ 0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13">
                    <a:moveTo>
                      <a:pt x="11" y="0"/>
                    </a:moveTo>
                    <a:cubicBezTo>
                      <a:pt x="12" y="1"/>
                      <a:pt x="17" y="8"/>
                      <a:pt x="16" y="8"/>
                    </a:cubicBezTo>
                    <a:cubicBezTo>
                      <a:pt x="15" y="9"/>
                      <a:pt x="9" y="12"/>
                      <a:pt x="9" y="13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0"/>
                      <a:pt x="0" y="11"/>
                      <a:pt x="1" y="10"/>
                    </a:cubicBezTo>
                    <a:cubicBezTo>
                      <a:pt x="1" y="9"/>
                      <a:pt x="4" y="3"/>
                      <a:pt x="4" y="3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1" y="0"/>
                      <a:pt x="11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14" name="Freeform 274"/>
            <p:cNvSpPr>
              <a:spLocks/>
            </p:cNvSpPr>
            <p:nvPr/>
          </p:nvSpPr>
          <p:spPr bwMode="auto">
            <a:xfrm>
              <a:off x="5470272" y="3433782"/>
              <a:ext cx="94281" cy="107154"/>
            </a:xfrm>
            <a:custGeom>
              <a:avLst/>
              <a:gdLst>
                <a:gd name="T0" fmla="*/ 90555 w 34"/>
                <a:gd name="T1" fmla="*/ 3712 h 41"/>
                <a:gd name="T2" fmla="*/ 99698 w 34"/>
                <a:gd name="T3" fmla="*/ 6396 h 41"/>
                <a:gd name="T4" fmla="*/ 94169 w 34"/>
                <a:gd name="T5" fmla="*/ 8501 h 41"/>
                <a:gd name="T6" fmla="*/ 62872 w 34"/>
                <a:gd name="T7" fmla="*/ 8741 h 41"/>
                <a:gd name="T8" fmla="*/ 35576 w 34"/>
                <a:gd name="T9" fmla="*/ 10508 h 41"/>
                <a:gd name="T10" fmla="*/ 14071 w 34"/>
                <a:gd name="T11" fmla="*/ 10057 h 41"/>
                <a:gd name="T12" fmla="*/ 3149 w 34"/>
                <a:gd name="T13" fmla="*/ 9291 h 41"/>
                <a:gd name="T14" fmla="*/ 5187 w 34"/>
                <a:gd name="T15" fmla="*/ 8261 h 41"/>
                <a:gd name="T16" fmla="*/ 23176 w 34"/>
                <a:gd name="T17" fmla="*/ 7428 h 41"/>
                <a:gd name="T18" fmla="*/ 35576 w 34"/>
                <a:gd name="T19" fmla="*/ 6179 h 41"/>
                <a:gd name="T20" fmla="*/ 27033 w 34"/>
                <a:gd name="T21" fmla="*/ 5332 h 41"/>
                <a:gd name="T22" fmla="*/ 8543 w 34"/>
                <a:gd name="T23" fmla="*/ 5251 h 41"/>
                <a:gd name="T24" fmla="*/ 14071 w 34"/>
                <a:gd name="T25" fmla="*/ 4248 h 41"/>
                <a:gd name="T26" fmla="*/ 8543 w 34"/>
                <a:gd name="T27" fmla="*/ 3003 h 41"/>
                <a:gd name="T28" fmla="*/ 49794 w 34"/>
                <a:gd name="T29" fmla="*/ 2624 h 41"/>
                <a:gd name="T30" fmla="*/ 53068 w 34"/>
                <a:gd name="T31" fmla="*/ 1855 h 41"/>
                <a:gd name="T32" fmla="*/ 38172 w 34"/>
                <a:gd name="T33" fmla="*/ 1311 h 41"/>
                <a:gd name="T34" fmla="*/ 62872 w 34"/>
                <a:gd name="T35" fmla="*/ 0 h 41"/>
                <a:gd name="T36" fmla="*/ 78156 w 34"/>
                <a:gd name="T37" fmla="*/ 1 h 41"/>
                <a:gd name="T38" fmla="*/ 85212 w 34"/>
                <a:gd name="T39" fmla="*/ 1 h 41"/>
                <a:gd name="T40" fmla="*/ 76951 w 34"/>
                <a:gd name="T41" fmla="*/ 1061 h 41"/>
                <a:gd name="T42" fmla="*/ 68129 w 34"/>
                <a:gd name="T43" fmla="*/ 3003 h 41"/>
                <a:gd name="T44" fmla="*/ 82014 w 34"/>
                <a:gd name="T45" fmla="*/ 3088 h 41"/>
                <a:gd name="T46" fmla="*/ 90555 w 34"/>
                <a:gd name="T47" fmla="*/ 3712 h 4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4" h="41">
                  <a:moveTo>
                    <a:pt x="31" y="14"/>
                  </a:moveTo>
                  <a:cubicBezTo>
                    <a:pt x="31" y="15"/>
                    <a:pt x="34" y="24"/>
                    <a:pt x="34" y="25"/>
                  </a:cubicBezTo>
                  <a:cubicBezTo>
                    <a:pt x="34" y="27"/>
                    <a:pt x="33" y="32"/>
                    <a:pt x="32" y="33"/>
                  </a:cubicBezTo>
                  <a:cubicBezTo>
                    <a:pt x="31" y="34"/>
                    <a:pt x="25" y="33"/>
                    <a:pt x="21" y="34"/>
                  </a:cubicBezTo>
                  <a:cubicBezTo>
                    <a:pt x="18" y="35"/>
                    <a:pt x="13" y="39"/>
                    <a:pt x="12" y="40"/>
                  </a:cubicBezTo>
                  <a:cubicBezTo>
                    <a:pt x="11" y="41"/>
                    <a:pt x="6" y="40"/>
                    <a:pt x="5" y="39"/>
                  </a:cubicBezTo>
                  <a:cubicBezTo>
                    <a:pt x="4" y="39"/>
                    <a:pt x="1" y="37"/>
                    <a:pt x="1" y="36"/>
                  </a:cubicBezTo>
                  <a:cubicBezTo>
                    <a:pt x="0" y="36"/>
                    <a:pt x="0" y="32"/>
                    <a:pt x="2" y="32"/>
                  </a:cubicBezTo>
                  <a:cubicBezTo>
                    <a:pt x="3" y="32"/>
                    <a:pt x="7" y="30"/>
                    <a:pt x="8" y="28"/>
                  </a:cubicBezTo>
                  <a:cubicBezTo>
                    <a:pt x="9" y="27"/>
                    <a:pt x="12" y="25"/>
                    <a:pt x="12" y="24"/>
                  </a:cubicBezTo>
                  <a:cubicBezTo>
                    <a:pt x="13" y="21"/>
                    <a:pt x="11" y="21"/>
                    <a:pt x="9" y="21"/>
                  </a:cubicBezTo>
                  <a:cubicBezTo>
                    <a:pt x="7" y="21"/>
                    <a:pt x="3" y="22"/>
                    <a:pt x="3" y="20"/>
                  </a:cubicBezTo>
                  <a:cubicBezTo>
                    <a:pt x="2" y="19"/>
                    <a:pt x="4" y="17"/>
                    <a:pt x="5" y="16"/>
                  </a:cubicBezTo>
                  <a:cubicBezTo>
                    <a:pt x="5" y="15"/>
                    <a:pt x="2" y="11"/>
                    <a:pt x="3" y="11"/>
                  </a:cubicBezTo>
                  <a:cubicBezTo>
                    <a:pt x="4" y="11"/>
                    <a:pt x="16" y="11"/>
                    <a:pt x="17" y="10"/>
                  </a:cubicBezTo>
                  <a:cubicBezTo>
                    <a:pt x="18" y="9"/>
                    <a:pt x="18" y="8"/>
                    <a:pt x="18" y="7"/>
                  </a:cubicBezTo>
                  <a:cubicBezTo>
                    <a:pt x="18" y="7"/>
                    <a:pt x="13" y="5"/>
                    <a:pt x="13" y="5"/>
                  </a:cubicBezTo>
                  <a:cubicBezTo>
                    <a:pt x="14" y="4"/>
                    <a:pt x="19" y="0"/>
                    <a:pt x="21" y="0"/>
                  </a:cubicBezTo>
                  <a:cubicBezTo>
                    <a:pt x="22" y="0"/>
                    <a:pt x="26" y="1"/>
                    <a:pt x="27" y="1"/>
                  </a:cubicBezTo>
                  <a:cubicBezTo>
                    <a:pt x="27" y="1"/>
                    <a:pt x="28" y="1"/>
                    <a:pt x="29" y="1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3" y="10"/>
                    <a:pt x="23" y="11"/>
                  </a:cubicBezTo>
                  <a:cubicBezTo>
                    <a:pt x="22" y="12"/>
                    <a:pt x="28" y="11"/>
                    <a:pt x="28" y="12"/>
                  </a:cubicBezTo>
                  <a:lnTo>
                    <a:pt x="31" y="14"/>
                  </a:ln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15" name="Freeform 275"/>
            <p:cNvSpPr>
              <a:spLocks/>
            </p:cNvSpPr>
            <p:nvPr/>
          </p:nvSpPr>
          <p:spPr bwMode="auto">
            <a:xfrm>
              <a:off x="4163811" y="4268841"/>
              <a:ext cx="74078" cy="48034"/>
            </a:xfrm>
            <a:custGeom>
              <a:avLst/>
              <a:gdLst>
                <a:gd name="T0" fmla="*/ 32035 w 26"/>
                <a:gd name="T1" fmla="*/ 2114 h 19"/>
                <a:gd name="T2" fmla="*/ 4654 w 26"/>
                <a:gd name="T3" fmla="*/ 2893 h 19"/>
                <a:gd name="T4" fmla="*/ 0 w 26"/>
                <a:gd name="T5" fmla="*/ 2893 h 19"/>
                <a:gd name="T6" fmla="*/ 4654 w 26"/>
                <a:gd name="T7" fmla="*/ 322 h 19"/>
                <a:gd name="T8" fmla="*/ 38173 w 26"/>
                <a:gd name="T9" fmla="*/ 0 h 19"/>
                <a:gd name="T10" fmla="*/ 64600 w 26"/>
                <a:gd name="T11" fmla="*/ 441 h 19"/>
                <a:gd name="T12" fmla="*/ 80452 w 26"/>
                <a:gd name="T13" fmla="*/ 925 h 19"/>
                <a:gd name="T14" fmla="*/ 117123 w 26"/>
                <a:gd name="T15" fmla="*/ 1545 h 19"/>
                <a:gd name="T16" fmla="*/ 104954 w 26"/>
                <a:gd name="T17" fmla="*/ 2370 h 19"/>
                <a:gd name="T18" fmla="*/ 72680 w 26"/>
                <a:gd name="T19" fmla="*/ 2017 h 19"/>
                <a:gd name="T20" fmla="*/ 32035 w 26"/>
                <a:gd name="T21" fmla="*/ 2114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9">
                  <a:moveTo>
                    <a:pt x="7" y="14"/>
                  </a:moveTo>
                  <a:cubicBezTo>
                    <a:pt x="5" y="15"/>
                    <a:pt x="3" y="19"/>
                    <a:pt x="1" y="19"/>
                  </a:cubicBezTo>
                  <a:cubicBezTo>
                    <a:pt x="1" y="19"/>
                    <a:pt x="0" y="19"/>
                    <a:pt x="0" y="1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2"/>
                    <a:pt x="6" y="0"/>
                    <a:pt x="8" y="0"/>
                  </a:cubicBezTo>
                  <a:cubicBezTo>
                    <a:pt x="10" y="0"/>
                    <a:pt x="14" y="2"/>
                    <a:pt x="14" y="3"/>
                  </a:cubicBezTo>
                  <a:cubicBezTo>
                    <a:pt x="15" y="3"/>
                    <a:pt x="16" y="6"/>
                    <a:pt x="18" y="6"/>
                  </a:cubicBezTo>
                  <a:cubicBezTo>
                    <a:pt x="19" y="6"/>
                    <a:pt x="26" y="9"/>
                    <a:pt x="26" y="10"/>
                  </a:cubicBezTo>
                  <a:cubicBezTo>
                    <a:pt x="26" y="11"/>
                    <a:pt x="24" y="14"/>
                    <a:pt x="23" y="15"/>
                  </a:cubicBezTo>
                  <a:cubicBezTo>
                    <a:pt x="22" y="15"/>
                    <a:pt x="18" y="13"/>
                    <a:pt x="16" y="13"/>
                  </a:cubicBezTo>
                  <a:cubicBezTo>
                    <a:pt x="13" y="13"/>
                    <a:pt x="9" y="14"/>
                    <a:pt x="7" y="14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16" name="Freeform 276"/>
            <p:cNvSpPr>
              <a:spLocks/>
            </p:cNvSpPr>
            <p:nvPr/>
          </p:nvSpPr>
          <p:spPr bwMode="auto">
            <a:xfrm>
              <a:off x="4108253" y="4265146"/>
              <a:ext cx="58925" cy="51729"/>
            </a:xfrm>
            <a:custGeom>
              <a:avLst/>
              <a:gdLst>
                <a:gd name="T0" fmla="*/ 74422 w 21"/>
                <a:gd name="T1" fmla="*/ 603 h 20"/>
                <a:gd name="T2" fmla="*/ 70255 w 21"/>
                <a:gd name="T3" fmla="*/ 4351 h 20"/>
                <a:gd name="T4" fmla="*/ 53758 w 21"/>
                <a:gd name="T5" fmla="*/ 3921 h 20"/>
                <a:gd name="T6" fmla="*/ 21542 w 21"/>
                <a:gd name="T7" fmla="*/ 3921 h 20"/>
                <a:gd name="T8" fmla="*/ 0 w 21"/>
                <a:gd name="T9" fmla="*/ 2801 h 20"/>
                <a:gd name="T10" fmla="*/ 42153 w 21"/>
                <a:gd name="T11" fmla="*/ 2730 h 20"/>
                <a:gd name="T12" fmla="*/ 35903 w 21"/>
                <a:gd name="T13" fmla="*/ 1182 h 20"/>
                <a:gd name="T14" fmla="*/ 21542 w 21"/>
                <a:gd name="T15" fmla="*/ 431 h 20"/>
                <a:gd name="T16" fmla="*/ 47430 w 21"/>
                <a:gd name="T17" fmla="*/ 0 h 20"/>
                <a:gd name="T18" fmla="*/ 70255 w 21"/>
                <a:gd name="T19" fmla="*/ 603 h 20"/>
                <a:gd name="T20" fmla="*/ 74422 w 21"/>
                <a:gd name="T21" fmla="*/ 603 h 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1" h="20">
                  <a:moveTo>
                    <a:pt x="21" y="3"/>
                  </a:moveTo>
                  <a:cubicBezTo>
                    <a:pt x="21" y="3"/>
                    <a:pt x="20" y="20"/>
                    <a:pt x="20" y="20"/>
                  </a:cubicBezTo>
                  <a:cubicBezTo>
                    <a:pt x="20" y="20"/>
                    <a:pt x="17" y="18"/>
                    <a:pt x="15" y="18"/>
                  </a:cubicBezTo>
                  <a:cubicBezTo>
                    <a:pt x="14" y="18"/>
                    <a:pt x="8" y="18"/>
                    <a:pt x="6" y="18"/>
                  </a:cubicBezTo>
                  <a:cubicBezTo>
                    <a:pt x="3" y="18"/>
                    <a:pt x="0" y="15"/>
                    <a:pt x="0" y="13"/>
                  </a:cubicBezTo>
                  <a:cubicBezTo>
                    <a:pt x="0" y="11"/>
                    <a:pt x="12" y="14"/>
                    <a:pt x="12" y="12"/>
                  </a:cubicBezTo>
                  <a:cubicBezTo>
                    <a:pt x="12" y="10"/>
                    <a:pt x="12" y="6"/>
                    <a:pt x="10" y="6"/>
                  </a:cubicBezTo>
                  <a:cubicBezTo>
                    <a:pt x="9" y="5"/>
                    <a:pt x="6" y="3"/>
                    <a:pt x="6" y="2"/>
                  </a:cubicBezTo>
                  <a:cubicBezTo>
                    <a:pt x="7" y="1"/>
                    <a:pt x="12" y="0"/>
                    <a:pt x="13" y="0"/>
                  </a:cubicBezTo>
                  <a:cubicBezTo>
                    <a:pt x="14" y="0"/>
                    <a:pt x="18" y="3"/>
                    <a:pt x="20" y="3"/>
                  </a:cubicBezTo>
                  <a:cubicBezTo>
                    <a:pt x="20" y="3"/>
                    <a:pt x="20" y="3"/>
                    <a:pt x="21" y="3"/>
                  </a:cubicBezTo>
                  <a:close/>
                </a:path>
              </a:pathLst>
            </a:custGeom>
            <a:solidFill>
              <a:srgbClr val="EBEBE3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517" name="Group 277"/>
            <p:cNvGrpSpPr>
              <a:grpSpLocks/>
            </p:cNvGrpSpPr>
            <p:nvPr/>
          </p:nvGrpSpPr>
          <p:grpSpPr bwMode="auto">
            <a:xfrm>
              <a:off x="8458634" y="3686886"/>
              <a:ext cx="340084" cy="347326"/>
              <a:chOff x="4724" y="1801"/>
              <a:chExt cx="247" cy="267"/>
            </a:xfrm>
            <a:solidFill>
              <a:srgbClr val="EBEBE3"/>
            </a:solidFill>
          </p:grpSpPr>
          <p:sp>
            <p:nvSpPr>
              <p:cNvPr id="518" name="Freeform 278"/>
              <p:cNvSpPr>
                <a:spLocks/>
              </p:cNvSpPr>
              <p:nvPr/>
            </p:nvSpPr>
            <p:spPr bwMode="auto">
              <a:xfrm>
                <a:off x="4878" y="1801"/>
                <a:ext cx="93" cy="79"/>
              </a:xfrm>
              <a:custGeom>
                <a:avLst/>
                <a:gdLst>
                  <a:gd name="T0" fmla="*/ 74044 w 46"/>
                  <a:gd name="T1" fmla="*/ 2504201 h 39"/>
                  <a:gd name="T2" fmla="*/ 461165 w 46"/>
                  <a:gd name="T3" fmla="*/ 1856417 h 39"/>
                  <a:gd name="T4" fmla="*/ 1086414 w 46"/>
                  <a:gd name="T5" fmla="*/ 1624023 h 39"/>
                  <a:gd name="T6" fmla="*/ 1318940 w 46"/>
                  <a:gd name="T7" fmla="*/ 629290 h 39"/>
                  <a:gd name="T8" fmla="*/ 1160290 w 46"/>
                  <a:gd name="T9" fmla="*/ 153365 h 39"/>
                  <a:gd name="T10" fmla="*/ 1469521 w 46"/>
                  <a:gd name="T11" fmla="*/ 153365 h 39"/>
                  <a:gd name="T12" fmla="*/ 1963384 w 46"/>
                  <a:gd name="T13" fmla="*/ 707573 h 39"/>
                  <a:gd name="T14" fmla="*/ 2896806 w 46"/>
                  <a:gd name="T15" fmla="*/ 1036395 h 39"/>
                  <a:gd name="T16" fmla="*/ 3431516 w 46"/>
                  <a:gd name="T17" fmla="*/ 958485 h 39"/>
                  <a:gd name="T18" fmla="*/ 3358788 w 46"/>
                  <a:gd name="T19" fmla="*/ 1433289 h 39"/>
                  <a:gd name="T20" fmla="*/ 3506094 w 46"/>
                  <a:gd name="T21" fmla="*/ 1856417 h 39"/>
                  <a:gd name="T22" fmla="*/ 2666553 w 46"/>
                  <a:gd name="T23" fmla="*/ 2099364 h 39"/>
                  <a:gd name="T24" fmla="*/ 2112808 w 46"/>
                  <a:gd name="T25" fmla="*/ 2745313 h 39"/>
                  <a:gd name="T26" fmla="*/ 1237060 w 46"/>
                  <a:gd name="T27" fmla="*/ 2253289 h 39"/>
                  <a:gd name="T28" fmla="*/ 690335 w 46"/>
                  <a:gd name="T29" fmla="*/ 2423605 h 39"/>
                  <a:gd name="T30" fmla="*/ 932355 w 46"/>
                  <a:gd name="T31" fmla="*/ 2820484 h 39"/>
                  <a:gd name="T32" fmla="*/ 228103 w 46"/>
                  <a:gd name="T33" fmla="*/ 3052862 h 39"/>
                  <a:gd name="T34" fmla="*/ 74044 w 46"/>
                  <a:gd name="T35" fmla="*/ 2504201 h 3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9">
                    <a:moveTo>
                      <a:pt x="1" y="31"/>
                    </a:moveTo>
                    <a:cubicBezTo>
                      <a:pt x="0" y="29"/>
                      <a:pt x="5" y="26"/>
                      <a:pt x="6" y="23"/>
                    </a:cubicBezTo>
                    <a:cubicBezTo>
                      <a:pt x="7" y="20"/>
                      <a:pt x="13" y="23"/>
                      <a:pt x="14" y="20"/>
                    </a:cubicBezTo>
                    <a:cubicBezTo>
                      <a:pt x="15" y="16"/>
                      <a:pt x="17" y="10"/>
                      <a:pt x="17" y="8"/>
                    </a:cubicBezTo>
                    <a:cubicBezTo>
                      <a:pt x="16" y="6"/>
                      <a:pt x="13" y="4"/>
                      <a:pt x="15" y="2"/>
                    </a:cubicBezTo>
                    <a:cubicBezTo>
                      <a:pt x="17" y="0"/>
                      <a:pt x="17" y="2"/>
                      <a:pt x="19" y="2"/>
                    </a:cubicBezTo>
                    <a:cubicBezTo>
                      <a:pt x="21" y="2"/>
                      <a:pt x="25" y="9"/>
                      <a:pt x="25" y="9"/>
                    </a:cubicBezTo>
                    <a:cubicBezTo>
                      <a:pt x="30" y="12"/>
                      <a:pt x="34" y="13"/>
                      <a:pt x="37" y="13"/>
                    </a:cubicBezTo>
                    <a:cubicBezTo>
                      <a:pt x="40" y="13"/>
                      <a:pt x="42" y="11"/>
                      <a:pt x="44" y="12"/>
                    </a:cubicBezTo>
                    <a:cubicBezTo>
                      <a:pt x="45" y="12"/>
                      <a:pt x="42" y="16"/>
                      <a:pt x="43" y="18"/>
                    </a:cubicBezTo>
                    <a:cubicBezTo>
                      <a:pt x="44" y="20"/>
                      <a:pt x="45" y="22"/>
                      <a:pt x="45" y="23"/>
                    </a:cubicBezTo>
                    <a:cubicBezTo>
                      <a:pt x="46" y="24"/>
                      <a:pt x="36" y="24"/>
                      <a:pt x="34" y="26"/>
                    </a:cubicBezTo>
                    <a:cubicBezTo>
                      <a:pt x="32" y="28"/>
                      <a:pt x="29" y="34"/>
                      <a:pt x="27" y="34"/>
                    </a:cubicBezTo>
                    <a:cubicBezTo>
                      <a:pt x="26" y="34"/>
                      <a:pt x="18" y="28"/>
                      <a:pt x="16" y="28"/>
                    </a:cubicBezTo>
                    <a:cubicBezTo>
                      <a:pt x="14" y="28"/>
                      <a:pt x="9" y="28"/>
                      <a:pt x="9" y="30"/>
                    </a:cubicBezTo>
                    <a:cubicBezTo>
                      <a:pt x="8" y="31"/>
                      <a:pt x="13" y="35"/>
                      <a:pt x="12" y="35"/>
                    </a:cubicBezTo>
                    <a:cubicBezTo>
                      <a:pt x="10" y="36"/>
                      <a:pt x="5" y="37"/>
                      <a:pt x="3" y="38"/>
                    </a:cubicBezTo>
                    <a:cubicBezTo>
                      <a:pt x="1" y="39"/>
                      <a:pt x="1" y="32"/>
                      <a:pt x="1" y="3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9" name="Freeform 279"/>
              <p:cNvSpPr>
                <a:spLocks/>
              </p:cNvSpPr>
              <p:nvPr/>
            </p:nvSpPr>
            <p:spPr bwMode="auto">
              <a:xfrm>
                <a:off x="4724" y="2018"/>
                <a:ext cx="38" cy="50"/>
              </a:xfrm>
              <a:custGeom>
                <a:avLst/>
                <a:gdLst>
                  <a:gd name="T0" fmla="*/ 1048576 w 19"/>
                  <a:gd name="T1" fmla="*/ 720896 h 25"/>
                  <a:gd name="T2" fmla="*/ 851968 w 19"/>
                  <a:gd name="T3" fmla="*/ 1245184 h 25"/>
                  <a:gd name="T4" fmla="*/ 458752 w 19"/>
                  <a:gd name="T5" fmla="*/ 1638400 h 25"/>
                  <a:gd name="T6" fmla="*/ 262144 w 19"/>
                  <a:gd name="T7" fmla="*/ 1310720 h 25"/>
                  <a:gd name="T8" fmla="*/ 327680 w 19"/>
                  <a:gd name="T9" fmla="*/ 655360 h 25"/>
                  <a:gd name="T10" fmla="*/ 0 w 19"/>
                  <a:gd name="T11" fmla="*/ 327680 h 25"/>
                  <a:gd name="T12" fmla="*/ 327680 w 19"/>
                  <a:gd name="T13" fmla="*/ 0 h 25"/>
                  <a:gd name="T14" fmla="*/ 720896 w 19"/>
                  <a:gd name="T15" fmla="*/ 262144 h 25"/>
                  <a:gd name="T16" fmla="*/ 1179648 w 19"/>
                  <a:gd name="T17" fmla="*/ 393216 h 25"/>
                  <a:gd name="T18" fmla="*/ 1048576 w 19"/>
                  <a:gd name="T19" fmla="*/ 720896 h 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9" h="25">
                    <a:moveTo>
                      <a:pt x="16" y="11"/>
                    </a:moveTo>
                    <a:cubicBezTo>
                      <a:pt x="16" y="14"/>
                      <a:pt x="15" y="18"/>
                      <a:pt x="13" y="19"/>
                    </a:cubicBezTo>
                    <a:cubicBezTo>
                      <a:pt x="10" y="22"/>
                      <a:pt x="8" y="25"/>
                      <a:pt x="7" y="25"/>
                    </a:cubicBezTo>
                    <a:cubicBezTo>
                      <a:pt x="6" y="24"/>
                      <a:pt x="4" y="22"/>
                      <a:pt x="4" y="20"/>
                    </a:cubicBezTo>
                    <a:cubicBezTo>
                      <a:pt x="4" y="17"/>
                      <a:pt x="7" y="12"/>
                      <a:pt x="5" y="10"/>
                    </a:cubicBezTo>
                    <a:cubicBezTo>
                      <a:pt x="4" y="8"/>
                      <a:pt x="0" y="9"/>
                      <a:pt x="0" y="5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6" y="0"/>
                      <a:pt x="10" y="4"/>
                      <a:pt x="11" y="4"/>
                    </a:cubicBezTo>
                    <a:cubicBezTo>
                      <a:pt x="12" y="5"/>
                      <a:pt x="17" y="3"/>
                      <a:pt x="18" y="6"/>
                    </a:cubicBezTo>
                    <a:cubicBezTo>
                      <a:pt x="19" y="8"/>
                      <a:pt x="16" y="11"/>
                      <a:pt x="16" y="1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0" name="Freeform 280"/>
              <p:cNvSpPr>
                <a:spLocks/>
              </p:cNvSpPr>
              <p:nvPr/>
            </p:nvSpPr>
            <p:spPr bwMode="auto">
              <a:xfrm>
                <a:off x="4744" y="1886"/>
                <a:ext cx="172" cy="134"/>
              </a:xfrm>
              <a:custGeom>
                <a:avLst/>
                <a:gdLst>
                  <a:gd name="T0" fmla="*/ 1488249 w 85"/>
                  <a:gd name="T1" fmla="*/ 5018938 h 66"/>
                  <a:gd name="T2" fmla="*/ 230464 w 85"/>
                  <a:gd name="T3" fmla="*/ 5258276 h 66"/>
                  <a:gd name="T4" fmla="*/ 230464 w 85"/>
                  <a:gd name="T5" fmla="*/ 4929978 h 66"/>
                  <a:gd name="T6" fmla="*/ 1096668 w 85"/>
                  <a:gd name="T7" fmla="*/ 4061794 h 66"/>
                  <a:gd name="T8" fmla="*/ 2546001 w 85"/>
                  <a:gd name="T9" fmla="*/ 3984415 h 66"/>
                  <a:gd name="T10" fmla="*/ 3011516 w 85"/>
                  <a:gd name="T11" fmla="*/ 4061794 h 66"/>
                  <a:gd name="T12" fmla="*/ 3472862 w 85"/>
                  <a:gd name="T13" fmla="*/ 2908596 h 66"/>
                  <a:gd name="T14" fmla="*/ 3864039 w 85"/>
                  <a:gd name="T15" fmla="*/ 2746872 h 66"/>
                  <a:gd name="T16" fmla="*/ 4015890 w 85"/>
                  <a:gd name="T17" fmla="*/ 3160743 h 66"/>
                  <a:gd name="T18" fmla="*/ 4651210 w 85"/>
                  <a:gd name="T19" fmla="*/ 2746872 h 66"/>
                  <a:gd name="T20" fmla="*/ 5075198 w 85"/>
                  <a:gd name="T21" fmla="*/ 2261528 h 66"/>
                  <a:gd name="T22" fmla="*/ 5461935 w 85"/>
                  <a:gd name="T23" fmla="*/ 1238103 h 66"/>
                  <a:gd name="T24" fmla="*/ 5461935 w 85"/>
                  <a:gd name="T25" fmla="*/ 408012 h 66"/>
                  <a:gd name="T26" fmla="*/ 5769208 w 85"/>
                  <a:gd name="T27" fmla="*/ 77314 h 66"/>
                  <a:gd name="T28" fmla="*/ 6253754 w 85"/>
                  <a:gd name="T29" fmla="*/ 77314 h 66"/>
                  <a:gd name="T30" fmla="*/ 6485213 w 85"/>
                  <a:gd name="T31" fmla="*/ 570300 h 66"/>
                  <a:gd name="T32" fmla="*/ 6560798 w 85"/>
                  <a:gd name="T33" fmla="*/ 1761501 h 66"/>
                  <a:gd name="T34" fmla="*/ 6018847 w 85"/>
                  <a:gd name="T35" fmla="*/ 2350851 h 66"/>
                  <a:gd name="T36" fmla="*/ 5862316 w 85"/>
                  <a:gd name="T37" fmla="*/ 3315406 h 66"/>
                  <a:gd name="T38" fmla="*/ 6018847 w 85"/>
                  <a:gd name="T39" fmla="*/ 4061794 h 66"/>
                  <a:gd name="T40" fmla="*/ 5461935 w 85"/>
                  <a:gd name="T41" fmla="*/ 4671248 h 66"/>
                  <a:gd name="T42" fmla="*/ 3941493 w 85"/>
                  <a:gd name="T43" fmla="*/ 4671248 h 66"/>
                  <a:gd name="T44" fmla="*/ 3550100 w 85"/>
                  <a:gd name="T45" fmla="*/ 4671248 h 66"/>
                  <a:gd name="T46" fmla="*/ 3090518 w 85"/>
                  <a:gd name="T47" fmla="*/ 5499634 h 66"/>
                  <a:gd name="T48" fmla="*/ 3011516 w 85"/>
                  <a:gd name="T49" fmla="*/ 5499634 h 66"/>
                  <a:gd name="T50" fmla="*/ 2546001 w 85"/>
                  <a:gd name="T51" fmla="*/ 5258276 h 66"/>
                  <a:gd name="T52" fmla="*/ 2699212 w 85"/>
                  <a:gd name="T53" fmla="*/ 4852564 h 66"/>
                  <a:gd name="T54" fmla="*/ 2145718 w 85"/>
                  <a:gd name="T55" fmla="*/ 4852564 h 66"/>
                  <a:gd name="T56" fmla="*/ 1488249 w 85"/>
                  <a:gd name="T57" fmla="*/ 5018938 h 6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5" h="66">
                    <a:moveTo>
                      <a:pt x="19" y="60"/>
                    </a:moveTo>
                    <a:cubicBezTo>
                      <a:pt x="16" y="61"/>
                      <a:pt x="7" y="64"/>
                      <a:pt x="3" y="63"/>
                    </a:cubicBezTo>
                    <a:cubicBezTo>
                      <a:pt x="0" y="62"/>
                      <a:pt x="2" y="60"/>
                      <a:pt x="3" y="59"/>
                    </a:cubicBezTo>
                    <a:cubicBezTo>
                      <a:pt x="7" y="55"/>
                      <a:pt x="11" y="50"/>
                      <a:pt x="14" y="49"/>
                    </a:cubicBezTo>
                    <a:cubicBezTo>
                      <a:pt x="18" y="48"/>
                      <a:pt x="30" y="49"/>
                      <a:pt x="32" y="48"/>
                    </a:cubicBezTo>
                    <a:cubicBezTo>
                      <a:pt x="34" y="48"/>
                      <a:pt x="35" y="51"/>
                      <a:pt x="38" y="49"/>
                    </a:cubicBezTo>
                    <a:cubicBezTo>
                      <a:pt x="40" y="47"/>
                      <a:pt x="43" y="38"/>
                      <a:pt x="44" y="35"/>
                    </a:cubicBezTo>
                    <a:cubicBezTo>
                      <a:pt x="46" y="32"/>
                      <a:pt x="48" y="33"/>
                      <a:pt x="49" y="33"/>
                    </a:cubicBezTo>
                    <a:cubicBezTo>
                      <a:pt x="50" y="33"/>
                      <a:pt x="47" y="38"/>
                      <a:pt x="51" y="38"/>
                    </a:cubicBezTo>
                    <a:cubicBezTo>
                      <a:pt x="55" y="38"/>
                      <a:pt x="59" y="33"/>
                      <a:pt x="59" y="33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7" y="22"/>
                      <a:pt x="69" y="18"/>
                      <a:pt x="69" y="15"/>
                    </a:cubicBezTo>
                    <a:cubicBezTo>
                      <a:pt x="69" y="12"/>
                      <a:pt x="68" y="6"/>
                      <a:pt x="69" y="5"/>
                    </a:cubicBezTo>
                    <a:cubicBezTo>
                      <a:pt x="70" y="5"/>
                      <a:pt x="73" y="1"/>
                      <a:pt x="73" y="1"/>
                    </a:cubicBezTo>
                    <a:cubicBezTo>
                      <a:pt x="73" y="1"/>
                      <a:pt x="79" y="0"/>
                      <a:pt x="79" y="1"/>
                    </a:cubicBezTo>
                    <a:cubicBezTo>
                      <a:pt x="79" y="2"/>
                      <a:pt x="81" y="5"/>
                      <a:pt x="82" y="7"/>
                    </a:cubicBezTo>
                    <a:cubicBezTo>
                      <a:pt x="84" y="10"/>
                      <a:pt x="85" y="18"/>
                      <a:pt x="83" y="21"/>
                    </a:cubicBezTo>
                    <a:cubicBezTo>
                      <a:pt x="80" y="25"/>
                      <a:pt x="76" y="24"/>
                      <a:pt x="76" y="28"/>
                    </a:cubicBezTo>
                    <a:cubicBezTo>
                      <a:pt x="76" y="32"/>
                      <a:pt x="75" y="37"/>
                      <a:pt x="74" y="40"/>
                    </a:cubicBezTo>
                    <a:cubicBezTo>
                      <a:pt x="73" y="43"/>
                      <a:pt x="77" y="48"/>
                      <a:pt x="76" y="49"/>
                    </a:cubicBezTo>
                    <a:cubicBezTo>
                      <a:pt x="75" y="50"/>
                      <a:pt x="71" y="56"/>
                      <a:pt x="69" y="56"/>
                    </a:cubicBezTo>
                    <a:cubicBezTo>
                      <a:pt x="66" y="56"/>
                      <a:pt x="52" y="56"/>
                      <a:pt x="50" y="56"/>
                    </a:cubicBezTo>
                    <a:cubicBezTo>
                      <a:pt x="48" y="56"/>
                      <a:pt x="47" y="54"/>
                      <a:pt x="45" y="56"/>
                    </a:cubicBezTo>
                    <a:cubicBezTo>
                      <a:pt x="43" y="58"/>
                      <a:pt x="42" y="64"/>
                      <a:pt x="39" y="66"/>
                    </a:cubicBezTo>
                    <a:cubicBezTo>
                      <a:pt x="39" y="66"/>
                      <a:pt x="38" y="66"/>
                      <a:pt x="38" y="66"/>
                    </a:cubicBezTo>
                    <a:cubicBezTo>
                      <a:pt x="36" y="66"/>
                      <a:pt x="32" y="66"/>
                      <a:pt x="32" y="63"/>
                    </a:cubicBezTo>
                    <a:cubicBezTo>
                      <a:pt x="32" y="61"/>
                      <a:pt x="36" y="60"/>
                      <a:pt x="34" y="58"/>
                    </a:cubicBezTo>
                    <a:cubicBezTo>
                      <a:pt x="33" y="56"/>
                      <a:pt x="28" y="57"/>
                      <a:pt x="27" y="58"/>
                    </a:cubicBezTo>
                    <a:cubicBezTo>
                      <a:pt x="25" y="58"/>
                      <a:pt x="19" y="60"/>
                      <a:pt x="19" y="6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1" name="Freeform 281"/>
              <p:cNvSpPr>
                <a:spLocks/>
              </p:cNvSpPr>
              <p:nvPr/>
            </p:nvSpPr>
            <p:spPr bwMode="auto">
              <a:xfrm>
                <a:off x="4772" y="2016"/>
                <a:ext cx="31" cy="24"/>
              </a:xfrm>
              <a:custGeom>
                <a:avLst/>
                <a:gdLst>
                  <a:gd name="T0" fmla="*/ 102542 w 15"/>
                  <a:gd name="T1" fmla="*/ 262144 h 12"/>
                  <a:gd name="T2" fmla="*/ 1244840 w 15"/>
                  <a:gd name="T3" fmla="*/ 0 h 12"/>
                  <a:gd name="T4" fmla="*/ 1553685 w 15"/>
                  <a:gd name="T5" fmla="*/ 458752 h 12"/>
                  <a:gd name="T6" fmla="*/ 1013655 w 15"/>
                  <a:gd name="T7" fmla="*/ 393216 h 12"/>
                  <a:gd name="T8" fmla="*/ 102542 w 15"/>
                  <a:gd name="T9" fmla="*/ 786432 h 12"/>
                  <a:gd name="T10" fmla="*/ 0 w 15"/>
                  <a:gd name="T11" fmla="*/ 458752 h 12"/>
                  <a:gd name="T12" fmla="*/ 102542 w 15"/>
                  <a:gd name="T13" fmla="*/ 262144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5" h="12">
                    <a:moveTo>
                      <a:pt x="1" y="4"/>
                    </a:moveTo>
                    <a:cubicBezTo>
                      <a:pt x="1" y="3"/>
                      <a:pt x="9" y="0"/>
                      <a:pt x="11" y="0"/>
                    </a:cubicBezTo>
                    <a:cubicBezTo>
                      <a:pt x="13" y="1"/>
                      <a:pt x="15" y="7"/>
                      <a:pt x="14" y="7"/>
                    </a:cubicBezTo>
                    <a:cubicBezTo>
                      <a:pt x="13" y="8"/>
                      <a:pt x="11" y="7"/>
                      <a:pt x="9" y="6"/>
                    </a:cubicBezTo>
                    <a:cubicBezTo>
                      <a:pt x="7" y="6"/>
                      <a:pt x="3" y="12"/>
                      <a:pt x="1" y="12"/>
                    </a:cubicBezTo>
                    <a:cubicBezTo>
                      <a:pt x="0" y="12"/>
                      <a:pt x="0" y="9"/>
                      <a:pt x="0" y="7"/>
                    </a:cubicBezTo>
                    <a:cubicBezTo>
                      <a:pt x="0" y="6"/>
                      <a:pt x="1" y="4"/>
                      <a:pt x="1" y="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8021" y="0"/>
            <a:ext cx="12198350" cy="1268413"/>
          </a:xfrm>
        </p:spPr>
        <p:txBody>
          <a:bodyPr/>
          <a:lstStyle/>
          <a:p>
            <a:r>
              <a:rPr lang="en-US" dirty="0" smtClean="0"/>
              <a:t>Die </a:t>
            </a:r>
            <a:r>
              <a:rPr lang="en-US" dirty="0" err="1" smtClean="0"/>
              <a:t>Energiewelt</a:t>
            </a:r>
            <a:r>
              <a:rPr lang="en-US" dirty="0" smtClean="0"/>
              <a:t> </a:t>
            </a:r>
            <a:r>
              <a:rPr lang="en-US" dirty="0" err="1" smtClean="0"/>
              <a:t>unterliegt</a:t>
            </a:r>
            <a:r>
              <a:rPr lang="en-US" dirty="0" smtClean="0"/>
              <a:t> </a:t>
            </a:r>
            <a:r>
              <a:rPr lang="en-US" dirty="0" err="1" smtClean="0"/>
              <a:t>einem</a:t>
            </a:r>
            <a:r>
              <a:rPr lang="en-US" dirty="0" smtClean="0"/>
              <a:t> </a:t>
            </a:r>
            <a:r>
              <a:rPr lang="en-US" dirty="0" err="1" smtClean="0"/>
              <a:t>großangelegten</a:t>
            </a:r>
            <a:r>
              <a:rPr lang="en-US" dirty="0" smtClean="0"/>
              <a:t> </a:t>
            </a:r>
            <a:r>
              <a:rPr lang="en-US" dirty="0" err="1" smtClean="0"/>
              <a:t>Wandel</a:t>
            </a:r>
            <a:endParaRPr lang="en-US" dirty="0"/>
          </a:p>
        </p:txBody>
      </p:sp>
      <p:grpSp>
        <p:nvGrpSpPr>
          <p:cNvPr id="287" name="Next wave electrifiers"/>
          <p:cNvGrpSpPr/>
          <p:nvPr/>
        </p:nvGrpSpPr>
        <p:grpSpPr>
          <a:xfrm>
            <a:off x="7079176" y="3793225"/>
            <a:ext cx="1702104" cy="990248"/>
            <a:chOff x="6998966" y="3897498"/>
            <a:chExt cx="1702104" cy="990248"/>
          </a:xfrm>
        </p:grpSpPr>
        <p:grpSp>
          <p:nvGrpSpPr>
            <p:cNvPr id="12" name="Group 20"/>
            <p:cNvGrpSpPr>
              <a:grpSpLocks/>
            </p:cNvGrpSpPr>
            <p:nvPr/>
          </p:nvGrpSpPr>
          <p:grpSpPr bwMode="auto">
            <a:xfrm>
              <a:off x="8187577" y="4296553"/>
              <a:ext cx="207081" cy="264189"/>
              <a:chOff x="4527" y="2271"/>
              <a:chExt cx="150" cy="204"/>
            </a:xfrm>
          </p:grpSpPr>
          <p:sp>
            <p:nvSpPr>
              <p:cNvPr id="267" name="Freeform 21"/>
              <p:cNvSpPr>
                <a:spLocks/>
              </p:cNvSpPr>
              <p:nvPr/>
            </p:nvSpPr>
            <p:spPr bwMode="auto">
              <a:xfrm>
                <a:off x="4641" y="2364"/>
                <a:ext cx="26" cy="39"/>
              </a:xfrm>
              <a:custGeom>
                <a:avLst/>
                <a:gdLst>
                  <a:gd name="T0" fmla="*/ 196608 w 13"/>
                  <a:gd name="T1" fmla="*/ 1791141 h 19"/>
                  <a:gd name="T2" fmla="*/ 0 w 13"/>
                  <a:gd name="T3" fmla="*/ 1504413 h 19"/>
                  <a:gd name="T4" fmla="*/ 65536 w 13"/>
                  <a:gd name="T5" fmla="*/ 1101040 h 19"/>
                  <a:gd name="T6" fmla="*/ 196608 w 13"/>
                  <a:gd name="T7" fmla="*/ 782182 h 19"/>
                  <a:gd name="T8" fmla="*/ 65536 w 13"/>
                  <a:gd name="T9" fmla="*/ 185646 h 19"/>
                  <a:gd name="T10" fmla="*/ 262144 w 13"/>
                  <a:gd name="T11" fmla="*/ 185646 h 19"/>
                  <a:gd name="T12" fmla="*/ 524288 w 13"/>
                  <a:gd name="T13" fmla="*/ 90443 h 19"/>
                  <a:gd name="T14" fmla="*/ 655360 w 13"/>
                  <a:gd name="T15" fmla="*/ 588030 h 19"/>
                  <a:gd name="T16" fmla="*/ 786432 w 13"/>
                  <a:gd name="T17" fmla="*/ 1297165 h 19"/>
                  <a:gd name="T18" fmla="*/ 458752 w 13"/>
                  <a:gd name="T19" fmla="*/ 1207009 h 19"/>
                  <a:gd name="T20" fmla="*/ 458752 w 13"/>
                  <a:gd name="T21" fmla="*/ 1605531 h 19"/>
                  <a:gd name="T22" fmla="*/ 196608 w 13"/>
                  <a:gd name="T23" fmla="*/ 1791141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3" h="19">
                    <a:moveTo>
                      <a:pt x="3" y="18"/>
                    </a:moveTo>
                    <a:cubicBezTo>
                      <a:pt x="3" y="18"/>
                      <a:pt x="0" y="16"/>
                      <a:pt x="0" y="15"/>
                    </a:cubicBezTo>
                    <a:cubicBezTo>
                      <a:pt x="0" y="13"/>
                      <a:pt x="0" y="12"/>
                      <a:pt x="1" y="11"/>
                    </a:cubicBezTo>
                    <a:cubicBezTo>
                      <a:pt x="2" y="9"/>
                      <a:pt x="3" y="9"/>
                      <a:pt x="3" y="8"/>
                    </a:cubicBezTo>
                    <a:cubicBezTo>
                      <a:pt x="3" y="7"/>
                      <a:pt x="1" y="4"/>
                      <a:pt x="1" y="2"/>
                    </a:cubicBezTo>
                    <a:cubicBezTo>
                      <a:pt x="1" y="1"/>
                      <a:pt x="3" y="2"/>
                      <a:pt x="4" y="2"/>
                    </a:cubicBezTo>
                    <a:cubicBezTo>
                      <a:pt x="4" y="2"/>
                      <a:pt x="7" y="0"/>
                      <a:pt x="8" y="1"/>
                    </a:cubicBezTo>
                    <a:cubicBezTo>
                      <a:pt x="10" y="2"/>
                      <a:pt x="11" y="4"/>
                      <a:pt x="10" y="6"/>
                    </a:cubicBezTo>
                    <a:cubicBezTo>
                      <a:pt x="10" y="8"/>
                      <a:pt x="13" y="12"/>
                      <a:pt x="12" y="13"/>
                    </a:cubicBezTo>
                    <a:cubicBezTo>
                      <a:pt x="12" y="14"/>
                      <a:pt x="8" y="12"/>
                      <a:pt x="7" y="12"/>
                    </a:cubicBezTo>
                    <a:cubicBezTo>
                      <a:pt x="6" y="12"/>
                      <a:pt x="7" y="16"/>
                      <a:pt x="7" y="16"/>
                    </a:cubicBezTo>
                    <a:cubicBezTo>
                      <a:pt x="6" y="17"/>
                      <a:pt x="4" y="19"/>
                      <a:pt x="3" y="18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8" name="Freeform 22"/>
              <p:cNvSpPr>
                <a:spLocks/>
              </p:cNvSpPr>
              <p:nvPr/>
            </p:nvSpPr>
            <p:spPr bwMode="auto">
              <a:xfrm>
                <a:off x="4612" y="2388"/>
                <a:ext cx="21" cy="33"/>
              </a:xfrm>
              <a:custGeom>
                <a:avLst/>
                <a:gdLst>
                  <a:gd name="T0" fmla="*/ 0 w 10"/>
                  <a:gd name="T1" fmla="*/ 1310760 h 16"/>
                  <a:gd name="T2" fmla="*/ 127172 w 10"/>
                  <a:gd name="T3" fmla="*/ 976385 h 16"/>
                  <a:gd name="T4" fmla="*/ 420181 w 10"/>
                  <a:gd name="T5" fmla="*/ 308131 h 16"/>
                  <a:gd name="T6" fmla="*/ 1037436 w 10"/>
                  <a:gd name="T7" fmla="*/ 100537 h 16"/>
                  <a:gd name="T8" fmla="*/ 1419443 w 10"/>
                  <a:gd name="T9" fmla="*/ 100537 h 16"/>
                  <a:gd name="T10" fmla="*/ 1177739 w 10"/>
                  <a:gd name="T11" fmla="*/ 976385 h 16"/>
                  <a:gd name="T12" fmla="*/ 1037436 w 10"/>
                  <a:gd name="T13" fmla="*/ 1416845 h 16"/>
                  <a:gd name="T14" fmla="*/ 742741 w 10"/>
                  <a:gd name="T15" fmla="*/ 1711980 h 16"/>
                  <a:gd name="T16" fmla="*/ 0 w 10"/>
                  <a:gd name="T17" fmla="*/ 1310760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0" h="16">
                    <a:moveTo>
                      <a:pt x="0" y="12"/>
                    </a:moveTo>
                    <a:cubicBezTo>
                      <a:pt x="0" y="11"/>
                      <a:pt x="0" y="9"/>
                      <a:pt x="1" y="9"/>
                    </a:cubicBezTo>
                    <a:cubicBezTo>
                      <a:pt x="3" y="8"/>
                      <a:pt x="3" y="4"/>
                      <a:pt x="3" y="3"/>
                    </a:cubicBezTo>
                    <a:cubicBezTo>
                      <a:pt x="3" y="2"/>
                      <a:pt x="6" y="1"/>
                      <a:pt x="7" y="1"/>
                    </a:cubicBezTo>
                    <a:cubicBezTo>
                      <a:pt x="8" y="1"/>
                      <a:pt x="10" y="0"/>
                      <a:pt x="10" y="1"/>
                    </a:cubicBezTo>
                    <a:cubicBezTo>
                      <a:pt x="10" y="3"/>
                      <a:pt x="8" y="7"/>
                      <a:pt x="8" y="9"/>
                    </a:cubicBezTo>
                    <a:cubicBezTo>
                      <a:pt x="8" y="11"/>
                      <a:pt x="6" y="13"/>
                      <a:pt x="7" y="13"/>
                    </a:cubicBezTo>
                    <a:cubicBezTo>
                      <a:pt x="8" y="14"/>
                      <a:pt x="5" y="16"/>
                      <a:pt x="5" y="16"/>
                    </a:cubicBezTo>
                    <a:cubicBezTo>
                      <a:pt x="4" y="16"/>
                      <a:pt x="0" y="13"/>
                      <a:pt x="0" y="12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9" name="Freeform 23"/>
              <p:cNvSpPr>
                <a:spLocks/>
              </p:cNvSpPr>
              <p:nvPr/>
            </p:nvSpPr>
            <p:spPr bwMode="auto">
              <a:xfrm>
                <a:off x="4604" y="2401"/>
                <a:ext cx="73" cy="74"/>
              </a:xfrm>
              <a:custGeom>
                <a:avLst/>
                <a:gdLst>
                  <a:gd name="T0" fmla="*/ 76559 w 36"/>
                  <a:gd name="T1" fmla="*/ 1769472 h 37"/>
                  <a:gd name="T2" fmla="*/ 76559 w 36"/>
                  <a:gd name="T3" fmla="*/ 1441792 h 37"/>
                  <a:gd name="T4" fmla="*/ 314802 w 36"/>
                  <a:gd name="T5" fmla="*/ 1114112 h 37"/>
                  <a:gd name="T6" fmla="*/ 972186 w 36"/>
                  <a:gd name="T7" fmla="*/ 851968 h 37"/>
                  <a:gd name="T8" fmla="*/ 1372625 w 36"/>
                  <a:gd name="T9" fmla="*/ 1114112 h 37"/>
                  <a:gd name="T10" fmla="*/ 1811544 w 36"/>
                  <a:gd name="T11" fmla="*/ 851968 h 37"/>
                  <a:gd name="T12" fmla="*/ 2126346 w 36"/>
                  <a:gd name="T13" fmla="*/ 655360 h 37"/>
                  <a:gd name="T14" fmla="*/ 2304653 w 36"/>
                  <a:gd name="T15" fmla="*/ 131072 h 37"/>
                  <a:gd name="T16" fmla="*/ 2624816 w 36"/>
                  <a:gd name="T17" fmla="*/ 327680 h 37"/>
                  <a:gd name="T18" fmla="*/ 2783378 w 36"/>
                  <a:gd name="T19" fmla="*/ 1048576 h 37"/>
                  <a:gd name="T20" fmla="*/ 2860136 w 36"/>
                  <a:gd name="T21" fmla="*/ 1638400 h 37"/>
                  <a:gd name="T22" fmla="*/ 2624816 w 36"/>
                  <a:gd name="T23" fmla="*/ 1835008 h 37"/>
                  <a:gd name="T24" fmla="*/ 2304653 w 36"/>
                  <a:gd name="T25" fmla="*/ 1572864 h 37"/>
                  <a:gd name="T26" fmla="*/ 2126346 w 36"/>
                  <a:gd name="T27" fmla="*/ 1900544 h 37"/>
                  <a:gd name="T28" fmla="*/ 2383612 w 36"/>
                  <a:gd name="T29" fmla="*/ 2228224 h 37"/>
                  <a:gd name="T30" fmla="*/ 2049649 w 36"/>
                  <a:gd name="T31" fmla="*/ 2424832 h 37"/>
                  <a:gd name="T32" fmla="*/ 1372625 w 36"/>
                  <a:gd name="T33" fmla="*/ 2097152 h 37"/>
                  <a:gd name="T34" fmla="*/ 1372625 w 36"/>
                  <a:gd name="T35" fmla="*/ 1638400 h 37"/>
                  <a:gd name="T36" fmla="*/ 972186 w 36"/>
                  <a:gd name="T37" fmla="*/ 1376256 h 37"/>
                  <a:gd name="T38" fmla="*/ 638349 w 36"/>
                  <a:gd name="T39" fmla="*/ 1572864 h 37"/>
                  <a:gd name="T40" fmla="*/ 400523 w 36"/>
                  <a:gd name="T41" fmla="*/ 1572864 h 37"/>
                  <a:gd name="T42" fmla="*/ 76559 w 36"/>
                  <a:gd name="T43" fmla="*/ 1769472 h 3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6" h="37">
                    <a:moveTo>
                      <a:pt x="1" y="27"/>
                    </a:moveTo>
                    <a:cubicBezTo>
                      <a:pt x="0" y="26"/>
                      <a:pt x="1" y="22"/>
                      <a:pt x="1" y="22"/>
                    </a:cubicBezTo>
                    <a:cubicBezTo>
                      <a:pt x="2" y="20"/>
                      <a:pt x="3" y="17"/>
                      <a:pt x="4" y="17"/>
                    </a:cubicBezTo>
                    <a:cubicBezTo>
                      <a:pt x="6" y="17"/>
                      <a:pt x="11" y="13"/>
                      <a:pt x="12" y="13"/>
                    </a:cubicBezTo>
                    <a:cubicBezTo>
                      <a:pt x="14" y="13"/>
                      <a:pt x="15" y="18"/>
                      <a:pt x="17" y="17"/>
                    </a:cubicBezTo>
                    <a:cubicBezTo>
                      <a:pt x="19" y="17"/>
                      <a:pt x="21" y="14"/>
                      <a:pt x="22" y="13"/>
                    </a:cubicBezTo>
                    <a:cubicBezTo>
                      <a:pt x="23" y="12"/>
                      <a:pt x="26" y="11"/>
                      <a:pt x="26" y="10"/>
                    </a:cubicBezTo>
                    <a:cubicBezTo>
                      <a:pt x="26" y="9"/>
                      <a:pt x="27" y="4"/>
                      <a:pt x="28" y="2"/>
                    </a:cubicBezTo>
                    <a:cubicBezTo>
                      <a:pt x="29" y="0"/>
                      <a:pt x="31" y="3"/>
                      <a:pt x="32" y="5"/>
                    </a:cubicBezTo>
                    <a:cubicBezTo>
                      <a:pt x="32" y="7"/>
                      <a:pt x="34" y="14"/>
                      <a:pt x="34" y="16"/>
                    </a:cubicBezTo>
                    <a:cubicBezTo>
                      <a:pt x="34" y="19"/>
                      <a:pt x="36" y="24"/>
                      <a:pt x="35" y="25"/>
                    </a:cubicBezTo>
                    <a:cubicBezTo>
                      <a:pt x="34" y="26"/>
                      <a:pt x="34" y="29"/>
                      <a:pt x="32" y="28"/>
                    </a:cubicBezTo>
                    <a:cubicBezTo>
                      <a:pt x="31" y="28"/>
                      <a:pt x="28" y="23"/>
                      <a:pt x="28" y="24"/>
                    </a:cubicBezTo>
                    <a:cubicBezTo>
                      <a:pt x="27" y="25"/>
                      <a:pt x="26" y="29"/>
                      <a:pt x="26" y="29"/>
                    </a:cubicBezTo>
                    <a:cubicBezTo>
                      <a:pt x="27" y="30"/>
                      <a:pt x="29" y="34"/>
                      <a:pt x="29" y="34"/>
                    </a:cubicBezTo>
                    <a:cubicBezTo>
                      <a:pt x="28" y="35"/>
                      <a:pt x="26" y="37"/>
                      <a:pt x="25" y="37"/>
                    </a:cubicBezTo>
                    <a:cubicBezTo>
                      <a:pt x="24" y="37"/>
                      <a:pt x="17" y="34"/>
                      <a:pt x="17" y="32"/>
                    </a:cubicBezTo>
                    <a:cubicBezTo>
                      <a:pt x="16" y="30"/>
                      <a:pt x="16" y="26"/>
                      <a:pt x="17" y="25"/>
                    </a:cubicBezTo>
                    <a:cubicBezTo>
                      <a:pt x="17" y="24"/>
                      <a:pt x="13" y="21"/>
                      <a:pt x="12" y="21"/>
                    </a:cubicBezTo>
                    <a:cubicBezTo>
                      <a:pt x="11" y="21"/>
                      <a:pt x="8" y="24"/>
                      <a:pt x="8" y="24"/>
                    </a:cubicBezTo>
                    <a:cubicBezTo>
                      <a:pt x="7" y="24"/>
                      <a:pt x="5" y="23"/>
                      <a:pt x="5" y="24"/>
                    </a:cubicBezTo>
                    <a:cubicBezTo>
                      <a:pt x="4" y="25"/>
                      <a:pt x="2" y="28"/>
                      <a:pt x="1" y="27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0" name="Freeform 24"/>
              <p:cNvSpPr>
                <a:spLocks/>
              </p:cNvSpPr>
              <p:nvPr/>
            </p:nvSpPr>
            <p:spPr bwMode="auto">
              <a:xfrm>
                <a:off x="4602" y="2368"/>
                <a:ext cx="25" cy="33"/>
              </a:xfrm>
              <a:custGeom>
                <a:avLst/>
                <a:gdLst>
                  <a:gd name="T0" fmla="*/ 112440 w 12"/>
                  <a:gd name="T1" fmla="*/ 1186773 h 16"/>
                  <a:gd name="T2" fmla="*/ 112440 w 12"/>
                  <a:gd name="T3" fmla="*/ 0 h 16"/>
                  <a:gd name="T4" fmla="*/ 782208 w 12"/>
                  <a:gd name="T5" fmla="*/ 100537 h 16"/>
                  <a:gd name="T6" fmla="*/ 1389306 w 12"/>
                  <a:gd name="T7" fmla="*/ 207358 h 16"/>
                  <a:gd name="T8" fmla="*/ 1389306 w 12"/>
                  <a:gd name="T9" fmla="*/ 635520 h 16"/>
                  <a:gd name="T10" fmla="*/ 901442 w 12"/>
                  <a:gd name="T11" fmla="*/ 735444 h 16"/>
                  <a:gd name="T12" fmla="*/ 112440 w 12"/>
                  <a:gd name="T13" fmla="*/ 1186773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6">
                    <a:moveTo>
                      <a:pt x="1" y="11"/>
                    </a:moveTo>
                    <a:cubicBezTo>
                      <a:pt x="1" y="10"/>
                      <a:pt x="0" y="1"/>
                      <a:pt x="1" y="0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9" y="2"/>
                      <a:pt x="10" y="1"/>
                      <a:pt x="11" y="2"/>
                    </a:cubicBezTo>
                    <a:cubicBezTo>
                      <a:pt x="12" y="2"/>
                      <a:pt x="11" y="5"/>
                      <a:pt x="11" y="6"/>
                    </a:cubicBezTo>
                    <a:cubicBezTo>
                      <a:pt x="11" y="6"/>
                      <a:pt x="9" y="7"/>
                      <a:pt x="7" y="7"/>
                    </a:cubicBezTo>
                    <a:cubicBezTo>
                      <a:pt x="7" y="7"/>
                      <a:pt x="0" y="16"/>
                      <a:pt x="1" y="11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1" name="Freeform 25"/>
              <p:cNvSpPr>
                <a:spLocks/>
              </p:cNvSpPr>
              <p:nvPr/>
            </p:nvSpPr>
            <p:spPr bwMode="auto">
              <a:xfrm>
                <a:off x="4572" y="2271"/>
                <a:ext cx="69" cy="91"/>
              </a:xfrm>
              <a:custGeom>
                <a:avLst/>
                <a:gdLst>
                  <a:gd name="T0" fmla="*/ 0 w 34"/>
                  <a:gd name="T1" fmla="*/ 1473270 h 45"/>
                  <a:gd name="T2" fmla="*/ 403916 w 34"/>
                  <a:gd name="T3" fmla="*/ 1398561 h 45"/>
                  <a:gd name="T4" fmla="*/ 317587 w 34"/>
                  <a:gd name="T5" fmla="*/ 538413 h 45"/>
                  <a:gd name="T6" fmla="*/ 483270 w 34"/>
                  <a:gd name="T7" fmla="*/ 74137 h 45"/>
                  <a:gd name="T8" fmla="*/ 1068021 w 34"/>
                  <a:gd name="T9" fmla="*/ 149921 h 45"/>
                  <a:gd name="T10" fmla="*/ 1502536 w 34"/>
                  <a:gd name="T11" fmla="*/ 74137 h 45"/>
                  <a:gd name="T12" fmla="*/ 1663533 w 34"/>
                  <a:gd name="T13" fmla="*/ 1088791 h 45"/>
                  <a:gd name="T14" fmla="*/ 1068021 w 34"/>
                  <a:gd name="T15" fmla="*/ 1551764 h 45"/>
                  <a:gd name="T16" fmla="*/ 1068021 w 34"/>
                  <a:gd name="T17" fmla="*/ 2278096 h 45"/>
                  <a:gd name="T18" fmla="*/ 1425400 w 34"/>
                  <a:gd name="T19" fmla="*/ 2581007 h 45"/>
                  <a:gd name="T20" fmla="*/ 1913926 w 34"/>
                  <a:gd name="T21" fmla="*/ 2507139 h 45"/>
                  <a:gd name="T22" fmla="*/ 2731546 w 34"/>
                  <a:gd name="T23" fmla="*/ 2828201 h 45"/>
                  <a:gd name="T24" fmla="*/ 2654442 w 34"/>
                  <a:gd name="T25" fmla="*/ 3138012 h 45"/>
                  <a:gd name="T26" fmla="*/ 2494500 w 34"/>
                  <a:gd name="T27" fmla="*/ 3441155 h 45"/>
                  <a:gd name="T28" fmla="*/ 1752764 w 34"/>
                  <a:gd name="T29" fmla="*/ 2979279 h 45"/>
                  <a:gd name="T30" fmla="*/ 980754 w 34"/>
                  <a:gd name="T31" fmla="*/ 3063875 h 45"/>
                  <a:gd name="T32" fmla="*/ 403916 w 34"/>
                  <a:gd name="T33" fmla="*/ 2904611 h 45"/>
                  <a:gd name="T34" fmla="*/ 565098 w 34"/>
                  <a:gd name="T35" fmla="*/ 2357226 h 45"/>
                  <a:gd name="T36" fmla="*/ 156492 w 34"/>
                  <a:gd name="T37" fmla="*/ 2278096 h 45"/>
                  <a:gd name="T38" fmla="*/ 0 w 34"/>
                  <a:gd name="T39" fmla="*/ 1473270 h 4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34" h="45">
                    <a:moveTo>
                      <a:pt x="0" y="19"/>
                    </a:moveTo>
                    <a:cubicBezTo>
                      <a:pt x="0" y="16"/>
                      <a:pt x="5" y="20"/>
                      <a:pt x="5" y="18"/>
                    </a:cubicBezTo>
                    <a:cubicBezTo>
                      <a:pt x="5" y="16"/>
                      <a:pt x="4" y="10"/>
                      <a:pt x="4" y="7"/>
                    </a:cubicBezTo>
                    <a:cubicBezTo>
                      <a:pt x="4" y="5"/>
                      <a:pt x="5" y="1"/>
                      <a:pt x="6" y="1"/>
                    </a:cubicBezTo>
                    <a:cubicBezTo>
                      <a:pt x="7" y="0"/>
                      <a:pt x="12" y="2"/>
                      <a:pt x="13" y="2"/>
                    </a:cubicBezTo>
                    <a:cubicBezTo>
                      <a:pt x="15" y="2"/>
                      <a:pt x="18" y="0"/>
                      <a:pt x="18" y="1"/>
                    </a:cubicBezTo>
                    <a:cubicBezTo>
                      <a:pt x="19" y="2"/>
                      <a:pt x="21" y="13"/>
                      <a:pt x="20" y="14"/>
                    </a:cubicBezTo>
                    <a:cubicBezTo>
                      <a:pt x="19" y="16"/>
                      <a:pt x="14" y="18"/>
                      <a:pt x="13" y="20"/>
                    </a:cubicBezTo>
                    <a:cubicBezTo>
                      <a:pt x="12" y="22"/>
                      <a:pt x="13" y="27"/>
                      <a:pt x="13" y="29"/>
                    </a:cubicBezTo>
                    <a:cubicBezTo>
                      <a:pt x="13" y="31"/>
                      <a:pt x="16" y="33"/>
                      <a:pt x="17" y="33"/>
                    </a:cubicBezTo>
                    <a:cubicBezTo>
                      <a:pt x="18" y="33"/>
                      <a:pt x="22" y="31"/>
                      <a:pt x="23" y="32"/>
                    </a:cubicBezTo>
                    <a:cubicBezTo>
                      <a:pt x="25" y="33"/>
                      <a:pt x="33" y="35"/>
                      <a:pt x="33" y="36"/>
                    </a:cubicBezTo>
                    <a:cubicBezTo>
                      <a:pt x="34" y="37"/>
                      <a:pt x="32" y="39"/>
                      <a:pt x="32" y="40"/>
                    </a:cubicBezTo>
                    <a:cubicBezTo>
                      <a:pt x="32" y="41"/>
                      <a:pt x="32" y="45"/>
                      <a:pt x="30" y="44"/>
                    </a:cubicBezTo>
                    <a:cubicBezTo>
                      <a:pt x="28" y="43"/>
                      <a:pt x="23" y="38"/>
                      <a:pt x="21" y="38"/>
                    </a:cubicBezTo>
                    <a:cubicBezTo>
                      <a:pt x="20" y="39"/>
                      <a:pt x="15" y="39"/>
                      <a:pt x="12" y="39"/>
                    </a:cubicBezTo>
                    <a:cubicBezTo>
                      <a:pt x="9" y="39"/>
                      <a:pt x="5" y="38"/>
                      <a:pt x="5" y="37"/>
                    </a:cubicBezTo>
                    <a:cubicBezTo>
                      <a:pt x="4" y="35"/>
                      <a:pt x="10" y="32"/>
                      <a:pt x="7" y="30"/>
                    </a:cubicBezTo>
                    <a:cubicBezTo>
                      <a:pt x="4" y="28"/>
                      <a:pt x="2" y="31"/>
                      <a:pt x="2" y="29"/>
                    </a:cubicBezTo>
                    <a:cubicBezTo>
                      <a:pt x="1" y="27"/>
                      <a:pt x="0" y="23"/>
                      <a:pt x="0" y="19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2" name="Freeform 26"/>
              <p:cNvSpPr>
                <a:spLocks/>
              </p:cNvSpPr>
              <p:nvPr/>
            </p:nvSpPr>
            <p:spPr bwMode="auto">
              <a:xfrm>
                <a:off x="4572" y="2354"/>
                <a:ext cx="22" cy="24"/>
              </a:xfrm>
              <a:custGeom>
                <a:avLst/>
                <a:gdLst>
                  <a:gd name="T0" fmla="*/ 196608 w 11"/>
                  <a:gd name="T1" fmla="*/ 131072 h 12"/>
                  <a:gd name="T2" fmla="*/ 655360 w 11"/>
                  <a:gd name="T3" fmla="*/ 327680 h 12"/>
                  <a:gd name="T4" fmla="*/ 589824 w 11"/>
                  <a:gd name="T5" fmla="*/ 786432 h 12"/>
                  <a:gd name="T6" fmla="*/ 196608 w 11"/>
                  <a:gd name="T7" fmla="*/ 13107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1" h="12">
                    <a:moveTo>
                      <a:pt x="3" y="2"/>
                    </a:moveTo>
                    <a:cubicBezTo>
                      <a:pt x="4" y="0"/>
                      <a:pt x="10" y="4"/>
                      <a:pt x="10" y="5"/>
                    </a:cubicBezTo>
                    <a:cubicBezTo>
                      <a:pt x="9" y="5"/>
                      <a:pt x="11" y="11"/>
                      <a:pt x="9" y="12"/>
                    </a:cubicBezTo>
                    <a:cubicBezTo>
                      <a:pt x="8" y="12"/>
                      <a:pt x="0" y="4"/>
                      <a:pt x="3" y="2"/>
                    </a:cubicBezTo>
                    <a:close/>
                  </a:path>
                </a:pathLst>
              </a:custGeom>
              <a:solidFill>
                <a:srgbClr val="FFFF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3" name="Freeform 27"/>
              <p:cNvSpPr>
                <a:spLocks/>
              </p:cNvSpPr>
              <p:nvPr/>
            </p:nvSpPr>
            <p:spPr bwMode="auto">
              <a:xfrm>
                <a:off x="4527" y="2382"/>
                <a:ext cx="45" cy="55"/>
              </a:xfrm>
              <a:custGeom>
                <a:avLst/>
                <a:gdLst>
                  <a:gd name="T0" fmla="*/ 744535 w 22"/>
                  <a:gd name="T1" fmla="*/ 2037004 h 27"/>
                  <a:gd name="T2" fmla="*/ 177953 w 22"/>
                  <a:gd name="T3" fmla="*/ 2288204 h 27"/>
                  <a:gd name="T4" fmla="*/ 559244 w 22"/>
                  <a:gd name="T5" fmla="*/ 1505482 h 27"/>
                  <a:gd name="T6" fmla="*/ 1241016 w 22"/>
                  <a:gd name="T7" fmla="*/ 871968 h 27"/>
                  <a:gd name="T8" fmla="*/ 1615177 w 22"/>
                  <a:gd name="T9" fmla="*/ 428057 h 27"/>
                  <a:gd name="T10" fmla="*/ 1796175 w 22"/>
                  <a:gd name="T11" fmla="*/ 0 h 27"/>
                  <a:gd name="T12" fmla="*/ 2066588 w 22"/>
                  <a:gd name="T13" fmla="*/ 251063 h 27"/>
                  <a:gd name="T14" fmla="*/ 2066588 w 22"/>
                  <a:gd name="T15" fmla="*/ 871968 h 27"/>
                  <a:gd name="T16" fmla="*/ 1416563 w 22"/>
                  <a:gd name="T17" fmla="*/ 1413966 h 27"/>
                  <a:gd name="T18" fmla="*/ 744535 w 22"/>
                  <a:gd name="T19" fmla="*/ 2037004 h 2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" h="27">
                    <a:moveTo>
                      <a:pt x="8" y="23"/>
                    </a:moveTo>
                    <a:cubicBezTo>
                      <a:pt x="7" y="24"/>
                      <a:pt x="3" y="27"/>
                      <a:pt x="2" y="26"/>
                    </a:cubicBezTo>
                    <a:cubicBezTo>
                      <a:pt x="0" y="25"/>
                      <a:pt x="3" y="19"/>
                      <a:pt x="6" y="17"/>
                    </a:cubicBezTo>
                    <a:cubicBezTo>
                      <a:pt x="9" y="16"/>
                      <a:pt x="10" y="12"/>
                      <a:pt x="13" y="10"/>
                    </a:cubicBezTo>
                    <a:cubicBezTo>
                      <a:pt x="16" y="8"/>
                      <a:pt x="17" y="7"/>
                      <a:pt x="17" y="5"/>
                    </a:cubicBezTo>
                    <a:cubicBezTo>
                      <a:pt x="17" y="4"/>
                      <a:pt x="17" y="0"/>
                      <a:pt x="19" y="0"/>
                    </a:cubicBezTo>
                    <a:cubicBezTo>
                      <a:pt x="21" y="0"/>
                      <a:pt x="22" y="1"/>
                      <a:pt x="22" y="3"/>
                    </a:cubicBezTo>
                    <a:cubicBezTo>
                      <a:pt x="22" y="4"/>
                      <a:pt x="22" y="9"/>
                      <a:pt x="22" y="10"/>
                    </a:cubicBezTo>
                    <a:cubicBezTo>
                      <a:pt x="20" y="11"/>
                      <a:pt x="16" y="14"/>
                      <a:pt x="15" y="16"/>
                    </a:cubicBezTo>
                    <a:cubicBezTo>
                      <a:pt x="13" y="17"/>
                      <a:pt x="10" y="22"/>
                      <a:pt x="8" y="23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3" name="Freeform 28"/>
            <p:cNvSpPr>
              <a:spLocks/>
            </p:cNvSpPr>
            <p:nvPr/>
          </p:nvSpPr>
          <p:spPr bwMode="auto">
            <a:xfrm>
              <a:off x="7879481" y="4200485"/>
              <a:ext cx="151523" cy="308529"/>
            </a:xfrm>
            <a:custGeom>
              <a:avLst/>
              <a:gdLst>
                <a:gd name="T0" fmla="*/ 4742 w 55"/>
                <a:gd name="T1" fmla="*/ 2628 h 118"/>
                <a:gd name="T2" fmla="*/ 0 w 55"/>
                <a:gd name="T3" fmla="*/ 1528 h 118"/>
                <a:gd name="T4" fmla="*/ 10582 w 55"/>
                <a:gd name="T5" fmla="*/ 1312 h 118"/>
                <a:gd name="T6" fmla="*/ 55640 w 55"/>
                <a:gd name="T7" fmla="*/ 0 h 118"/>
                <a:gd name="T8" fmla="*/ 69398 w 55"/>
                <a:gd name="T9" fmla="*/ 539 h 118"/>
                <a:gd name="T10" fmla="*/ 86984 w 55"/>
                <a:gd name="T11" fmla="*/ 763 h 118"/>
                <a:gd name="T12" fmla="*/ 83536 w 55"/>
                <a:gd name="T13" fmla="*/ 2281 h 118"/>
                <a:gd name="T14" fmla="*/ 111814 w 55"/>
                <a:gd name="T15" fmla="*/ 3719 h 118"/>
                <a:gd name="T16" fmla="*/ 98874 w 55"/>
                <a:gd name="T17" fmla="*/ 4568 h 118"/>
                <a:gd name="T18" fmla="*/ 83536 w 55"/>
                <a:gd name="T19" fmla="*/ 5702 h 118"/>
                <a:gd name="T20" fmla="*/ 69398 w 55"/>
                <a:gd name="T21" fmla="*/ 7674 h 118"/>
                <a:gd name="T22" fmla="*/ 75872 w 55"/>
                <a:gd name="T23" fmla="*/ 9884 h 118"/>
                <a:gd name="T24" fmla="*/ 86984 w 55"/>
                <a:gd name="T25" fmla="*/ 11189 h 118"/>
                <a:gd name="T26" fmla="*/ 99524 w 55"/>
                <a:gd name="T27" fmla="*/ 12730 h 118"/>
                <a:gd name="T28" fmla="*/ 127327 w 55"/>
                <a:gd name="T29" fmla="*/ 14958 h 118"/>
                <a:gd name="T30" fmla="*/ 142337 w 55"/>
                <a:gd name="T31" fmla="*/ 18652 h 118"/>
                <a:gd name="T32" fmla="*/ 142337 w 55"/>
                <a:gd name="T33" fmla="*/ 22876 h 118"/>
                <a:gd name="T34" fmla="*/ 131973 w 55"/>
                <a:gd name="T35" fmla="*/ 24846 h 118"/>
                <a:gd name="T36" fmla="*/ 91713 w 55"/>
                <a:gd name="T37" fmla="*/ 26397 h 118"/>
                <a:gd name="T38" fmla="*/ 82213 w 55"/>
                <a:gd name="T39" fmla="*/ 28580 h 118"/>
                <a:gd name="T40" fmla="*/ 63332 w 55"/>
                <a:gd name="T41" fmla="*/ 29524 h 118"/>
                <a:gd name="T42" fmla="*/ 45229 w 55"/>
                <a:gd name="T43" fmla="*/ 30432 h 118"/>
                <a:gd name="T44" fmla="*/ 46366 w 55"/>
                <a:gd name="T45" fmla="*/ 26870 h 118"/>
                <a:gd name="T46" fmla="*/ 40631 w 55"/>
                <a:gd name="T47" fmla="*/ 26397 h 118"/>
                <a:gd name="T48" fmla="*/ 53157 w 55"/>
                <a:gd name="T49" fmla="*/ 25497 h 118"/>
                <a:gd name="T50" fmla="*/ 74011 w 55"/>
                <a:gd name="T51" fmla="*/ 24846 h 118"/>
                <a:gd name="T52" fmla="*/ 75872 w 55"/>
                <a:gd name="T53" fmla="*/ 23301 h 118"/>
                <a:gd name="T54" fmla="*/ 99524 w 55"/>
                <a:gd name="T55" fmla="*/ 22044 h 118"/>
                <a:gd name="T56" fmla="*/ 99524 w 55"/>
                <a:gd name="T57" fmla="*/ 19310 h 118"/>
                <a:gd name="T58" fmla="*/ 99524 w 55"/>
                <a:gd name="T59" fmla="*/ 16164 h 118"/>
                <a:gd name="T60" fmla="*/ 83536 w 55"/>
                <a:gd name="T61" fmla="*/ 13988 h 118"/>
                <a:gd name="T62" fmla="*/ 69398 w 55"/>
                <a:gd name="T63" fmla="*/ 11857 h 118"/>
                <a:gd name="T64" fmla="*/ 46366 w 55"/>
                <a:gd name="T65" fmla="*/ 9641 h 118"/>
                <a:gd name="T66" fmla="*/ 28335 w 55"/>
                <a:gd name="T67" fmla="*/ 8677 h 118"/>
                <a:gd name="T68" fmla="*/ 34002 w 55"/>
                <a:gd name="T69" fmla="*/ 7448 h 118"/>
                <a:gd name="T70" fmla="*/ 46366 w 55"/>
                <a:gd name="T71" fmla="*/ 6984 h 118"/>
                <a:gd name="T72" fmla="*/ 53157 w 55"/>
                <a:gd name="T73" fmla="*/ 6131 h 118"/>
                <a:gd name="T74" fmla="*/ 37168 w 55"/>
                <a:gd name="T75" fmla="*/ 4568 h 118"/>
                <a:gd name="T76" fmla="*/ 25917 w 55"/>
                <a:gd name="T77" fmla="*/ 5263 h 118"/>
                <a:gd name="T78" fmla="*/ 7760 w 55"/>
                <a:gd name="T79" fmla="*/ 4376 h 118"/>
                <a:gd name="T80" fmla="*/ 4742 w 55"/>
                <a:gd name="T81" fmla="*/ 2628 h 11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5" h="118">
                  <a:moveTo>
                    <a:pt x="2" y="1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4" y="5"/>
                    <a:pt x="4" y="5"/>
                  </a:cubicBezTo>
                  <a:cubicBezTo>
                    <a:pt x="6" y="5"/>
                    <a:pt x="20" y="1"/>
                    <a:pt x="21" y="0"/>
                  </a:cubicBezTo>
                  <a:cubicBezTo>
                    <a:pt x="22" y="0"/>
                    <a:pt x="25" y="1"/>
                    <a:pt x="26" y="2"/>
                  </a:cubicBezTo>
                  <a:cubicBezTo>
                    <a:pt x="28" y="2"/>
                    <a:pt x="31" y="2"/>
                    <a:pt x="33" y="3"/>
                  </a:cubicBezTo>
                  <a:cubicBezTo>
                    <a:pt x="35" y="4"/>
                    <a:pt x="31" y="8"/>
                    <a:pt x="32" y="9"/>
                  </a:cubicBezTo>
                  <a:cubicBezTo>
                    <a:pt x="33" y="9"/>
                    <a:pt x="42" y="14"/>
                    <a:pt x="42" y="14"/>
                  </a:cubicBezTo>
                  <a:cubicBezTo>
                    <a:pt x="40" y="16"/>
                    <a:pt x="38" y="18"/>
                    <a:pt x="37" y="18"/>
                  </a:cubicBezTo>
                  <a:cubicBezTo>
                    <a:pt x="35" y="19"/>
                    <a:pt x="34" y="20"/>
                    <a:pt x="32" y="22"/>
                  </a:cubicBezTo>
                  <a:cubicBezTo>
                    <a:pt x="31" y="25"/>
                    <a:pt x="27" y="27"/>
                    <a:pt x="26" y="30"/>
                  </a:cubicBezTo>
                  <a:cubicBezTo>
                    <a:pt x="26" y="33"/>
                    <a:pt x="28" y="38"/>
                    <a:pt x="29" y="38"/>
                  </a:cubicBezTo>
                  <a:cubicBezTo>
                    <a:pt x="29" y="38"/>
                    <a:pt x="33" y="42"/>
                    <a:pt x="33" y="43"/>
                  </a:cubicBezTo>
                  <a:cubicBezTo>
                    <a:pt x="33" y="44"/>
                    <a:pt x="37" y="48"/>
                    <a:pt x="38" y="49"/>
                  </a:cubicBezTo>
                  <a:cubicBezTo>
                    <a:pt x="39" y="50"/>
                    <a:pt x="46" y="55"/>
                    <a:pt x="48" y="58"/>
                  </a:cubicBezTo>
                  <a:cubicBezTo>
                    <a:pt x="49" y="61"/>
                    <a:pt x="53" y="70"/>
                    <a:pt x="54" y="72"/>
                  </a:cubicBezTo>
                  <a:cubicBezTo>
                    <a:pt x="54" y="75"/>
                    <a:pt x="55" y="85"/>
                    <a:pt x="54" y="88"/>
                  </a:cubicBezTo>
                  <a:cubicBezTo>
                    <a:pt x="53" y="90"/>
                    <a:pt x="51" y="95"/>
                    <a:pt x="50" y="96"/>
                  </a:cubicBezTo>
                  <a:cubicBezTo>
                    <a:pt x="48" y="97"/>
                    <a:pt x="36" y="101"/>
                    <a:pt x="35" y="102"/>
                  </a:cubicBezTo>
                  <a:cubicBezTo>
                    <a:pt x="33" y="104"/>
                    <a:pt x="33" y="110"/>
                    <a:pt x="31" y="110"/>
                  </a:cubicBezTo>
                  <a:cubicBezTo>
                    <a:pt x="29" y="110"/>
                    <a:pt x="25" y="112"/>
                    <a:pt x="24" y="114"/>
                  </a:cubicBezTo>
                  <a:cubicBezTo>
                    <a:pt x="23" y="116"/>
                    <a:pt x="18" y="118"/>
                    <a:pt x="17" y="117"/>
                  </a:cubicBezTo>
                  <a:cubicBezTo>
                    <a:pt x="15" y="116"/>
                    <a:pt x="19" y="105"/>
                    <a:pt x="18" y="104"/>
                  </a:cubicBezTo>
                  <a:cubicBezTo>
                    <a:pt x="17" y="104"/>
                    <a:pt x="16" y="103"/>
                    <a:pt x="15" y="102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2" y="97"/>
                    <a:pt x="27" y="98"/>
                    <a:pt x="28" y="96"/>
                  </a:cubicBezTo>
                  <a:cubicBezTo>
                    <a:pt x="30" y="95"/>
                    <a:pt x="27" y="90"/>
                    <a:pt x="29" y="90"/>
                  </a:cubicBezTo>
                  <a:cubicBezTo>
                    <a:pt x="31" y="90"/>
                    <a:pt x="36" y="87"/>
                    <a:pt x="38" y="85"/>
                  </a:cubicBezTo>
                  <a:cubicBezTo>
                    <a:pt x="40" y="83"/>
                    <a:pt x="37" y="75"/>
                    <a:pt x="38" y="74"/>
                  </a:cubicBezTo>
                  <a:cubicBezTo>
                    <a:pt x="39" y="72"/>
                    <a:pt x="39" y="65"/>
                    <a:pt x="38" y="62"/>
                  </a:cubicBezTo>
                  <a:cubicBezTo>
                    <a:pt x="37" y="60"/>
                    <a:pt x="33" y="56"/>
                    <a:pt x="32" y="54"/>
                  </a:cubicBezTo>
                  <a:cubicBezTo>
                    <a:pt x="31" y="53"/>
                    <a:pt x="27" y="49"/>
                    <a:pt x="26" y="46"/>
                  </a:cubicBezTo>
                  <a:cubicBezTo>
                    <a:pt x="24" y="44"/>
                    <a:pt x="21" y="38"/>
                    <a:pt x="18" y="37"/>
                  </a:cubicBezTo>
                  <a:cubicBezTo>
                    <a:pt x="16" y="36"/>
                    <a:pt x="12" y="33"/>
                    <a:pt x="11" y="33"/>
                  </a:cubicBezTo>
                  <a:cubicBezTo>
                    <a:pt x="10" y="32"/>
                    <a:pt x="13" y="28"/>
                    <a:pt x="13" y="28"/>
                  </a:cubicBezTo>
                  <a:cubicBezTo>
                    <a:pt x="13" y="28"/>
                    <a:pt x="18" y="29"/>
                    <a:pt x="18" y="27"/>
                  </a:cubicBezTo>
                  <a:cubicBezTo>
                    <a:pt x="19" y="26"/>
                    <a:pt x="20" y="23"/>
                    <a:pt x="20" y="23"/>
                  </a:cubicBezTo>
                  <a:cubicBezTo>
                    <a:pt x="20" y="23"/>
                    <a:pt x="16" y="19"/>
                    <a:pt x="14" y="18"/>
                  </a:cubicBezTo>
                  <a:cubicBezTo>
                    <a:pt x="12" y="17"/>
                    <a:pt x="11" y="19"/>
                    <a:pt x="10" y="20"/>
                  </a:cubicBezTo>
                  <a:cubicBezTo>
                    <a:pt x="8" y="21"/>
                    <a:pt x="4" y="20"/>
                    <a:pt x="3" y="17"/>
                  </a:cubicBezTo>
                  <a:cubicBezTo>
                    <a:pt x="3" y="15"/>
                    <a:pt x="4" y="11"/>
                    <a:pt x="2" y="10"/>
                  </a:cubicBezTo>
                  <a:close/>
                </a:path>
              </a:pathLst>
            </a:custGeom>
            <a:solidFill>
              <a:srgbClr val="FFB900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7" name="Group 34"/>
            <p:cNvGrpSpPr>
              <a:grpSpLocks/>
            </p:cNvGrpSpPr>
            <p:nvPr/>
          </p:nvGrpSpPr>
          <p:grpSpPr bwMode="auto">
            <a:xfrm>
              <a:off x="7719540" y="4558895"/>
              <a:ext cx="981530" cy="328851"/>
              <a:chOff x="4187" y="2473"/>
              <a:chExt cx="713" cy="253"/>
            </a:xfrm>
          </p:grpSpPr>
          <p:sp>
            <p:nvSpPr>
              <p:cNvPr id="255" name="Freeform 35"/>
              <p:cNvSpPr>
                <a:spLocks/>
              </p:cNvSpPr>
              <p:nvPr/>
            </p:nvSpPr>
            <p:spPr bwMode="auto">
              <a:xfrm>
                <a:off x="4742" y="2567"/>
                <a:ext cx="158" cy="135"/>
              </a:xfrm>
              <a:custGeom>
                <a:avLst/>
                <a:gdLst>
                  <a:gd name="T0" fmla="*/ 0 w 78"/>
                  <a:gd name="T1" fmla="*/ 506460 h 67"/>
                  <a:gd name="T2" fmla="*/ 310662 w 78"/>
                  <a:gd name="T3" fmla="*/ 286956 h 67"/>
                  <a:gd name="T4" fmla="*/ 707573 w 78"/>
                  <a:gd name="T5" fmla="*/ 142415 h 67"/>
                  <a:gd name="T6" fmla="*/ 1112383 w 78"/>
                  <a:gd name="T7" fmla="*/ 0 h 67"/>
                  <a:gd name="T8" fmla="*/ 1624023 w 78"/>
                  <a:gd name="T9" fmla="*/ 215220 h 67"/>
                  <a:gd name="T10" fmla="*/ 2019467 w 78"/>
                  <a:gd name="T11" fmla="*/ 286956 h 67"/>
                  <a:gd name="T12" fmla="*/ 2099364 w 78"/>
                  <a:gd name="T13" fmla="*/ 948728 h 67"/>
                  <a:gd name="T14" fmla="*/ 2582117 w 78"/>
                  <a:gd name="T15" fmla="*/ 1616021 h 67"/>
                  <a:gd name="T16" fmla="*/ 3052862 w 78"/>
                  <a:gd name="T17" fmla="*/ 1544289 h 67"/>
                  <a:gd name="T18" fmla="*/ 3684722 w 78"/>
                  <a:gd name="T19" fmla="*/ 948728 h 67"/>
                  <a:gd name="T20" fmla="*/ 4327602 w 78"/>
                  <a:gd name="T21" fmla="*/ 657488 h 67"/>
                  <a:gd name="T22" fmla="*/ 5561019 w 78"/>
                  <a:gd name="T23" fmla="*/ 1020479 h 67"/>
                  <a:gd name="T24" fmla="*/ 6266855 w 78"/>
                  <a:gd name="T25" fmla="*/ 1253056 h 67"/>
                  <a:gd name="T26" fmla="*/ 6266855 w 78"/>
                  <a:gd name="T27" fmla="*/ 4942868 h 67"/>
                  <a:gd name="T28" fmla="*/ 5384158 w 78"/>
                  <a:gd name="T29" fmla="*/ 4438584 h 67"/>
                  <a:gd name="T30" fmla="*/ 4835306 w 78"/>
                  <a:gd name="T31" fmla="*/ 4585352 h 67"/>
                  <a:gd name="T32" fmla="*/ 4165263 w 78"/>
                  <a:gd name="T33" fmla="*/ 4585352 h 67"/>
                  <a:gd name="T34" fmla="*/ 4638416 w 78"/>
                  <a:gd name="T35" fmla="*/ 3922308 h 67"/>
                  <a:gd name="T36" fmla="*/ 5072612 w 78"/>
                  <a:gd name="T37" fmla="*/ 3780028 h 67"/>
                  <a:gd name="T38" fmla="*/ 4486151 w 78"/>
                  <a:gd name="T39" fmla="*/ 3184434 h 67"/>
                  <a:gd name="T40" fmla="*/ 4015268 w 78"/>
                  <a:gd name="T41" fmla="*/ 2669351 h 67"/>
                  <a:gd name="T42" fmla="*/ 2582117 w 78"/>
                  <a:gd name="T43" fmla="*/ 2202853 h 67"/>
                  <a:gd name="T44" fmla="*/ 1856417 w 78"/>
                  <a:gd name="T45" fmla="*/ 1839881 h 67"/>
                  <a:gd name="T46" fmla="*/ 1433289 w 78"/>
                  <a:gd name="T47" fmla="*/ 2202853 h 67"/>
                  <a:gd name="T48" fmla="*/ 1112383 w 78"/>
                  <a:gd name="T49" fmla="*/ 2056189 h 67"/>
                  <a:gd name="T50" fmla="*/ 1036395 w 78"/>
                  <a:gd name="T51" fmla="*/ 1688860 h 67"/>
                  <a:gd name="T52" fmla="*/ 629290 w 78"/>
                  <a:gd name="T53" fmla="*/ 1469364 h 67"/>
                  <a:gd name="T54" fmla="*/ 1624023 w 78"/>
                  <a:gd name="T55" fmla="*/ 1253056 h 67"/>
                  <a:gd name="T56" fmla="*/ 958485 w 78"/>
                  <a:gd name="T57" fmla="*/ 948728 h 67"/>
                  <a:gd name="T58" fmla="*/ 549151 w 78"/>
                  <a:gd name="T59" fmla="*/ 948728 h 67"/>
                  <a:gd name="T60" fmla="*/ 395792 w 78"/>
                  <a:gd name="T61" fmla="*/ 729240 h 67"/>
                  <a:gd name="T62" fmla="*/ 0 w 78"/>
                  <a:gd name="T63" fmla="*/ 506460 h 6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78" h="67">
                    <a:moveTo>
                      <a:pt x="0" y="7"/>
                    </a:moveTo>
                    <a:cubicBezTo>
                      <a:pt x="0" y="5"/>
                      <a:pt x="3" y="4"/>
                      <a:pt x="4" y="4"/>
                    </a:cubicBezTo>
                    <a:cubicBezTo>
                      <a:pt x="5" y="4"/>
                      <a:pt x="7" y="3"/>
                      <a:pt x="9" y="2"/>
                    </a:cubicBezTo>
                    <a:cubicBezTo>
                      <a:pt x="11" y="1"/>
                      <a:pt x="12" y="0"/>
                      <a:pt x="14" y="0"/>
                    </a:cubicBezTo>
                    <a:cubicBezTo>
                      <a:pt x="17" y="1"/>
                      <a:pt x="19" y="4"/>
                      <a:pt x="20" y="3"/>
                    </a:cubicBezTo>
                    <a:cubicBezTo>
                      <a:pt x="22" y="3"/>
                      <a:pt x="24" y="3"/>
                      <a:pt x="25" y="4"/>
                    </a:cubicBezTo>
                    <a:cubicBezTo>
                      <a:pt x="26" y="5"/>
                      <a:pt x="26" y="11"/>
                      <a:pt x="26" y="13"/>
                    </a:cubicBezTo>
                    <a:cubicBezTo>
                      <a:pt x="26" y="15"/>
                      <a:pt x="30" y="21"/>
                      <a:pt x="32" y="22"/>
                    </a:cubicBezTo>
                    <a:cubicBezTo>
                      <a:pt x="34" y="23"/>
                      <a:pt x="36" y="23"/>
                      <a:pt x="38" y="21"/>
                    </a:cubicBezTo>
                    <a:cubicBezTo>
                      <a:pt x="39" y="18"/>
                      <a:pt x="45" y="15"/>
                      <a:pt x="46" y="13"/>
                    </a:cubicBezTo>
                    <a:cubicBezTo>
                      <a:pt x="47" y="12"/>
                      <a:pt x="52" y="8"/>
                      <a:pt x="54" y="9"/>
                    </a:cubicBezTo>
                    <a:cubicBezTo>
                      <a:pt x="57" y="10"/>
                      <a:pt x="65" y="13"/>
                      <a:pt x="69" y="14"/>
                    </a:cubicBezTo>
                    <a:cubicBezTo>
                      <a:pt x="71" y="15"/>
                      <a:pt x="74" y="16"/>
                      <a:pt x="78" y="17"/>
                    </a:cubicBezTo>
                    <a:cubicBezTo>
                      <a:pt x="78" y="67"/>
                      <a:pt x="78" y="67"/>
                      <a:pt x="78" y="67"/>
                    </a:cubicBezTo>
                    <a:cubicBezTo>
                      <a:pt x="75" y="64"/>
                      <a:pt x="70" y="60"/>
                      <a:pt x="67" y="60"/>
                    </a:cubicBezTo>
                    <a:cubicBezTo>
                      <a:pt x="65" y="60"/>
                      <a:pt x="63" y="62"/>
                      <a:pt x="60" y="62"/>
                    </a:cubicBezTo>
                    <a:cubicBezTo>
                      <a:pt x="57" y="62"/>
                      <a:pt x="52" y="64"/>
                      <a:pt x="52" y="62"/>
                    </a:cubicBezTo>
                    <a:cubicBezTo>
                      <a:pt x="52" y="60"/>
                      <a:pt x="56" y="54"/>
                      <a:pt x="58" y="53"/>
                    </a:cubicBezTo>
                    <a:cubicBezTo>
                      <a:pt x="60" y="53"/>
                      <a:pt x="64" y="52"/>
                      <a:pt x="63" y="51"/>
                    </a:cubicBezTo>
                    <a:cubicBezTo>
                      <a:pt x="63" y="50"/>
                      <a:pt x="57" y="45"/>
                      <a:pt x="56" y="43"/>
                    </a:cubicBezTo>
                    <a:cubicBezTo>
                      <a:pt x="55" y="40"/>
                      <a:pt x="54" y="38"/>
                      <a:pt x="50" y="36"/>
                    </a:cubicBezTo>
                    <a:cubicBezTo>
                      <a:pt x="47" y="35"/>
                      <a:pt x="35" y="31"/>
                      <a:pt x="32" y="30"/>
                    </a:cubicBezTo>
                    <a:cubicBezTo>
                      <a:pt x="29" y="29"/>
                      <a:pt x="24" y="26"/>
                      <a:pt x="23" y="25"/>
                    </a:cubicBezTo>
                    <a:cubicBezTo>
                      <a:pt x="21" y="25"/>
                      <a:pt x="20" y="30"/>
                      <a:pt x="18" y="30"/>
                    </a:cubicBezTo>
                    <a:cubicBezTo>
                      <a:pt x="17" y="30"/>
                      <a:pt x="14" y="29"/>
                      <a:pt x="14" y="28"/>
                    </a:cubicBezTo>
                    <a:cubicBezTo>
                      <a:pt x="14" y="27"/>
                      <a:pt x="14" y="25"/>
                      <a:pt x="13" y="23"/>
                    </a:cubicBezTo>
                    <a:cubicBezTo>
                      <a:pt x="12" y="22"/>
                      <a:pt x="8" y="21"/>
                      <a:pt x="8" y="20"/>
                    </a:cubicBezTo>
                    <a:cubicBezTo>
                      <a:pt x="9" y="18"/>
                      <a:pt x="20" y="18"/>
                      <a:pt x="20" y="17"/>
                    </a:cubicBezTo>
                    <a:cubicBezTo>
                      <a:pt x="20" y="16"/>
                      <a:pt x="15" y="14"/>
                      <a:pt x="12" y="13"/>
                    </a:cubicBezTo>
                    <a:cubicBezTo>
                      <a:pt x="10" y="13"/>
                      <a:pt x="8" y="15"/>
                      <a:pt x="7" y="13"/>
                    </a:cubicBezTo>
                    <a:cubicBezTo>
                      <a:pt x="7" y="11"/>
                      <a:pt x="7" y="11"/>
                      <a:pt x="5" y="10"/>
                    </a:cubicBezTo>
                    <a:cubicBezTo>
                      <a:pt x="3" y="9"/>
                      <a:pt x="0" y="7"/>
                      <a:pt x="0" y="7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6" name="Freeform 36"/>
              <p:cNvSpPr>
                <a:spLocks/>
              </p:cNvSpPr>
              <p:nvPr/>
            </p:nvSpPr>
            <p:spPr bwMode="auto">
              <a:xfrm>
                <a:off x="4699" y="2605"/>
                <a:ext cx="47" cy="18"/>
              </a:xfrm>
              <a:custGeom>
                <a:avLst/>
                <a:gdLst>
                  <a:gd name="T0" fmla="*/ 85127 w 23"/>
                  <a:gd name="T1" fmla="*/ 65536 h 9"/>
                  <a:gd name="T2" fmla="*/ 822800 w 23"/>
                  <a:gd name="T3" fmla="*/ 0 h 9"/>
                  <a:gd name="T4" fmla="*/ 1764470 w 23"/>
                  <a:gd name="T5" fmla="*/ 131072 h 9"/>
                  <a:gd name="T6" fmla="*/ 2036839 w 23"/>
                  <a:gd name="T7" fmla="*/ 589824 h 9"/>
                  <a:gd name="T8" fmla="*/ 1484385 w 23"/>
                  <a:gd name="T9" fmla="*/ 393216 h 9"/>
                  <a:gd name="T10" fmla="*/ 996751 w 23"/>
                  <a:gd name="T11" fmla="*/ 262144 h 9"/>
                  <a:gd name="T12" fmla="*/ 355473 w 23"/>
                  <a:gd name="T13" fmla="*/ 393216 h 9"/>
                  <a:gd name="T14" fmla="*/ 85127 w 23"/>
                  <a:gd name="T15" fmla="*/ 65536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1" y="1"/>
                    </a:moveTo>
                    <a:cubicBezTo>
                      <a:pt x="1" y="0"/>
                      <a:pt x="7" y="0"/>
                      <a:pt x="9" y="0"/>
                    </a:cubicBezTo>
                    <a:cubicBezTo>
                      <a:pt x="11" y="0"/>
                      <a:pt x="17" y="0"/>
                      <a:pt x="19" y="2"/>
                    </a:cubicBezTo>
                    <a:cubicBezTo>
                      <a:pt x="20" y="4"/>
                      <a:pt x="23" y="8"/>
                      <a:pt x="22" y="9"/>
                    </a:cubicBezTo>
                    <a:cubicBezTo>
                      <a:pt x="21" y="9"/>
                      <a:pt x="18" y="7"/>
                      <a:pt x="16" y="6"/>
                    </a:cubicBezTo>
                    <a:cubicBezTo>
                      <a:pt x="15" y="5"/>
                      <a:pt x="13" y="4"/>
                      <a:pt x="11" y="4"/>
                    </a:cubicBezTo>
                    <a:cubicBezTo>
                      <a:pt x="10" y="4"/>
                      <a:pt x="4" y="6"/>
                      <a:pt x="4" y="6"/>
                    </a:cubicBezTo>
                    <a:cubicBezTo>
                      <a:pt x="2" y="5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FFFF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7" name="Freeform 37"/>
              <p:cNvSpPr>
                <a:spLocks/>
              </p:cNvSpPr>
              <p:nvPr/>
            </p:nvSpPr>
            <p:spPr bwMode="auto">
              <a:xfrm>
                <a:off x="4687" y="2526"/>
                <a:ext cx="27" cy="55"/>
              </a:xfrm>
              <a:custGeom>
                <a:avLst/>
                <a:gdLst>
                  <a:gd name="T0" fmla="*/ 586797 w 13"/>
                  <a:gd name="T1" fmla="*/ 2037004 h 27"/>
                  <a:gd name="T2" fmla="*/ 109338 w 13"/>
                  <a:gd name="T3" fmla="*/ 1244552 h 27"/>
                  <a:gd name="T4" fmla="*/ 227087 w 13"/>
                  <a:gd name="T5" fmla="*/ 428057 h 27"/>
                  <a:gd name="T6" fmla="*/ 694461 w 13"/>
                  <a:gd name="T7" fmla="*/ 0 h 27"/>
                  <a:gd name="T8" fmla="*/ 694461 w 13"/>
                  <a:gd name="T9" fmla="*/ 340754 h 27"/>
                  <a:gd name="T10" fmla="*/ 1339609 w 13"/>
                  <a:gd name="T11" fmla="*/ 428057 h 27"/>
                  <a:gd name="T12" fmla="*/ 1083095 w 13"/>
                  <a:gd name="T13" fmla="*/ 782740 h 27"/>
                  <a:gd name="T14" fmla="*/ 1442342 w 13"/>
                  <a:gd name="T15" fmla="*/ 1333577 h 27"/>
                  <a:gd name="T16" fmla="*/ 855854 w 13"/>
                  <a:gd name="T17" fmla="*/ 1413966 h 27"/>
                  <a:gd name="T18" fmla="*/ 1083095 w 13"/>
                  <a:gd name="T19" fmla="*/ 2288204 h 27"/>
                  <a:gd name="T20" fmla="*/ 586797 w 13"/>
                  <a:gd name="T21" fmla="*/ 2037004 h 2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3" h="27">
                    <a:moveTo>
                      <a:pt x="5" y="23"/>
                    </a:moveTo>
                    <a:cubicBezTo>
                      <a:pt x="3" y="22"/>
                      <a:pt x="1" y="17"/>
                      <a:pt x="1" y="14"/>
                    </a:cubicBezTo>
                    <a:cubicBezTo>
                      <a:pt x="1" y="11"/>
                      <a:pt x="0" y="8"/>
                      <a:pt x="2" y="5"/>
                    </a:cubicBezTo>
                    <a:cubicBezTo>
                      <a:pt x="3" y="2"/>
                      <a:pt x="5" y="0"/>
                      <a:pt x="6" y="0"/>
                    </a:cubicBezTo>
                    <a:cubicBezTo>
                      <a:pt x="6" y="0"/>
                      <a:pt x="7" y="2"/>
                      <a:pt x="6" y="4"/>
                    </a:cubicBezTo>
                    <a:cubicBezTo>
                      <a:pt x="6" y="6"/>
                      <a:pt x="10" y="4"/>
                      <a:pt x="11" y="5"/>
                    </a:cubicBezTo>
                    <a:cubicBezTo>
                      <a:pt x="13" y="6"/>
                      <a:pt x="10" y="8"/>
                      <a:pt x="9" y="9"/>
                    </a:cubicBezTo>
                    <a:cubicBezTo>
                      <a:pt x="9" y="11"/>
                      <a:pt x="13" y="13"/>
                      <a:pt x="12" y="15"/>
                    </a:cubicBezTo>
                    <a:cubicBezTo>
                      <a:pt x="11" y="17"/>
                      <a:pt x="8" y="16"/>
                      <a:pt x="7" y="16"/>
                    </a:cubicBezTo>
                    <a:cubicBezTo>
                      <a:pt x="5" y="17"/>
                      <a:pt x="10" y="25"/>
                      <a:pt x="9" y="26"/>
                    </a:cubicBezTo>
                    <a:cubicBezTo>
                      <a:pt x="7" y="27"/>
                      <a:pt x="6" y="24"/>
                      <a:pt x="5" y="23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8" name="Freeform 38"/>
              <p:cNvSpPr>
                <a:spLocks/>
              </p:cNvSpPr>
              <p:nvPr/>
            </p:nvSpPr>
            <p:spPr bwMode="auto">
              <a:xfrm>
                <a:off x="4669" y="2609"/>
                <a:ext cx="20" cy="14"/>
              </a:xfrm>
              <a:custGeom>
                <a:avLst/>
                <a:gdLst>
                  <a:gd name="T0" fmla="*/ 655360 w 10"/>
                  <a:gd name="T1" fmla="*/ 393216 h 7"/>
                  <a:gd name="T2" fmla="*/ 262144 w 10"/>
                  <a:gd name="T3" fmla="*/ 458752 h 7"/>
                  <a:gd name="T4" fmla="*/ 0 w 10"/>
                  <a:gd name="T5" fmla="*/ 131072 h 7"/>
                  <a:gd name="T6" fmla="*/ 327680 w 10"/>
                  <a:gd name="T7" fmla="*/ 0 h 7"/>
                  <a:gd name="T8" fmla="*/ 589824 w 10"/>
                  <a:gd name="T9" fmla="*/ 65536 h 7"/>
                  <a:gd name="T10" fmla="*/ 655360 w 10"/>
                  <a:gd name="T11" fmla="*/ 393216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" h="7">
                    <a:moveTo>
                      <a:pt x="10" y="6"/>
                    </a:moveTo>
                    <a:cubicBezTo>
                      <a:pt x="10" y="7"/>
                      <a:pt x="6" y="7"/>
                      <a:pt x="4" y="7"/>
                    </a:cubicBezTo>
                    <a:cubicBezTo>
                      <a:pt x="2" y="7"/>
                      <a:pt x="0" y="4"/>
                      <a:pt x="0" y="2"/>
                    </a:cubicBezTo>
                    <a:cubicBezTo>
                      <a:pt x="0" y="0"/>
                      <a:pt x="2" y="0"/>
                      <a:pt x="5" y="0"/>
                    </a:cubicBezTo>
                    <a:cubicBezTo>
                      <a:pt x="5" y="0"/>
                      <a:pt x="8" y="0"/>
                      <a:pt x="9" y="1"/>
                    </a:cubicBezTo>
                    <a:cubicBezTo>
                      <a:pt x="10" y="2"/>
                      <a:pt x="10" y="4"/>
                      <a:pt x="10" y="6"/>
                    </a:cubicBezTo>
                    <a:close/>
                  </a:path>
                </a:pathLst>
              </a:custGeom>
              <a:solidFill>
                <a:srgbClr val="FFFF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9" name="Freeform 39"/>
              <p:cNvSpPr>
                <a:spLocks/>
              </p:cNvSpPr>
              <p:nvPr/>
            </p:nvSpPr>
            <p:spPr bwMode="auto">
              <a:xfrm>
                <a:off x="4624" y="2688"/>
                <a:ext cx="65" cy="38"/>
              </a:xfrm>
              <a:custGeom>
                <a:avLst/>
                <a:gdLst>
                  <a:gd name="T0" fmla="*/ 0 w 32"/>
                  <a:gd name="T1" fmla="*/ 1179648 h 19"/>
                  <a:gd name="T2" fmla="*/ 671160 w 32"/>
                  <a:gd name="T3" fmla="*/ 589824 h 19"/>
                  <a:gd name="T4" fmla="*/ 1693108 w 32"/>
                  <a:gd name="T5" fmla="*/ 196608 h 19"/>
                  <a:gd name="T6" fmla="*/ 2684398 w 32"/>
                  <a:gd name="T7" fmla="*/ 196608 h 19"/>
                  <a:gd name="T8" fmla="*/ 1856223 w 32"/>
                  <a:gd name="T9" fmla="*/ 655360 h 19"/>
                  <a:gd name="T10" fmla="*/ 1080783 w 32"/>
                  <a:gd name="T11" fmla="*/ 983040 h 19"/>
                  <a:gd name="T12" fmla="*/ 410353 w 32"/>
                  <a:gd name="T13" fmla="*/ 1245184 h 19"/>
                  <a:gd name="T14" fmla="*/ 0 w 32"/>
                  <a:gd name="T15" fmla="*/ 1179648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2" h="19">
                    <a:moveTo>
                      <a:pt x="0" y="18"/>
                    </a:moveTo>
                    <a:cubicBezTo>
                      <a:pt x="0" y="17"/>
                      <a:pt x="5" y="12"/>
                      <a:pt x="8" y="9"/>
                    </a:cubicBezTo>
                    <a:cubicBezTo>
                      <a:pt x="10" y="7"/>
                      <a:pt x="16" y="3"/>
                      <a:pt x="20" y="3"/>
                    </a:cubicBezTo>
                    <a:cubicBezTo>
                      <a:pt x="23" y="3"/>
                      <a:pt x="32" y="0"/>
                      <a:pt x="32" y="3"/>
                    </a:cubicBezTo>
                    <a:cubicBezTo>
                      <a:pt x="32" y="5"/>
                      <a:pt x="25" y="9"/>
                      <a:pt x="22" y="10"/>
                    </a:cubicBezTo>
                    <a:cubicBezTo>
                      <a:pt x="20" y="10"/>
                      <a:pt x="17" y="12"/>
                      <a:pt x="13" y="15"/>
                    </a:cubicBezTo>
                    <a:cubicBezTo>
                      <a:pt x="10" y="18"/>
                      <a:pt x="6" y="19"/>
                      <a:pt x="5" y="19"/>
                    </a:cubicBezTo>
                    <a:cubicBezTo>
                      <a:pt x="3" y="19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0" name="Freeform 40"/>
              <p:cNvSpPr>
                <a:spLocks/>
              </p:cNvSpPr>
              <p:nvPr/>
            </p:nvSpPr>
            <p:spPr bwMode="auto">
              <a:xfrm>
                <a:off x="4574" y="2684"/>
                <a:ext cx="71" cy="20"/>
              </a:xfrm>
              <a:custGeom>
                <a:avLst/>
                <a:gdLst>
                  <a:gd name="T0" fmla="*/ 0 w 35"/>
                  <a:gd name="T1" fmla="*/ 393216 h 10"/>
                  <a:gd name="T2" fmla="*/ 481759 w 35"/>
                  <a:gd name="T3" fmla="*/ 262144 h 10"/>
                  <a:gd name="T4" fmla="*/ 1303047 w 35"/>
                  <a:gd name="T5" fmla="*/ 262144 h 10"/>
                  <a:gd name="T6" fmla="*/ 2233974 w 35"/>
                  <a:gd name="T7" fmla="*/ 65536 h 10"/>
                  <a:gd name="T8" fmla="*/ 2795698 w 35"/>
                  <a:gd name="T9" fmla="*/ 65536 h 10"/>
                  <a:gd name="T10" fmla="*/ 2482756 w 35"/>
                  <a:gd name="T11" fmla="*/ 327680 h 10"/>
                  <a:gd name="T12" fmla="*/ 977283 w 35"/>
                  <a:gd name="T13" fmla="*/ 524288 h 10"/>
                  <a:gd name="T14" fmla="*/ 316650 w 35"/>
                  <a:gd name="T15" fmla="*/ 655360 h 10"/>
                  <a:gd name="T16" fmla="*/ 0 w 35"/>
                  <a:gd name="T17" fmla="*/ 393216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5" h="10">
                    <a:moveTo>
                      <a:pt x="0" y="6"/>
                    </a:moveTo>
                    <a:cubicBezTo>
                      <a:pt x="0" y="5"/>
                      <a:pt x="3" y="5"/>
                      <a:pt x="6" y="4"/>
                    </a:cubicBezTo>
                    <a:cubicBezTo>
                      <a:pt x="8" y="4"/>
                      <a:pt x="13" y="4"/>
                      <a:pt x="16" y="4"/>
                    </a:cubicBezTo>
                    <a:cubicBezTo>
                      <a:pt x="19" y="4"/>
                      <a:pt x="24" y="1"/>
                      <a:pt x="27" y="1"/>
                    </a:cubicBezTo>
                    <a:cubicBezTo>
                      <a:pt x="29" y="1"/>
                      <a:pt x="35" y="0"/>
                      <a:pt x="34" y="1"/>
                    </a:cubicBezTo>
                    <a:cubicBezTo>
                      <a:pt x="34" y="2"/>
                      <a:pt x="32" y="5"/>
                      <a:pt x="30" y="5"/>
                    </a:cubicBezTo>
                    <a:cubicBezTo>
                      <a:pt x="28" y="5"/>
                      <a:pt x="17" y="10"/>
                      <a:pt x="12" y="8"/>
                    </a:cubicBezTo>
                    <a:cubicBezTo>
                      <a:pt x="7" y="6"/>
                      <a:pt x="6" y="10"/>
                      <a:pt x="4" y="10"/>
                    </a:cubicBezTo>
                    <a:cubicBezTo>
                      <a:pt x="1" y="10"/>
                      <a:pt x="1" y="9"/>
                      <a:pt x="0" y="6"/>
                    </a:cubicBezTo>
                    <a:close/>
                  </a:path>
                </a:pathLst>
              </a:custGeom>
              <a:solidFill>
                <a:srgbClr val="FFFF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1" name="Freeform 41"/>
              <p:cNvSpPr>
                <a:spLocks/>
              </p:cNvSpPr>
              <p:nvPr/>
            </p:nvSpPr>
            <p:spPr bwMode="auto">
              <a:xfrm>
                <a:off x="4554" y="2530"/>
                <a:ext cx="105" cy="122"/>
              </a:xfrm>
              <a:custGeom>
                <a:avLst/>
                <a:gdLst>
                  <a:gd name="T0" fmla="*/ 527356 w 52"/>
                  <a:gd name="T1" fmla="*/ 3655614 h 60"/>
                  <a:gd name="T2" fmla="*/ 0 w 52"/>
                  <a:gd name="T3" fmla="*/ 3411305 h 60"/>
                  <a:gd name="T4" fmla="*/ 298519 w 52"/>
                  <a:gd name="T5" fmla="*/ 2812637 h 60"/>
                  <a:gd name="T6" fmla="*/ 527356 w 52"/>
                  <a:gd name="T7" fmla="*/ 1982504 h 60"/>
                  <a:gd name="T8" fmla="*/ 676261 w 52"/>
                  <a:gd name="T9" fmla="*/ 1098043 h 60"/>
                  <a:gd name="T10" fmla="*/ 1290093 w 52"/>
                  <a:gd name="T11" fmla="*/ 499082 h 60"/>
                  <a:gd name="T12" fmla="*/ 2077809 w 52"/>
                  <a:gd name="T13" fmla="*/ 580021 h 60"/>
                  <a:gd name="T14" fmla="*/ 3294835 w 52"/>
                  <a:gd name="T15" fmla="*/ 580021 h 60"/>
                  <a:gd name="T16" fmla="*/ 3750045 w 52"/>
                  <a:gd name="T17" fmla="*/ 80923 h 60"/>
                  <a:gd name="T18" fmla="*/ 3895094 w 52"/>
                  <a:gd name="T19" fmla="*/ 415140 h 60"/>
                  <a:gd name="T20" fmla="*/ 3449377 w 52"/>
                  <a:gd name="T21" fmla="*/ 1179376 h 60"/>
                  <a:gd name="T22" fmla="*/ 2531786 w 52"/>
                  <a:gd name="T23" fmla="*/ 1098043 h 60"/>
                  <a:gd name="T24" fmla="*/ 1438203 w 52"/>
                  <a:gd name="T25" fmla="*/ 1098043 h 60"/>
                  <a:gd name="T26" fmla="*/ 1064853 w 52"/>
                  <a:gd name="T27" fmla="*/ 1463904 h 60"/>
                  <a:gd name="T28" fmla="*/ 991574 w 52"/>
                  <a:gd name="T29" fmla="*/ 1899050 h 60"/>
                  <a:gd name="T30" fmla="*/ 1290093 w 52"/>
                  <a:gd name="T31" fmla="*/ 2232687 h 60"/>
                  <a:gd name="T32" fmla="*/ 1745453 w 52"/>
                  <a:gd name="T33" fmla="*/ 1899050 h 60"/>
                  <a:gd name="T34" fmla="*/ 2683019 w 52"/>
                  <a:gd name="T35" fmla="*/ 1797843 h 60"/>
                  <a:gd name="T36" fmla="*/ 2757314 w 52"/>
                  <a:gd name="T37" fmla="*/ 2141724 h 60"/>
                  <a:gd name="T38" fmla="*/ 2150184 w 52"/>
                  <a:gd name="T39" fmla="*/ 2398065 h 60"/>
                  <a:gd name="T40" fmla="*/ 1667307 w 52"/>
                  <a:gd name="T41" fmla="*/ 2643238 h 60"/>
                  <a:gd name="T42" fmla="*/ 2227793 w 52"/>
                  <a:gd name="T43" fmla="*/ 3411305 h 60"/>
                  <a:gd name="T44" fmla="*/ 2227793 w 52"/>
                  <a:gd name="T45" fmla="*/ 3861402 h 60"/>
                  <a:gd name="T46" fmla="*/ 2604995 w 52"/>
                  <a:gd name="T47" fmla="*/ 4276533 h 60"/>
                  <a:gd name="T48" fmla="*/ 2531786 w 52"/>
                  <a:gd name="T49" fmla="*/ 4708921 h 60"/>
                  <a:gd name="T50" fmla="*/ 2301824 w 52"/>
                  <a:gd name="T51" fmla="*/ 4954367 h 60"/>
                  <a:gd name="T52" fmla="*/ 2077809 w 52"/>
                  <a:gd name="T53" fmla="*/ 4461202 h 60"/>
                  <a:gd name="T54" fmla="*/ 1667307 w 52"/>
                  <a:gd name="T55" fmla="*/ 4461202 h 60"/>
                  <a:gd name="T56" fmla="*/ 1667307 w 52"/>
                  <a:gd name="T57" fmla="*/ 3939567 h 60"/>
                  <a:gd name="T58" fmla="*/ 1365527 w 52"/>
                  <a:gd name="T59" fmla="*/ 3054969 h 60"/>
                  <a:gd name="T60" fmla="*/ 825714 w 52"/>
                  <a:gd name="T61" fmla="*/ 3321033 h 60"/>
                  <a:gd name="T62" fmla="*/ 1064853 w 52"/>
                  <a:gd name="T63" fmla="*/ 4354839 h 60"/>
                  <a:gd name="T64" fmla="*/ 991574 w 52"/>
                  <a:gd name="T65" fmla="*/ 5040019 h 60"/>
                  <a:gd name="T66" fmla="*/ 446361 w 52"/>
                  <a:gd name="T67" fmla="*/ 4954367 h 60"/>
                  <a:gd name="T68" fmla="*/ 527356 w 52"/>
                  <a:gd name="T69" fmla="*/ 4354839 h 60"/>
                  <a:gd name="T70" fmla="*/ 527356 w 52"/>
                  <a:gd name="T71" fmla="*/ 3655614 h 6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2" h="60">
                    <a:moveTo>
                      <a:pt x="7" y="43"/>
                    </a:moveTo>
                    <a:cubicBezTo>
                      <a:pt x="6" y="42"/>
                      <a:pt x="0" y="42"/>
                      <a:pt x="0" y="40"/>
                    </a:cubicBezTo>
                    <a:cubicBezTo>
                      <a:pt x="0" y="38"/>
                      <a:pt x="4" y="36"/>
                      <a:pt x="4" y="33"/>
                    </a:cubicBezTo>
                    <a:cubicBezTo>
                      <a:pt x="4" y="31"/>
                      <a:pt x="5" y="24"/>
                      <a:pt x="7" y="23"/>
                    </a:cubicBezTo>
                    <a:cubicBezTo>
                      <a:pt x="8" y="21"/>
                      <a:pt x="8" y="15"/>
                      <a:pt x="9" y="13"/>
                    </a:cubicBezTo>
                    <a:cubicBezTo>
                      <a:pt x="11" y="11"/>
                      <a:pt x="15" y="6"/>
                      <a:pt x="17" y="6"/>
                    </a:cubicBezTo>
                    <a:cubicBezTo>
                      <a:pt x="18" y="6"/>
                      <a:pt x="25" y="7"/>
                      <a:pt x="27" y="7"/>
                    </a:cubicBezTo>
                    <a:cubicBezTo>
                      <a:pt x="29" y="7"/>
                      <a:pt x="41" y="9"/>
                      <a:pt x="43" y="7"/>
                    </a:cubicBezTo>
                    <a:cubicBezTo>
                      <a:pt x="45" y="5"/>
                      <a:pt x="47" y="0"/>
                      <a:pt x="49" y="1"/>
                    </a:cubicBezTo>
                    <a:cubicBezTo>
                      <a:pt x="51" y="2"/>
                      <a:pt x="52" y="3"/>
                      <a:pt x="51" y="5"/>
                    </a:cubicBezTo>
                    <a:cubicBezTo>
                      <a:pt x="50" y="6"/>
                      <a:pt x="45" y="13"/>
                      <a:pt x="45" y="14"/>
                    </a:cubicBezTo>
                    <a:cubicBezTo>
                      <a:pt x="43" y="14"/>
                      <a:pt x="37" y="13"/>
                      <a:pt x="33" y="13"/>
                    </a:cubicBezTo>
                    <a:cubicBezTo>
                      <a:pt x="30" y="13"/>
                      <a:pt x="21" y="13"/>
                      <a:pt x="19" y="13"/>
                    </a:cubicBezTo>
                    <a:cubicBezTo>
                      <a:pt x="17" y="13"/>
                      <a:pt x="14" y="15"/>
                      <a:pt x="14" y="17"/>
                    </a:cubicBezTo>
                    <a:cubicBezTo>
                      <a:pt x="14" y="18"/>
                      <a:pt x="12" y="21"/>
                      <a:pt x="13" y="22"/>
                    </a:cubicBezTo>
                    <a:cubicBezTo>
                      <a:pt x="15" y="24"/>
                      <a:pt x="15" y="26"/>
                      <a:pt x="17" y="26"/>
                    </a:cubicBezTo>
                    <a:cubicBezTo>
                      <a:pt x="20" y="27"/>
                      <a:pt x="21" y="22"/>
                      <a:pt x="23" y="22"/>
                    </a:cubicBezTo>
                    <a:cubicBezTo>
                      <a:pt x="25" y="22"/>
                      <a:pt x="32" y="19"/>
                      <a:pt x="35" y="21"/>
                    </a:cubicBezTo>
                    <a:cubicBezTo>
                      <a:pt x="37" y="23"/>
                      <a:pt x="37" y="23"/>
                      <a:pt x="36" y="25"/>
                    </a:cubicBezTo>
                    <a:cubicBezTo>
                      <a:pt x="35" y="26"/>
                      <a:pt x="30" y="28"/>
                      <a:pt x="28" y="28"/>
                    </a:cubicBezTo>
                    <a:cubicBezTo>
                      <a:pt x="26" y="28"/>
                      <a:pt x="22" y="30"/>
                      <a:pt x="22" y="31"/>
                    </a:cubicBezTo>
                    <a:cubicBezTo>
                      <a:pt x="22" y="33"/>
                      <a:pt x="29" y="38"/>
                      <a:pt x="29" y="40"/>
                    </a:cubicBezTo>
                    <a:cubicBezTo>
                      <a:pt x="29" y="42"/>
                      <a:pt x="28" y="44"/>
                      <a:pt x="29" y="45"/>
                    </a:cubicBezTo>
                    <a:cubicBezTo>
                      <a:pt x="30" y="46"/>
                      <a:pt x="34" y="50"/>
                      <a:pt x="34" y="50"/>
                    </a:cubicBezTo>
                    <a:cubicBezTo>
                      <a:pt x="34" y="50"/>
                      <a:pt x="34" y="53"/>
                      <a:pt x="33" y="55"/>
                    </a:cubicBezTo>
                    <a:cubicBezTo>
                      <a:pt x="32" y="57"/>
                      <a:pt x="32" y="59"/>
                      <a:pt x="30" y="58"/>
                    </a:cubicBezTo>
                    <a:cubicBezTo>
                      <a:pt x="29" y="57"/>
                      <a:pt x="29" y="52"/>
                      <a:pt x="27" y="52"/>
                    </a:cubicBezTo>
                    <a:cubicBezTo>
                      <a:pt x="26" y="52"/>
                      <a:pt x="23" y="54"/>
                      <a:pt x="22" y="52"/>
                    </a:cubicBezTo>
                    <a:cubicBezTo>
                      <a:pt x="22" y="50"/>
                      <a:pt x="24" y="49"/>
                      <a:pt x="22" y="46"/>
                    </a:cubicBezTo>
                    <a:cubicBezTo>
                      <a:pt x="21" y="44"/>
                      <a:pt x="18" y="36"/>
                      <a:pt x="18" y="36"/>
                    </a:cubicBezTo>
                    <a:cubicBezTo>
                      <a:pt x="17" y="35"/>
                      <a:pt x="11" y="37"/>
                      <a:pt x="11" y="39"/>
                    </a:cubicBezTo>
                    <a:cubicBezTo>
                      <a:pt x="12" y="40"/>
                      <a:pt x="15" y="48"/>
                      <a:pt x="14" y="51"/>
                    </a:cubicBezTo>
                    <a:cubicBezTo>
                      <a:pt x="13" y="55"/>
                      <a:pt x="15" y="58"/>
                      <a:pt x="13" y="59"/>
                    </a:cubicBezTo>
                    <a:cubicBezTo>
                      <a:pt x="12" y="59"/>
                      <a:pt x="6" y="60"/>
                      <a:pt x="6" y="58"/>
                    </a:cubicBezTo>
                    <a:cubicBezTo>
                      <a:pt x="5" y="55"/>
                      <a:pt x="7" y="51"/>
                      <a:pt x="7" y="51"/>
                    </a:cubicBezTo>
                    <a:cubicBezTo>
                      <a:pt x="7" y="48"/>
                      <a:pt x="7" y="44"/>
                      <a:pt x="7" y="43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2" name="Freeform 42"/>
              <p:cNvSpPr>
                <a:spLocks/>
              </p:cNvSpPr>
              <p:nvPr/>
            </p:nvSpPr>
            <p:spPr bwMode="auto">
              <a:xfrm>
                <a:off x="4402" y="2494"/>
                <a:ext cx="158" cy="133"/>
              </a:xfrm>
              <a:custGeom>
                <a:avLst/>
                <a:gdLst>
                  <a:gd name="T0" fmla="*/ 395792 w 78"/>
                  <a:gd name="T1" fmla="*/ 1326244 h 66"/>
                  <a:gd name="T2" fmla="*/ 629290 w 78"/>
                  <a:gd name="T3" fmla="*/ 1842929 h 66"/>
                  <a:gd name="T4" fmla="*/ 1112383 w 78"/>
                  <a:gd name="T5" fmla="*/ 2134432 h 66"/>
                  <a:gd name="T6" fmla="*/ 2099364 w 78"/>
                  <a:gd name="T7" fmla="*/ 1987584 h 66"/>
                  <a:gd name="T8" fmla="*/ 2423605 w 78"/>
                  <a:gd name="T9" fmla="*/ 1617735 h 66"/>
                  <a:gd name="T10" fmla="*/ 3289688 w 78"/>
                  <a:gd name="T11" fmla="*/ 1691663 h 66"/>
                  <a:gd name="T12" fmla="*/ 3932877 w 78"/>
                  <a:gd name="T13" fmla="*/ 949634 h 66"/>
                  <a:gd name="T14" fmla="*/ 4252558 w 78"/>
                  <a:gd name="T15" fmla="*/ 70712 h 66"/>
                  <a:gd name="T16" fmla="*/ 5155078 w 78"/>
                  <a:gd name="T17" fmla="*/ 0 h 66"/>
                  <a:gd name="T18" fmla="*/ 5561019 w 78"/>
                  <a:gd name="T19" fmla="*/ 215367 h 66"/>
                  <a:gd name="T20" fmla="*/ 5308435 w 78"/>
                  <a:gd name="T21" fmla="*/ 506865 h 66"/>
                  <a:gd name="T22" fmla="*/ 5635368 w 78"/>
                  <a:gd name="T23" fmla="*/ 949634 h 66"/>
                  <a:gd name="T24" fmla="*/ 5635368 w 78"/>
                  <a:gd name="T25" fmla="*/ 1326244 h 66"/>
                  <a:gd name="T26" fmla="*/ 6266855 w 78"/>
                  <a:gd name="T27" fmla="*/ 1913656 h 66"/>
                  <a:gd name="T28" fmla="*/ 5483082 w 78"/>
                  <a:gd name="T29" fmla="*/ 2058296 h 66"/>
                  <a:gd name="T30" fmla="*/ 5308435 w 78"/>
                  <a:gd name="T31" fmla="*/ 2893349 h 66"/>
                  <a:gd name="T32" fmla="*/ 4759746 w 78"/>
                  <a:gd name="T33" fmla="*/ 3408957 h 66"/>
                  <a:gd name="T34" fmla="*/ 4835306 w 78"/>
                  <a:gd name="T35" fmla="*/ 3856307 h 66"/>
                  <a:gd name="T36" fmla="*/ 4486151 w 78"/>
                  <a:gd name="T37" fmla="*/ 4592708 h 66"/>
                  <a:gd name="T38" fmla="*/ 3526576 w 78"/>
                  <a:gd name="T39" fmla="*/ 4877725 h 66"/>
                  <a:gd name="T40" fmla="*/ 3364723 w 78"/>
                  <a:gd name="T41" fmla="*/ 4443699 h 66"/>
                  <a:gd name="T42" fmla="*/ 2658002 w 78"/>
                  <a:gd name="T43" fmla="*/ 4301204 h 66"/>
                  <a:gd name="T44" fmla="*/ 1856417 w 78"/>
                  <a:gd name="T45" fmla="*/ 4592708 h 66"/>
                  <a:gd name="T46" fmla="*/ 1704162 w 78"/>
                  <a:gd name="T47" fmla="*/ 4147778 h 66"/>
                  <a:gd name="T48" fmla="*/ 801733 w 78"/>
                  <a:gd name="T49" fmla="*/ 4147778 h 66"/>
                  <a:gd name="T50" fmla="*/ 707573 w 78"/>
                  <a:gd name="T51" fmla="*/ 3259981 h 66"/>
                  <a:gd name="T52" fmla="*/ 153365 w 78"/>
                  <a:gd name="T53" fmla="*/ 2672583 h 66"/>
                  <a:gd name="T54" fmla="*/ 0 w 78"/>
                  <a:gd name="T55" fmla="*/ 1987584 h 66"/>
                  <a:gd name="T56" fmla="*/ 395792 w 78"/>
                  <a:gd name="T57" fmla="*/ 1326244 h 6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8" h="66">
                    <a:moveTo>
                      <a:pt x="5" y="18"/>
                    </a:moveTo>
                    <a:cubicBezTo>
                      <a:pt x="8" y="25"/>
                      <a:pt x="8" y="25"/>
                      <a:pt x="8" y="25"/>
                    </a:cubicBezTo>
                    <a:cubicBezTo>
                      <a:pt x="9" y="27"/>
                      <a:pt x="11" y="29"/>
                      <a:pt x="14" y="29"/>
                    </a:cubicBezTo>
                    <a:cubicBezTo>
                      <a:pt x="16" y="29"/>
                      <a:pt x="26" y="28"/>
                      <a:pt x="26" y="27"/>
                    </a:cubicBezTo>
                    <a:cubicBezTo>
                      <a:pt x="27" y="25"/>
                      <a:pt x="27" y="21"/>
                      <a:pt x="30" y="22"/>
                    </a:cubicBezTo>
                    <a:cubicBezTo>
                      <a:pt x="33" y="22"/>
                      <a:pt x="38" y="24"/>
                      <a:pt x="41" y="23"/>
                    </a:cubicBezTo>
                    <a:cubicBezTo>
                      <a:pt x="43" y="23"/>
                      <a:pt x="49" y="15"/>
                      <a:pt x="49" y="13"/>
                    </a:cubicBezTo>
                    <a:cubicBezTo>
                      <a:pt x="49" y="10"/>
                      <a:pt x="51" y="2"/>
                      <a:pt x="53" y="1"/>
                    </a:cubicBezTo>
                    <a:cubicBezTo>
                      <a:pt x="55" y="0"/>
                      <a:pt x="61" y="0"/>
                      <a:pt x="64" y="0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8" y="4"/>
                      <a:pt x="67" y="6"/>
                      <a:pt x="66" y="7"/>
                    </a:cubicBezTo>
                    <a:cubicBezTo>
                      <a:pt x="63" y="9"/>
                      <a:pt x="68" y="12"/>
                      <a:pt x="70" y="13"/>
                    </a:cubicBezTo>
                    <a:cubicBezTo>
                      <a:pt x="71" y="15"/>
                      <a:pt x="70" y="17"/>
                      <a:pt x="70" y="18"/>
                    </a:cubicBezTo>
                    <a:cubicBezTo>
                      <a:pt x="69" y="20"/>
                      <a:pt x="78" y="24"/>
                      <a:pt x="78" y="26"/>
                    </a:cubicBezTo>
                    <a:cubicBezTo>
                      <a:pt x="78" y="28"/>
                      <a:pt x="70" y="27"/>
                      <a:pt x="68" y="28"/>
                    </a:cubicBezTo>
                    <a:cubicBezTo>
                      <a:pt x="66" y="28"/>
                      <a:pt x="66" y="37"/>
                      <a:pt x="66" y="39"/>
                    </a:cubicBezTo>
                    <a:cubicBezTo>
                      <a:pt x="66" y="42"/>
                      <a:pt x="60" y="44"/>
                      <a:pt x="59" y="46"/>
                    </a:cubicBezTo>
                    <a:cubicBezTo>
                      <a:pt x="58" y="47"/>
                      <a:pt x="60" y="50"/>
                      <a:pt x="60" y="52"/>
                    </a:cubicBezTo>
                    <a:cubicBezTo>
                      <a:pt x="60" y="54"/>
                      <a:pt x="56" y="61"/>
                      <a:pt x="56" y="62"/>
                    </a:cubicBezTo>
                    <a:cubicBezTo>
                      <a:pt x="55" y="63"/>
                      <a:pt x="45" y="66"/>
                      <a:pt x="44" y="66"/>
                    </a:cubicBezTo>
                    <a:cubicBezTo>
                      <a:pt x="43" y="66"/>
                      <a:pt x="43" y="62"/>
                      <a:pt x="42" y="60"/>
                    </a:cubicBezTo>
                    <a:cubicBezTo>
                      <a:pt x="42" y="59"/>
                      <a:pt x="34" y="59"/>
                      <a:pt x="33" y="58"/>
                    </a:cubicBezTo>
                    <a:cubicBezTo>
                      <a:pt x="32" y="57"/>
                      <a:pt x="25" y="62"/>
                      <a:pt x="23" y="62"/>
                    </a:cubicBezTo>
                    <a:cubicBezTo>
                      <a:pt x="21" y="61"/>
                      <a:pt x="22" y="57"/>
                      <a:pt x="21" y="56"/>
                    </a:cubicBezTo>
                    <a:cubicBezTo>
                      <a:pt x="20" y="55"/>
                      <a:pt x="11" y="56"/>
                      <a:pt x="10" y="56"/>
                    </a:cubicBezTo>
                    <a:cubicBezTo>
                      <a:pt x="8" y="56"/>
                      <a:pt x="9" y="46"/>
                      <a:pt x="9" y="44"/>
                    </a:cubicBezTo>
                    <a:cubicBezTo>
                      <a:pt x="9" y="42"/>
                      <a:pt x="4" y="38"/>
                      <a:pt x="2" y="36"/>
                    </a:cubicBezTo>
                    <a:cubicBezTo>
                      <a:pt x="0" y="34"/>
                      <a:pt x="0" y="30"/>
                      <a:pt x="0" y="27"/>
                    </a:cubicBezTo>
                    <a:cubicBezTo>
                      <a:pt x="0" y="23"/>
                      <a:pt x="2" y="21"/>
                      <a:pt x="5" y="18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3" name="Freeform 43"/>
              <p:cNvSpPr>
                <a:spLocks/>
              </p:cNvSpPr>
              <p:nvPr/>
            </p:nvSpPr>
            <p:spPr bwMode="auto">
              <a:xfrm>
                <a:off x="4347" y="2652"/>
                <a:ext cx="211" cy="52"/>
              </a:xfrm>
              <a:custGeom>
                <a:avLst/>
                <a:gdLst>
                  <a:gd name="T0" fmla="*/ 156235 w 104"/>
                  <a:gd name="T1" fmla="*/ 524288 h 26"/>
                  <a:gd name="T2" fmla="*/ 899327 w 104"/>
                  <a:gd name="T3" fmla="*/ 131072 h 26"/>
                  <a:gd name="T4" fmla="*/ 1381435 w 104"/>
                  <a:gd name="T5" fmla="*/ 131072 h 26"/>
                  <a:gd name="T6" fmla="*/ 2061718 w 104"/>
                  <a:gd name="T7" fmla="*/ 458752 h 26"/>
                  <a:gd name="T8" fmla="*/ 3205764 w 104"/>
                  <a:gd name="T9" fmla="*/ 524288 h 26"/>
                  <a:gd name="T10" fmla="*/ 3541103 w 104"/>
                  <a:gd name="T11" fmla="*/ 327680 h 26"/>
                  <a:gd name="T12" fmla="*/ 4459666 w 104"/>
                  <a:gd name="T13" fmla="*/ 524288 h 26"/>
                  <a:gd name="T14" fmla="*/ 4708848 w 104"/>
                  <a:gd name="T15" fmla="*/ 851968 h 26"/>
                  <a:gd name="T16" fmla="*/ 5686286 w 104"/>
                  <a:gd name="T17" fmla="*/ 917504 h 26"/>
                  <a:gd name="T18" fmla="*/ 6347799 w 104"/>
                  <a:gd name="T19" fmla="*/ 1179648 h 26"/>
                  <a:gd name="T20" fmla="*/ 7349706 w 104"/>
                  <a:gd name="T21" fmla="*/ 1310720 h 26"/>
                  <a:gd name="T22" fmla="*/ 8169859 w 104"/>
                  <a:gd name="T23" fmla="*/ 1245184 h 26"/>
                  <a:gd name="T24" fmla="*/ 8565719 w 104"/>
                  <a:gd name="T25" fmla="*/ 1376256 h 26"/>
                  <a:gd name="T26" fmla="*/ 8169859 w 104"/>
                  <a:gd name="T27" fmla="*/ 1703936 h 26"/>
                  <a:gd name="T28" fmla="*/ 6906980 w 104"/>
                  <a:gd name="T29" fmla="*/ 1703936 h 26"/>
                  <a:gd name="T30" fmla="*/ 5928698 w 104"/>
                  <a:gd name="T31" fmla="*/ 1507328 h 26"/>
                  <a:gd name="T32" fmla="*/ 4548091 w 104"/>
                  <a:gd name="T33" fmla="*/ 1441792 h 26"/>
                  <a:gd name="T34" fmla="*/ 3205764 w 104"/>
                  <a:gd name="T35" fmla="*/ 1245184 h 26"/>
                  <a:gd name="T36" fmla="*/ 2241713 w 104"/>
                  <a:gd name="T37" fmla="*/ 1048576 h 26"/>
                  <a:gd name="T38" fmla="*/ 817846 w 104"/>
                  <a:gd name="T39" fmla="*/ 851968 h 26"/>
                  <a:gd name="T40" fmla="*/ 156235 w 104"/>
                  <a:gd name="T41" fmla="*/ 524288 h 2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04" h="26">
                    <a:moveTo>
                      <a:pt x="2" y="8"/>
                    </a:moveTo>
                    <a:cubicBezTo>
                      <a:pt x="5" y="7"/>
                      <a:pt x="11" y="4"/>
                      <a:pt x="11" y="2"/>
                    </a:cubicBezTo>
                    <a:cubicBezTo>
                      <a:pt x="12" y="0"/>
                      <a:pt x="17" y="2"/>
                      <a:pt x="17" y="2"/>
                    </a:cubicBezTo>
                    <a:cubicBezTo>
                      <a:pt x="21" y="3"/>
                      <a:pt x="22" y="7"/>
                      <a:pt x="25" y="7"/>
                    </a:cubicBezTo>
                    <a:cubicBezTo>
                      <a:pt x="28" y="7"/>
                      <a:pt x="36" y="8"/>
                      <a:pt x="39" y="8"/>
                    </a:cubicBezTo>
                    <a:cubicBezTo>
                      <a:pt x="41" y="8"/>
                      <a:pt x="39" y="5"/>
                      <a:pt x="43" y="5"/>
                    </a:cubicBezTo>
                    <a:cubicBezTo>
                      <a:pt x="47" y="5"/>
                      <a:pt x="52" y="6"/>
                      <a:pt x="54" y="8"/>
                    </a:cubicBezTo>
                    <a:cubicBezTo>
                      <a:pt x="57" y="9"/>
                      <a:pt x="54" y="13"/>
                      <a:pt x="57" y="13"/>
                    </a:cubicBezTo>
                    <a:cubicBezTo>
                      <a:pt x="60" y="14"/>
                      <a:pt x="68" y="11"/>
                      <a:pt x="69" y="14"/>
                    </a:cubicBezTo>
                    <a:cubicBezTo>
                      <a:pt x="71" y="16"/>
                      <a:pt x="75" y="18"/>
                      <a:pt x="77" y="18"/>
                    </a:cubicBezTo>
                    <a:cubicBezTo>
                      <a:pt x="80" y="18"/>
                      <a:pt x="85" y="20"/>
                      <a:pt x="89" y="20"/>
                    </a:cubicBezTo>
                    <a:cubicBezTo>
                      <a:pt x="92" y="19"/>
                      <a:pt x="96" y="19"/>
                      <a:pt x="99" y="19"/>
                    </a:cubicBezTo>
                    <a:cubicBezTo>
                      <a:pt x="101" y="19"/>
                      <a:pt x="104" y="18"/>
                      <a:pt x="104" y="21"/>
                    </a:cubicBezTo>
                    <a:cubicBezTo>
                      <a:pt x="104" y="23"/>
                      <a:pt x="102" y="25"/>
                      <a:pt x="99" y="26"/>
                    </a:cubicBezTo>
                    <a:cubicBezTo>
                      <a:pt x="95" y="26"/>
                      <a:pt x="87" y="26"/>
                      <a:pt x="84" y="26"/>
                    </a:cubicBezTo>
                    <a:cubicBezTo>
                      <a:pt x="81" y="25"/>
                      <a:pt x="75" y="22"/>
                      <a:pt x="72" y="23"/>
                    </a:cubicBezTo>
                    <a:cubicBezTo>
                      <a:pt x="68" y="23"/>
                      <a:pt x="60" y="22"/>
                      <a:pt x="55" y="22"/>
                    </a:cubicBezTo>
                    <a:cubicBezTo>
                      <a:pt x="50" y="22"/>
                      <a:pt x="43" y="21"/>
                      <a:pt x="39" y="19"/>
                    </a:cubicBezTo>
                    <a:cubicBezTo>
                      <a:pt x="35" y="17"/>
                      <a:pt x="32" y="16"/>
                      <a:pt x="27" y="16"/>
                    </a:cubicBezTo>
                    <a:cubicBezTo>
                      <a:pt x="22" y="16"/>
                      <a:pt x="14" y="14"/>
                      <a:pt x="10" y="13"/>
                    </a:cubicBezTo>
                    <a:cubicBezTo>
                      <a:pt x="6" y="11"/>
                      <a:pt x="0" y="10"/>
                      <a:pt x="2" y="8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4" name="Freeform 44"/>
              <p:cNvSpPr>
                <a:spLocks/>
              </p:cNvSpPr>
              <p:nvPr/>
            </p:nvSpPr>
            <p:spPr bwMode="auto">
              <a:xfrm>
                <a:off x="4187" y="2473"/>
                <a:ext cx="172" cy="181"/>
              </a:xfrm>
              <a:custGeom>
                <a:avLst/>
                <a:gdLst>
                  <a:gd name="T0" fmla="*/ 696286 w 85"/>
                  <a:gd name="T1" fmla="*/ 1100303 h 89"/>
                  <a:gd name="T2" fmla="*/ 151852 w 85"/>
                  <a:gd name="T3" fmla="*/ 164802 h 89"/>
                  <a:gd name="T4" fmla="*/ 867005 w 85"/>
                  <a:gd name="T5" fmla="*/ 335159 h 89"/>
                  <a:gd name="T6" fmla="*/ 1640518 w 85"/>
                  <a:gd name="T7" fmla="*/ 499845 h 89"/>
                  <a:gd name="T8" fmla="*/ 2298563 w 85"/>
                  <a:gd name="T9" fmla="*/ 1386206 h 89"/>
                  <a:gd name="T10" fmla="*/ 3393020 w 85"/>
                  <a:gd name="T11" fmla="*/ 2324014 h 89"/>
                  <a:gd name="T12" fmla="*/ 4490495 w 85"/>
                  <a:gd name="T13" fmla="*/ 3064354 h 89"/>
                  <a:gd name="T14" fmla="*/ 5226983 w 85"/>
                  <a:gd name="T15" fmla="*/ 3505335 h 89"/>
                  <a:gd name="T16" fmla="*/ 5151908 w 85"/>
                  <a:gd name="T17" fmla="*/ 4204372 h 89"/>
                  <a:gd name="T18" fmla="*/ 5769208 w 85"/>
                  <a:gd name="T19" fmla="*/ 4469244 h 89"/>
                  <a:gd name="T20" fmla="*/ 5862316 w 85"/>
                  <a:gd name="T21" fmla="*/ 5210148 h 89"/>
                  <a:gd name="T22" fmla="*/ 6410240 w 85"/>
                  <a:gd name="T23" fmla="*/ 5131698 h 89"/>
                  <a:gd name="T24" fmla="*/ 6635817 w 85"/>
                  <a:gd name="T25" fmla="*/ 5986221 h 89"/>
                  <a:gd name="T26" fmla="*/ 6560798 w 85"/>
                  <a:gd name="T27" fmla="*/ 7612583 h 89"/>
                  <a:gd name="T28" fmla="*/ 5618271 w 85"/>
                  <a:gd name="T29" fmla="*/ 7453187 h 89"/>
                  <a:gd name="T30" fmla="*/ 4185401 w 85"/>
                  <a:gd name="T31" fmla="*/ 6145700 h 89"/>
                  <a:gd name="T32" fmla="*/ 3242255 w 85"/>
                  <a:gd name="T33" fmla="*/ 4124776 h 89"/>
                  <a:gd name="T34" fmla="*/ 2450419 w 85"/>
                  <a:gd name="T35" fmla="*/ 3583792 h 89"/>
                  <a:gd name="T36" fmla="*/ 2219140 w 85"/>
                  <a:gd name="T37" fmla="*/ 2648215 h 89"/>
                  <a:gd name="T38" fmla="*/ 1754410 w 85"/>
                  <a:gd name="T39" fmla="*/ 2159041 h 89"/>
                  <a:gd name="T40" fmla="*/ 1258198 w 85"/>
                  <a:gd name="T41" fmla="*/ 1466950 h 89"/>
                  <a:gd name="T42" fmla="*/ 696286 w 85"/>
                  <a:gd name="T43" fmla="*/ 1100303 h 8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5" h="89">
                    <a:moveTo>
                      <a:pt x="9" y="13"/>
                    </a:moveTo>
                    <a:cubicBezTo>
                      <a:pt x="6" y="10"/>
                      <a:pt x="0" y="4"/>
                      <a:pt x="2" y="2"/>
                    </a:cubicBezTo>
                    <a:cubicBezTo>
                      <a:pt x="4" y="0"/>
                      <a:pt x="8" y="4"/>
                      <a:pt x="11" y="4"/>
                    </a:cubicBezTo>
                    <a:cubicBezTo>
                      <a:pt x="13" y="4"/>
                      <a:pt x="20" y="4"/>
                      <a:pt x="21" y="6"/>
                    </a:cubicBezTo>
                    <a:cubicBezTo>
                      <a:pt x="22" y="7"/>
                      <a:pt x="27" y="14"/>
                      <a:pt x="29" y="16"/>
                    </a:cubicBezTo>
                    <a:cubicBezTo>
                      <a:pt x="30" y="17"/>
                      <a:pt x="39" y="25"/>
                      <a:pt x="43" y="27"/>
                    </a:cubicBezTo>
                    <a:cubicBezTo>
                      <a:pt x="47" y="29"/>
                      <a:pt x="55" y="34"/>
                      <a:pt x="57" y="36"/>
                    </a:cubicBezTo>
                    <a:cubicBezTo>
                      <a:pt x="59" y="38"/>
                      <a:pt x="66" y="40"/>
                      <a:pt x="66" y="41"/>
                    </a:cubicBezTo>
                    <a:cubicBezTo>
                      <a:pt x="66" y="43"/>
                      <a:pt x="63" y="48"/>
                      <a:pt x="65" y="49"/>
                    </a:cubicBezTo>
                    <a:cubicBezTo>
                      <a:pt x="67" y="51"/>
                      <a:pt x="71" y="49"/>
                      <a:pt x="73" y="52"/>
                    </a:cubicBezTo>
                    <a:cubicBezTo>
                      <a:pt x="74" y="55"/>
                      <a:pt x="70" y="59"/>
                      <a:pt x="74" y="61"/>
                    </a:cubicBezTo>
                    <a:cubicBezTo>
                      <a:pt x="77" y="62"/>
                      <a:pt x="79" y="59"/>
                      <a:pt x="81" y="60"/>
                    </a:cubicBezTo>
                    <a:cubicBezTo>
                      <a:pt x="84" y="62"/>
                      <a:pt x="84" y="67"/>
                      <a:pt x="84" y="70"/>
                    </a:cubicBezTo>
                    <a:cubicBezTo>
                      <a:pt x="84" y="74"/>
                      <a:pt x="85" y="88"/>
                      <a:pt x="83" y="89"/>
                    </a:cubicBezTo>
                    <a:cubicBezTo>
                      <a:pt x="81" y="89"/>
                      <a:pt x="74" y="88"/>
                      <a:pt x="71" y="87"/>
                    </a:cubicBezTo>
                    <a:cubicBezTo>
                      <a:pt x="69" y="85"/>
                      <a:pt x="56" y="77"/>
                      <a:pt x="53" y="72"/>
                    </a:cubicBezTo>
                    <a:cubicBezTo>
                      <a:pt x="51" y="67"/>
                      <a:pt x="44" y="50"/>
                      <a:pt x="41" y="48"/>
                    </a:cubicBezTo>
                    <a:cubicBezTo>
                      <a:pt x="38" y="46"/>
                      <a:pt x="32" y="45"/>
                      <a:pt x="31" y="42"/>
                    </a:cubicBezTo>
                    <a:cubicBezTo>
                      <a:pt x="31" y="40"/>
                      <a:pt x="32" y="35"/>
                      <a:pt x="28" y="31"/>
                    </a:cubicBezTo>
                    <a:cubicBezTo>
                      <a:pt x="25" y="26"/>
                      <a:pt x="25" y="29"/>
                      <a:pt x="22" y="25"/>
                    </a:cubicBezTo>
                    <a:cubicBezTo>
                      <a:pt x="18" y="22"/>
                      <a:pt x="19" y="18"/>
                      <a:pt x="16" y="17"/>
                    </a:cubicBezTo>
                    <a:cubicBezTo>
                      <a:pt x="14" y="16"/>
                      <a:pt x="9" y="13"/>
                      <a:pt x="9" y="13"/>
                    </a:cubicBezTo>
                    <a:close/>
                  </a:path>
                </a:pathLst>
              </a:custGeom>
              <a:solidFill>
                <a:srgbClr val="FFB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" name="Freeform 56"/>
            <p:cNvSpPr>
              <a:spLocks/>
            </p:cNvSpPr>
            <p:nvPr/>
          </p:nvSpPr>
          <p:spPr bwMode="auto">
            <a:xfrm>
              <a:off x="7152173" y="3927058"/>
              <a:ext cx="617875" cy="589345"/>
            </a:xfrm>
            <a:custGeom>
              <a:avLst/>
              <a:gdLst>
                <a:gd name="T0" fmla="*/ 16130 w 221"/>
                <a:gd name="T1" fmla="*/ 34102 h 223"/>
                <a:gd name="T2" fmla="*/ 16130 w 221"/>
                <a:gd name="T3" fmla="*/ 31515 h 223"/>
                <a:gd name="T4" fmla="*/ 14509 w 221"/>
                <a:gd name="T5" fmla="*/ 29319 h 223"/>
                <a:gd name="T6" fmla="*/ 55339 w 221"/>
                <a:gd name="T7" fmla="*/ 25573 h 223"/>
                <a:gd name="T8" fmla="*/ 55050 w 221"/>
                <a:gd name="T9" fmla="*/ 19812 h 223"/>
                <a:gd name="T10" fmla="*/ 91418 w 221"/>
                <a:gd name="T11" fmla="*/ 19930 h 223"/>
                <a:gd name="T12" fmla="*/ 152609 w 221"/>
                <a:gd name="T13" fmla="*/ 11937 h 223"/>
                <a:gd name="T14" fmla="*/ 180406 w 221"/>
                <a:gd name="T15" fmla="*/ 8576 h 223"/>
                <a:gd name="T16" fmla="*/ 143070 w 221"/>
                <a:gd name="T17" fmla="*/ 2851 h 223"/>
                <a:gd name="T18" fmla="*/ 231275 w 221"/>
                <a:gd name="T19" fmla="*/ 1475 h 223"/>
                <a:gd name="T20" fmla="*/ 234443 w 221"/>
                <a:gd name="T21" fmla="*/ 0 h 223"/>
                <a:gd name="T22" fmla="*/ 253428 w 221"/>
                <a:gd name="T23" fmla="*/ 2851 h 223"/>
                <a:gd name="T24" fmla="*/ 258529 w 221"/>
                <a:gd name="T25" fmla="*/ 2851 h 223"/>
                <a:gd name="T26" fmla="*/ 284188 w 221"/>
                <a:gd name="T27" fmla="*/ 7344 h 223"/>
                <a:gd name="T28" fmla="*/ 267804 w 221"/>
                <a:gd name="T29" fmla="*/ 10766 h 223"/>
                <a:gd name="T30" fmla="*/ 304283 w 221"/>
                <a:gd name="T31" fmla="*/ 15401 h 223"/>
                <a:gd name="T32" fmla="*/ 304283 w 221"/>
                <a:gd name="T33" fmla="*/ 18076 h 223"/>
                <a:gd name="T34" fmla="*/ 380458 w 221"/>
                <a:gd name="T35" fmla="*/ 20935 h 223"/>
                <a:gd name="T36" fmla="*/ 420851 w 221"/>
                <a:gd name="T37" fmla="*/ 22399 h 223"/>
                <a:gd name="T38" fmla="*/ 496033 w 221"/>
                <a:gd name="T39" fmla="*/ 23406 h 223"/>
                <a:gd name="T40" fmla="*/ 517844 w 221"/>
                <a:gd name="T41" fmla="*/ 19103 h 223"/>
                <a:gd name="T42" fmla="*/ 527286 w 221"/>
                <a:gd name="T43" fmla="*/ 21955 h 223"/>
                <a:gd name="T44" fmla="*/ 582520 w 221"/>
                <a:gd name="T45" fmla="*/ 22745 h 223"/>
                <a:gd name="T46" fmla="*/ 602569 w 221"/>
                <a:gd name="T47" fmla="*/ 21955 h 223"/>
                <a:gd name="T48" fmla="*/ 637041 w 221"/>
                <a:gd name="T49" fmla="*/ 18589 h 223"/>
                <a:gd name="T50" fmla="*/ 683029 w 221"/>
                <a:gd name="T51" fmla="*/ 16538 h 223"/>
                <a:gd name="T52" fmla="*/ 712946 w 221"/>
                <a:gd name="T53" fmla="*/ 18589 h 223"/>
                <a:gd name="T54" fmla="*/ 738524 w 221"/>
                <a:gd name="T55" fmla="*/ 20163 h 223"/>
                <a:gd name="T56" fmla="*/ 712946 w 221"/>
                <a:gd name="T57" fmla="*/ 21499 h 223"/>
                <a:gd name="T58" fmla="*/ 683029 w 221"/>
                <a:gd name="T59" fmla="*/ 25104 h 223"/>
                <a:gd name="T60" fmla="*/ 642587 w 221"/>
                <a:gd name="T61" fmla="*/ 29947 h 223"/>
                <a:gd name="T62" fmla="*/ 619011 w 221"/>
                <a:gd name="T63" fmla="*/ 34830 h 223"/>
                <a:gd name="T64" fmla="*/ 602569 w 221"/>
                <a:gd name="T65" fmla="*/ 31406 h 223"/>
                <a:gd name="T66" fmla="*/ 598082 w 221"/>
                <a:gd name="T67" fmla="*/ 28843 h 223"/>
                <a:gd name="T68" fmla="*/ 548491 w 221"/>
                <a:gd name="T69" fmla="*/ 26591 h 223"/>
                <a:gd name="T70" fmla="*/ 517844 w 221"/>
                <a:gd name="T71" fmla="*/ 24068 h 223"/>
                <a:gd name="T72" fmla="*/ 521741 w 221"/>
                <a:gd name="T73" fmla="*/ 26591 h 223"/>
                <a:gd name="T74" fmla="*/ 515479 w 221"/>
                <a:gd name="T75" fmla="*/ 29442 h 223"/>
                <a:gd name="T76" fmla="*/ 525165 w 221"/>
                <a:gd name="T77" fmla="*/ 33482 h 223"/>
                <a:gd name="T78" fmla="*/ 525165 w 221"/>
                <a:gd name="T79" fmla="*/ 35523 h 223"/>
                <a:gd name="T80" fmla="*/ 466670 w 221"/>
                <a:gd name="T81" fmla="*/ 36582 h 223"/>
                <a:gd name="T82" fmla="*/ 435450 w 221"/>
                <a:gd name="T83" fmla="*/ 40783 h 223"/>
                <a:gd name="T84" fmla="*/ 360153 w 221"/>
                <a:gd name="T85" fmla="*/ 46544 h 223"/>
                <a:gd name="T86" fmla="*/ 299588 w 221"/>
                <a:gd name="T87" fmla="*/ 50514 h 223"/>
                <a:gd name="T88" fmla="*/ 289746 w 221"/>
                <a:gd name="T89" fmla="*/ 59736 h 223"/>
                <a:gd name="T90" fmla="*/ 277547 w 221"/>
                <a:gd name="T91" fmla="*/ 63501 h 223"/>
                <a:gd name="T92" fmla="*/ 252104 w 221"/>
                <a:gd name="T93" fmla="*/ 66359 h 223"/>
                <a:gd name="T94" fmla="*/ 216877 w 221"/>
                <a:gd name="T95" fmla="*/ 67017 h 223"/>
                <a:gd name="T96" fmla="*/ 163680 w 221"/>
                <a:gd name="T97" fmla="*/ 55919 h 223"/>
                <a:gd name="T98" fmla="*/ 121402 w 221"/>
                <a:gd name="T99" fmla="*/ 45082 h 223"/>
                <a:gd name="T100" fmla="*/ 103052 w 221"/>
                <a:gd name="T101" fmla="*/ 34102 h 223"/>
                <a:gd name="T102" fmla="*/ 60606 w 221"/>
                <a:gd name="T103" fmla="*/ 37834 h 22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21" h="223">
                  <a:moveTo>
                    <a:pt x="18" y="123"/>
                  </a:moveTo>
                  <a:cubicBezTo>
                    <a:pt x="16" y="121"/>
                    <a:pt x="5" y="113"/>
                    <a:pt x="5" y="111"/>
                  </a:cubicBezTo>
                  <a:cubicBezTo>
                    <a:pt x="5" y="109"/>
                    <a:pt x="15" y="108"/>
                    <a:pt x="15" y="107"/>
                  </a:cubicBezTo>
                  <a:cubicBezTo>
                    <a:pt x="15" y="105"/>
                    <a:pt x="7" y="104"/>
                    <a:pt x="5" y="103"/>
                  </a:cubicBezTo>
                  <a:cubicBezTo>
                    <a:pt x="3" y="102"/>
                    <a:pt x="3" y="102"/>
                    <a:pt x="0" y="100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5" y="94"/>
                    <a:pt x="17" y="95"/>
                    <a:pt x="19" y="94"/>
                  </a:cubicBezTo>
                  <a:cubicBezTo>
                    <a:pt x="21" y="93"/>
                    <a:pt x="19" y="86"/>
                    <a:pt x="17" y="83"/>
                  </a:cubicBezTo>
                  <a:cubicBezTo>
                    <a:pt x="15" y="81"/>
                    <a:pt x="7" y="75"/>
                    <a:pt x="8" y="73"/>
                  </a:cubicBezTo>
                  <a:cubicBezTo>
                    <a:pt x="9" y="71"/>
                    <a:pt x="15" y="64"/>
                    <a:pt x="16" y="64"/>
                  </a:cubicBezTo>
                  <a:cubicBezTo>
                    <a:pt x="18" y="64"/>
                    <a:pt x="19" y="67"/>
                    <a:pt x="21" y="67"/>
                  </a:cubicBezTo>
                  <a:cubicBezTo>
                    <a:pt x="22" y="67"/>
                    <a:pt x="26" y="65"/>
                    <a:pt x="27" y="65"/>
                  </a:cubicBezTo>
                  <a:cubicBezTo>
                    <a:pt x="28" y="64"/>
                    <a:pt x="36" y="52"/>
                    <a:pt x="37" y="50"/>
                  </a:cubicBezTo>
                  <a:cubicBezTo>
                    <a:pt x="38" y="49"/>
                    <a:pt x="46" y="41"/>
                    <a:pt x="46" y="39"/>
                  </a:cubicBezTo>
                  <a:cubicBezTo>
                    <a:pt x="47" y="37"/>
                    <a:pt x="47" y="35"/>
                    <a:pt x="47" y="34"/>
                  </a:cubicBezTo>
                  <a:cubicBezTo>
                    <a:pt x="47" y="33"/>
                    <a:pt x="54" y="33"/>
                    <a:pt x="54" y="28"/>
                  </a:cubicBezTo>
                  <a:cubicBezTo>
                    <a:pt x="54" y="24"/>
                    <a:pt x="46" y="24"/>
                    <a:pt x="46" y="23"/>
                  </a:cubicBezTo>
                  <a:cubicBezTo>
                    <a:pt x="45" y="22"/>
                    <a:pt x="41" y="10"/>
                    <a:pt x="43" y="9"/>
                  </a:cubicBezTo>
                  <a:cubicBezTo>
                    <a:pt x="44" y="8"/>
                    <a:pt x="53" y="10"/>
                    <a:pt x="55" y="10"/>
                  </a:cubicBezTo>
                  <a:cubicBezTo>
                    <a:pt x="57" y="10"/>
                    <a:pt x="68" y="5"/>
                    <a:pt x="69" y="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0"/>
                    <a:pt x="74" y="1"/>
                  </a:cubicBezTo>
                  <a:cubicBezTo>
                    <a:pt x="74" y="2"/>
                    <a:pt x="75" y="7"/>
                    <a:pt x="76" y="9"/>
                  </a:cubicBezTo>
                  <a:cubicBezTo>
                    <a:pt x="77" y="9"/>
                    <a:pt x="76" y="8"/>
                    <a:pt x="76" y="8"/>
                  </a:cubicBezTo>
                  <a:cubicBezTo>
                    <a:pt x="76" y="8"/>
                    <a:pt x="76" y="8"/>
                    <a:pt x="77" y="9"/>
                  </a:cubicBezTo>
                  <a:cubicBezTo>
                    <a:pt x="79" y="12"/>
                    <a:pt x="80" y="15"/>
                    <a:pt x="80" y="15"/>
                  </a:cubicBezTo>
                  <a:cubicBezTo>
                    <a:pt x="80" y="15"/>
                    <a:pt x="85" y="23"/>
                    <a:pt x="85" y="24"/>
                  </a:cubicBezTo>
                  <a:cubicBezTo>
                    <a:pt x="84" y="25"/>
                    <a:pt x="77" y="26"/>
                    <a:pt x="77" y="26"/>
                  </a:cubicBezTo>
                  <a:cubicBezTo>
                    <a:pt x="77" y="26"/>
                    <a:pt x="80" y="34"/>
                    <a:pt x="80" y="35"/>
                  </a:cubicBezTo>
                  <a:cubicBezTo>
                    <a:pt x="80" y="36"/>
                    <a:pt x="92" y="43"/>
                    <a:pt x="95" y="45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89" y="55"/>
                    <a:pt x="89" y="56"/>
                  </a:cubicBezTo>
                  <a:cubicBezTo>
                    <a:pt x="89" y="57"/>
                    <a:pt x="90" y="59"/>
                    <a:pt x="91" y="59"/>
                  </a:cubicBezTo>
                  <a:cubicBezTo>
                    <a:pt x="92" y="60"/>
                    <a:pt x="102" y="64"/>
                    <a:pt x="104" y="65"/>
                  </a:cubicBezTo>
                  <a:cubicBezTo>
                    <a:pt x="106" y="66"/>
                    <a:pt x="111" y="68"/>
                    <a:pt x="114" y="68"/>
                  </a:cubicBezTo>
                  <a:cubicBezTo>
                    <a:pt x="117" y="68"/>
                    <a:pt x="122" y="67"/>
                    <a:pt x="123" y="68"/>
                  </a:cubicBezTo>
                  <a:cubicBezTo>
                    <a:pt x="125" y="68"/>
                    <a:pt x="125" y="71"/>
                    <a:pt x="126" y="73"/>
                  </a:cubicBezTo>
                  <a:cubicBezTo>
                    <a:pt x="127" y="74"/>
                    <a:pt x="135" y="75"/>
                    <a:pt x="137" y="75"/>
                  </a:cubicBezTo>
                  <a:cubicBezTo>
                    <a:pt x="138" y="76"/>
                    <a:pt x="145" y="76"/>
                    <a:pt x="148" y="76"/>
                  </a:cubicBezTo>
                  <a:cubicBezTo>
                    <a:pt x="150" y="76"/>
                    <a:pt x="149" y="65"/>
                    <a:pt x="149" y="65"/>
                  </a:cubicBezTo>
                  <a:cubicBezTo>
                    <a:pt x="153" y="65"/>
                    <a:pt x="152" y="62"/>
                    <a:pt x="155" y="62"/>
                  </a:cubicBezTo>
                  <a:cubicBezTo>
                    <a:pt x="157" y="63"/>
                    <a:pt x="155" y="67"/>
                    <a:pt x="157" y="68"/>
                  </a:cubicBezTo>
                  <a:cubicBezTo>
                    <a:pt x="158" y="71"/>
                    <a:pt x="158" y="71"/>
                    <a:pt x="158" y="71"/>
                  </a:cubicBezTo>
                  <a:cubicBezTo>
                    <a:pt x="158" y="71"/>
                    <a:pt x="159" y="73"/>
                    <a:pt x="161" y="73"/>
                  </a:cubicBezTo>
                  <a:cubicBezTo>
                    <a:pt x="163" y="73"/>
                    <a:pt x="172" y="74"/>
                    <a:pt x="174" y="74"/>
                  </a:cubicBezTo>
                  <a:cubicBezTo>
                    <a:pt x="176" y="74"/>
                    <a:pt x="179" y="74"/>
                    <a:pt x="180" y="74"/>
                  </a:cubicBezTo>
                  <a:cubicBezTo>
                    <a:pt x="181" y="74"/>
                    <a:pt x="180" y="71"/>
                    <a:pt x="180" y="71"/>
                  </a:cubicBezTo>
                  <a:cubicBezTo>
                    <a:pt x="181" y="65"/>
                    <a:pt x="181" y="65"/>
                    <a:pt x="181" y="65"/>
                  </a:cubicBezTo>
                  <a:cubicBezTo>
                    <a:pt x="183" y="64"/>
                    <a:pt x="188" y="61"/>
                    <a:pt x="190" y="61"/>
                  </a:cubicBezTo>
                  <a:cubicBezTo>
                    <a:pt x="193" y="60"/>
                    <a:pt x="197" y="55"/>
                    <a:pt x="199" y="54"/>
                  </a:cubicBezTo>
                  <a:cubicBezTo>
                    <a:pt x="201" y="53"/>
                    <a:pt x="202" y="53"/>
                    <a:pt x="204" y="54"/>
                  </a:cubicBezTo>
                  <a:cubicBezTo>
                    <a:pt x="206" y="55"/>
                    <a:pt x="211" y="52"/>
                    <a:pt x="212" y="53"/>
                  </a:cubicBezTo>
                  <a:cubicBezTo>
                    <a:pt x="214" y="54"/>
                    <a:pt x="212" y="60"/>
                    <a:pt x="213" y="61"/>
                  </a:cubicBezTo>
                  <a:cubicBezTo>
                    <a:pt x="214" y="62"/>
                    <a:pt x="218" y="62"/>
                    <a:pt x="220" y="62"/>
                  </a:cubicBezTo>
                  <a:cubicBezTo>
                    <a:pt x="221" y="66"/>
                    <a:pt x="221" y="66"/>
                    <a:pt x="221" y="66"/>
                  </a:cubicBezTo>
                  <a:cubicBezTo>
                    <a:pt x="221" y="66"/>
                    <a:pt x="219" y="70"/>
                    <a:pt x="218" y="71"/>
                  </a:cubicBezTo>
                  <a:cubicBezTo>
                    <a:pt x="217" y="72"/>
                    <a:pt x="214" y="70"/>
                    <a:pt x="213" y="70"/>
                  </a:cubicBezTo>
                  <a:cubicBezTo>
                    <a:pt x="212" y="70"/>
                    <a:pt x="206" y="75"/>
                    <a:pt x="205" y="76"/>
                  </a:cubicBezTo>
                  <a:cubicBezTo>
                    <a:pt x="203" y="76"/>
                    <a:pt x="204" y="80"/>
                    <a:pt x="204" y="82"/>
                  </a:cubicBezTo>
                  <a:cubicBezTo>
                    <a:pt x="204" y="83"/>
                    <a:pt x="198" y="97"/>
                    <a:pt x="197" y="97"/>
                  </a:cubicBezTo>
                  <a:cubicBezTo>
                    <a:pt x="196" y="97"/>
                    <a:pt x="192" y="96"/>
                    <a:pt x="192" y="97"/>
                  </a:cubicBezTo>
                  <a:cubicBezTo>
                    <a:pt x="191" y="98"/>
                    <a:pt x="189" y="112"/>
                    <a:pt x="189" y="112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84" y="108"/>
                    <a:pt x="183" y="101"/>
                    <a:pt x="183" y="101"/>
                  </a:cubicBezTo>
                  <a:cubicBezTo>
                    <a:pt x="182" y="101"/>
                    <a:pt x="181" y="102"/>
                    <a:pt x="180" y="102"/>
                  </a:cubicBezTo>
                  <a:cubicBezTo>
                    <a:pt x="178" y="102"/>
                    <a:pt x="176" y="100"/>
                    <a:pt x="175" y="98"/>
                  </a:cubicBezTo>
                  <a:cubicBezTo>
                    <a:pt x="174" y="97"/>
                    <a:pt x="178" y="95"/>
                    <a:pt x="179" y="94"/>
                  </a:cubicBezTo>
                  <a:cubicBezTo>
                    <a:pt x="180" y="94"/>
                    <a:pt x="184" y="89"/>
                    <a:pt x="183" y="88"/>
                  </a:cubicBezTo>
                  <a:cubicBezTo>
                    <a:pt x="182" y="87"/>
                    <a:pt x="166" y="87"/>
                    <a:pt x="164" y="87"/>
                  </a:cubicBezTo>
                  <a:cubicBezTo>
                    <a:pt x="163" y="87"/>
                    <a:pt x="164" y="81"/>
                    <a:pt x="163" y="81"/>
                  </a:cubicBezTo>
                  <a:cubicBezTo>
                    <a:pt x="163" y="80"/>
                    <a:pt x="156" y="77"/>
                    <a:pt x="155" y="78"/>
                  </a:cubicBezTo>
                  <a:cubicBezTo>
                    <a:pt x="154" y="78"/>
                    <a:pt x="152" y="82"/>
                    <a:pt x="152" y="82"/>
                  </a:cubicBezTo>
                  <a:cubicBezTo>
                    <a:pt x="151" y="83"/>
                    <a:pt x="156" y="86"/>
                    <a:pt x="156" y="87"/>
                  </a:cubicBezTo>
                  <a:cubicBezTo>
                    <a:pt x="156" y="88"/>
                    <a:pt x="149" y="90"/>
                    <a:pt x="149" y="92"/>
                  </a:cubicBezTo>
                  <a:cubicBezTo>
                    <a:pt x="149" y="93"/>
                    <a:pt x="154" y="94"/>
                    <a:pt x="154" y="96"/>
                  </a:cubicBezTo>
                  <a:cubicBezTo>
                    <a:pt x="154" y="98"/>
                    <a:pt x="154" y="100"/>
                    <a:pt x="155" y="102"/>
                  </a:cubicBezTo>
                  <a:cubicBezTo>
                    <a:pt x="156" y="103"/>
                    <a:pt x="157" y="107"/>
                    <a:pt x="157" y="109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5" y="115"/>
                    <a:pt x="152" y="115"/>
                    <a:pt x="151" y="114"/>
                  </a:cubicBezTo>
                  <a:cubicBezTo>
                    <a:pt x="149" y="114"/>
                    <a:pt x="140" y="116"/>
                    <a:pt x="140" y="119"/>
                  </a:cubicBezTo>
                  <a:cubicBezTo>
                    <a:pt x="140" y="122"/>
                    <a:pt x="143" y="123"/>
                    <a:pt x="142" y="124"/>
                  </a:cubicBezTo>
                  <a:cubicBezTo>
                    <a:pt x="141" y="126"/>
                    <a:pt x="131" y="130"/>
                    <a:pt x="130" y="133"/>
                  </a:cubicBezTo>
                  <a:cubicBezTo>
                    <a:pt x="128" y="135"/>
                    <a:pt x="121" y="141"/>
                    <a:pt x="119" y="144"/>
                  </a:cubicBezTo>
                  <a:cubicBezTo>
                    <a:pt x="116" y="146"/>
                    <a:pt x="109" y="150"/>
                    <a:pt x="108" y="152"/>
                  </a:cubicBezTo>
                  <a:cubicBezTo>
                    <a:pt x="107" y="153"/>
                    <a:pt x="107" y="157"/>
                    <a:pt x="105" y="157"/>
                  </a:cubicBezTo>
                  <a:cubicBezTo>
                    <a:pt x="102" y="157"/>
                    <a:pt x="91" y="161"/>
                    <a:pt x="90" y="164"/>
                  </a:cubicBezTo>
                  <a:cubicBezTo>
                    <a:pt x="90" y="167"/>
                    <a:pt x="92" y="182"/>
                    <a:pt x="91" y="183"/>
                  </a:cubicBezTo>
                  <a:cubicBezTo>
                    <a:pt x="90" y="185"/>
                    <a:pt x="87" y="192"/>
                    <a:pt x="87" y="194"/>
                  </a:cubicBezTo>
                  <a:cubicBezTo>
                    <a:pt x="88" y="196"/>
                    <a:pt x="89" y="203"/>
                    <a:pt x="88" y="204"/>
                  </a:cubicBezTo>
                  <a:cubicBezTo>
                    <a:pt x="88" y="205"/>
                    <a:pt x="85" y="205"/>
                    <a:pt x="83" y="207"/>
                  </a:cubicBezTo>
                  <a:cubicBezTo>
                    <a:pt x="82" y="208"/>
                    <a:pt x="80" y="212"/>
                    <a:pt x="80" y="213"/>
                  </a:cubicBezTo>
                  <a:cubicBezTo>
                    <a:pt x="80" y="214"/>
                    <a:pt x="75" y="214"/>
                    <a:pt x="75" y="216"/>
                  </a:cubicBezTo>
                  <a:cubicBezTo>
                    <a:pt x="75" y="218"/>
                    <a:pt x="75" y="223"/>
                    <a:pt x="71" y="223"/>
                  </a:cubicBezTo>
                  <a:cubicBezTo>
                    <a:pt x="67" y="223"/>
                    <a:pt x="66" y="222"/>
                    <a:pt x="65" y="218"/>
                  </a:cubicBezTo>
                  <a:cubicBezTo>
                    <a:pt x="64" y="214"/>
                    <a:pt x="60" y="206"/>
                    <a:pt x="57" y="200"/>
                  </a:cubicBezTo>
                  <a:cubicBezTo>
                    <a:pt x="54" y="193"/>
                    <a:pt x="50" y="189"/>
                    <a:pt x="49" y="182"/>
                  </a:cubicBezTo>
                  <a:cubicBezTo>
                    <a:pt x="48" y="176"/>
                    <a:pt x="46" y="172"/>
                    <a:pt x="43" y="168"/>
                  </a:cubicBezTo>
                  <a:cubicBezTo>
                    <a:pt x="40" y="164"/>
                    <a:pt x="36" y="152"/>
                    <a:pt x="36" y="147"/>
                  </a:cubicBezTo>
                  <a:cubicBezTo>
                    <a:pt x="35" y="141"/>
                    <a:pt x="34" y="118"/>
                    <a:pt x="33" y="115"/>
                  </a:cubicBezTo>
                  <a:cubicBezTo>
                    <a:pt x="33" y="113"/>
                    <a:pt x="32" y="111"/>
                    <a:pt x="31" y="111"/>
                  </a:cubicBezTo>
                  <a:cubicBezTo>
                    <a:pt x="30" y="111"/>
                    <a:pt x="29" y="118"/>
                    <a:pt x="28" y="118"/>
                  </a:cubicBezTo>
                  <a:cubicBezTo>
                    <a:pt x="27" y="119"/>
                    <a:pt x="20" y="124"/>
                    <a:pt x="18" y="123"/>
                  </a:cubicBezTo>
                  <a:close/>
                </a:path>
              </a:pathLst>
            </a:custGeom>
            <a:solidFill>
              <a:srgbClr val="FFB900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58"/>
            <p:cNvSpPr>
              <a:spLocks/>
            </p:cNvSpPr>
            <p:nvPr/>
          </p:nvSpPr>
          <p:spPr bwMode="auto">
            <a:xfrm>
              <a:off x="6998966" y="3897498"/>
              <a:ext cx="348502" cy="295596"/>
            </a:xfrm>
            <a:custGeom>
              <a:avLst/>
              <a:gdLst>
                <a:gd name="T0" fmla="*/ 19577 w 125"/>
                <a:gd name="T1" fmla="*/ 27513 h 112"/>
                <a:gd name="T2" fmla="*/ 29041 w 125"/>
                <a:gd name="T3" fmla="*/ 26767 h 112"/>
                <a:gd name="T4" fmla="*/ 48092 w 125"/>
                <a:gd name="T5" fmla="*/ 26519 h 112"/>
                <a:gd name="T6" fmla="*/ 53688 w 125"/>
                <a:gd name="T7" fmla="*/ 24639 h 112"/>
                <a:gd name="T8" fmla="*/ 42160 w 125"/>
                <a:gd name="T9" fmla="*/ 24056 h 112"/>
                <a:gd name="T10" fmla="*/ 38793 w 125"/>
                <a:gd name="T11" fmla="*/ 21961 h 112"/>
                <a:gd name="T12" fmla="*/ 14146 w 125"/>
                <a:gd name="T13" fmla="*/ 21243 h 112"/>
                <a:gd name="T14" fmla="*/ 0 w 125"/>
                <a:gd name="T15" fmla="*/ 19239 h 112"/>
                <a:gd name="T16" fmla="*/ 19577 w 125"/>
                <a:gd name="T17" fmla="*/ 19239 h 112"/>
                <a:gd name="T18" fmla="*/ 92244 w 125"/>
                <a:gd name="T19" fmla="*/ 19019 h 112"/>
                <a:gd name="T20" fmla="*/ 121312 w 125"/>
                <a:gd name="T21" fmla="*/ 18163 h 112"/>
                <a:gd name="T22" fmla="*/ 131884 w 125"/>
                <a:gd name="T23" fmla="*/ 14870 h 112"/>
                <a:gd name="T24" fmla="*/ 171124 w 125"/>
                <a:gd name="T25" fmla="*/ 13467 h 112"/>
                <a:gd name="T26" fmla="*/ 185550 w 125"/>
                <a:gd name="T27" fmla="*/ 13801 h 112"/>
                <a:gd name="T28" fmla="*/ 200893 w 125"/>
                <a:gd name="T29" fmla="*/ 12714 h 112"/>
                <a:gd name="T30" fmla="*/ 200893 w 125"/>
                <a:gd name="T31" fmla="*/ 10409 h 112"/>
                <a:gd name="T32" fmla="*/ 214689 w 125"/>
                <a:gd name="T33" fmla="*/ 9661 h 112"/>
                <a:gd name="T34" fmla="*/ 211412 w 125"/>
                <a:gd name="T35" fmla="*/ 7533 h 112"/>
                <a:gd name="T36" fmla="*/ 224317 w 125"/>
                <a:gd name="T37" fmla="*/ 6939 h 112"/>
                <a:gd name="T38" fmla="*/ 243813 w 125"/>
                <a:gd name="T39" fmla="*/ 7533 h 112"/>
                <a:gd name="T40" fmla="*/ 252964 w 125"/>
                <a:gd name="T41" fmla="*/ 5053 h 112"/>
                <a:gd name="T42" fmla="*/ 249150 w 125"/>
                <a:gd name="T43" fmla="*/ 2830 h 112"/>
                <a:gd name="T44" fmla="*/ 271667 w 125"/>
                <a:gd name="T45" fmla="*/ 1456 h 112"/>
                <a:gd name="T46" fmla="*/ 293723 w 125"/>
                <a:gd name="T47" fmla="*/ 971 h 112"/>
                <a:gd name="T48" fmla="*/ 317061 w 125"/>
                <a:gd name="T49" fmla="*/ 971 h 112"/>
                <a:gd name="T50" fmla="*/ 339344 w 125"/>
                <a:gd name="T51" fmla="*/ 0 h 112"/>
                <a:gd name="T52" fmla="*/ 361670 w 125"/>
                <a:gd name="T53" fmla="*/ 1981 h 112"/>
                <a:gd name="T54" fmla="*/ 384459 w 125"/>
                <a:gd name="T55" fmla="*/ 3400 h 112"/>
                <a:gd name="T56" fmla="*/ 400093 w 125"/>
                <a:gd name="T57" fmla="*/ 3537 h 112"/>
                <a:gd name="T58" fmla="*/ 400093 w 125"/>
                <a:gd name="T59" fmla="*/ 3537 h 112"/>
                <a:gd name="T60" fmla="*/ 395047 w 125"/>
                <a:gd name="T61" fmla="*/ 5053 h 112"/>
                <a:gd name="T62" fmla="*/ 350810 w 125"/>
                <a:gd name="T63" fmla="*/ 6523 h 112"/>
                <a:gd name="T64" fmla="*/ 312525 w 125"/>
                <a:gd name="T65" fmla="*/ 6266 h 112"/>
                <a:gd name="T66" fmla="*/ 323400 w 125"/>
                <a:gd name="T67" fmla="*/ 10409 h 112"/>
                <a:gd name="T68" fmla="*/ 350098 w 125"/>
                <a:gd name="T69" fmla="*/ 11981 h 112"/>
                <a:gd name="T70" fmla="*/ 326677 w 125"/>
                <a:gd name="T71" fmla="*/ 13801 h 112"/>
                <a:gd name="T72" fmla="*/ 323400 w 125"/>
                <a:gd name="T73" fmla="*/ 15373 h 112"/>
                <a:gd name="T74" fmla="*/ 293723 w 125"/>
                <a:gd name="T75" fmla="*/ 18737 h 112"/>
                <a:gd name="T76" fmla="*/ 262703 w 125"/>
                <a:gd name="T77" fmla="*/ 23120 h 112"/>
                <a:gd name="T78" fmla="*/ 243813 w 125"/>
                <a:gd name="T79" fmla="*/ 23763 h 112"/>
                <a:gd name="T80" fmla="*/ 227455 w 125"/>
                <a:gd name="T81" fmla="*/ 23061 h 112"/>
                <a:gd name="T82" fmla="*/ 200893 w 125"/>
                <a:gd name="T83" fmla="*/ 25501 h 112"/>
                <a:gd name="T84" fmla="*/ 229580 w 125"/>
                <a:gd name="T85" fmla="*/ 28641 h 112"/>
                <a:gd name="T86" fmla="*/ 238120 w 125"/>
                <a:gd name="T87" fmla="*/ 31866 h 112"/>
                <a:gd name="T88" fmla="*/ 188723 w 125"/>
                <a:gd name="T89" fmla="*/ 32306 h 112"/>
                <a:gd name="T90" fmla="*/ 176170 w 125"/>
                <a:gd name="T91" fmla="*/ 33720 h 112"/>
                <a:gd name="T92" fmla="*/ 152756 w 125"/>
                <a:gd name="T93" fmla="*/ 32306 h 112"/>
                <a:gd name="T94" fmla="*/ 131884 w 125"/>
                <a:gd name="T95" fmla="*/ 29333 h 112"/>
                <a:gd name="T96" fmla="*/ 88907 w 125"/>
                <a:gd name="T97" fmla="*/ 29504 h 112"/>
                <a:gd name="T98" fmla="*/ 14146 w 125"/>
                <a:gd name="T99" fmla="*/ 29639 h 112"/>
                <a:gd name="T100" fmla="*/ 3385 w 125"/>
                <a:gd name="T101" fmla="*/ 29504 h 112"/>
                <a:gd name="T102" fmla="*/ 19577 w 125"/>
                <a:gd name="T103" fmla="*/ 27513 h 11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25" h="112">
                  <a:moveTo>
                    <a:pt x="6" y="92"/>
                  </a:moveTo>
                  <a:cubicBezTo>
                    <a:pt x="6" y="92"/>
                    <a:pt x="7" y="90"/>
                    <a:pt x="9" y="89"/>
                  </a:cubicBezTo>
                  <a:cubicBezTo>
                    <a:pt x="10" y="89"/>
                    <a:pt x="14" y="89"/>
                    <a:pt x="15" y="88"/>
                  </a:cubicBezTo>
                  <a:cubicBezTo>
                    <a:pt x="16" y="87"/>
                    <a:pt x="17" y="83"/>
                    <a:pt x="17" y="82"/>
                  </a:cubicBezTo>
                  <a:cubicBezTo>
                    <a:pt x="17" y="81"/>
                    <a:pt x="13" y="81"/>
                    <a:pt x="13" y="80"/>
                  </a:cubicBezTo>
                  <a:cubicBezTo>
                    <a:pt x="13" y="79"/>
                    <a:pt x="12" y="74"/>
                    <a:pt x="12" y="73"/>
                  </a:cubicBezTo>
                  <a:cubicBezTo>
                    <a:pt x="11" y="72"/>
                    <a:pt x="6" y="71"/>
                    <a:pt x="4" y="71"/>
                  </a:cubicBezTo>
                  <a:cubicBezTo>
                    <a:pt x="3" y="71"/>
                    <a:pt x="1" y="67"/>
                    <a:pt x="0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64"/>
                    <a:pt x="27" y="63"/>
                    <a:pt x="29" y="63"/>
                  </a:cubicBezTo>
                  <a:cubicBezTo>
                    <a:pt x="31" y="63"/>
                    <a:pt x="37" y="61"/>
                    <a:pt x="38" y="60"/>
                  </a:cubicBezTo>
                  <a:cubicBezTo>
                    <a:pt x="40" y="59"/>
                    <a:pt x="39" y="51"/>
                    <a:pt x="41" y="50"/>
                  </a:cubicBezTo>
                  <a:cubicBezTo>
                    <a:pt x="44" y="49"/>
                    <a:pt x="52" y="45"/>
                    <a:pt x="54" y="45"/>
                  </a:cubicBezTo>
                  <a:cubicBezTo>
                    <a:pt x="55" y="44"/>
                    <a:pt x="57" y="47"/>
                    <a:pt x="58" y="46"/>
                  </a:cubicBezTo>
                  <a:cubicBezTo>
                    <a:pt x="60" y="46"/>
                    <a:pt x="63" y="44"/>
                    <a:pt x="63" y="42"/>
                  </a:cubicBezTo>
                  <a:cubicBezTo>
                    <a:pt x="63" y="40"/>
                    <a:pt x="62" y="37"/>
                    <a:pt x="63" y="35"/>
                  </a:cubicBezTo>
                  <a:cubicBezTo>
                    <a:pt x="65" y="34"/>
                    <a:pt x="66" y="32"/>
                    <a:pt x="67" y="32"/>
                  </a:cubicBezTo>
                  <a:cubicBezTo>
                    <a:pt x="69" y="31"/>
                    <a:pt x="65" y="26"/>
                    <a:pt x="66" y="25"/>
                  </a:cubicBezTo>
                  <a:cubicBezTo>
                    <a:pt x="67" y="24"/>
                    <a:pt x="69" y="23"/>
                    <a:pt x="70" y="23"/>
                  </a:cubicBezTo>
                  <a:cubicBezTo>
                    <a:pt x="71" y="23"/>
                    <a:pt x="74" y="26"/>
                    <a:pt x="76" y="25"/>
                  </a:cubicBezTo>
                  <a:cubicBezTo>
                    <a:pt x="77" y="24"/>
                    <a:pt x="79" y="19"/>
                    <a:pt x="79" y="17"/>
                  </a:cubicBezTo>
                  <a:cubicBezTo>
                    <a:pt x="79" y="15"/>
                    <a:pt x="77" y="10"/>
                    <a:pt x="78" y="9"/>
                  </a:cubicBezTo>
                  <a:cubicBezTo>
                    <a:pt x="79" y="8"/>
                    <a:pt x="84" y="6"/>
                    <a:pt x="85" y="5"/>
                  </a:cubicBezTo>
                  <a:cubicBezTo>
                    <a:pt x="87" y="4"/>
                    <a:pt x="89" y="3"/>
                    <a:pt x="92" y="3"/>
                  </a:cubicBezTo>
                  <a:cubicBezTo>
                    <a:pt x="95" y="3"/>
                    <a:pt x="97" y="3"/>
                    <a:pt x="99" y="3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1"/>
                    <a:pt x="111" y="3"/>
                    <a:pt x="113" y="6"/>
                  </a:cubicBezTo>
                  <a:cubicBezTo>
                    <a:pt x="115" y="9"/>
                    <a:pt x="117" y="9"/>
                    <a:pt x="120" y="11"/>
                  </a:cubicBezTo>
                  <a:cubicBezTo>
                    <a:pt x="121" y="12"/>
                    <a:pt x="123" y="12"/>
                    <a:pt x="125" y="12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3" y="17"/>
                    <a:pt x="112" y="22"/>
                    <a:pt x="110" y="22"/>
                  </a:cubicBezTo>
                  <a:cubicBezTo>
                    <a:pt x="108" y="22"/>
                    <a:pt x="99" y="20"/>
                    <a:pt x="98" y="21"/>
                  </a:cubicBezTo>
                  <a:cubicBezTo>
                    <a:pt x="96" y="22"/>
                    <a:pt x="100" y="34"/>
                    <a:pt x="101" y="35"/>
                  </a:cubicBezTo>
                  <a:cubicBezTo>
                    <a:pt x="101" y="36"/>
                    <a:pt x="109" y="36"/>
                    <a:pt x="109" y="40"/>
                  </a:cubicBezTo>
                  <a:cubicBezTo>
                    <a:pt x="109" y="45"/>
                    <a:pt x="102" y="45"/>
                    <a:pt x="102" y="46"/>
                  </a:cubicBezTo>
                  <a:cubicBezTo>
                    <a:pt x="102" y="47"/>
                    <a:pt x="102" y="49"/>
                    <a:pt x="101" y="51"/>
                  </a:cubicBezTo>
                  <a:cubicBezTo>
                    <a:pt x="101" y="53"/>
                    <a:pt x="93" y="61"/>
                    <a:pt x="92" y="62"/>
                  </a:cubicBezTo>
                  <a:cubicBezTo>
                    <a:pt x="91" y="64"/>
                    <a:pt x="83" y="76"/>
                    <a:pt x="82" y="77"/>
                  </a:cubicBezTo>
                  <a:cubicBezTo>
                    <a:pt x="81" y="77"/>
                    <a:pt x="77" y="79"/>
                    <a:pt x="76" y="79"/>
                  </a:cubicBezTo>
                  <a:cubicBezTo>
                    <a:pt x="74" y="79"/>
                    <a:pt x="73" y="76"/>
                    <a:pt x="71" y="76"/>
                  </a:cubicBezTo>
                  <a:cubicBezTo>
                    <a:pt x="70" y="76"/>
                    <a:pt x="64" y="83"/>
                    <a:pt x="63" y="85"/>
                  </a:cubicBezTo>
                  <a:cubicBezTo>
                    <a:pt x="62" y="87"/>
                    <a:pt x="70" y="93"/>
                    <a:pt x="72" y="95"/>
                  </a:cubicBezTo>
                  <a:cubicBezTo>
                    <a:pt x="74" y="98"/>
                    <a:pt x="76" y="105"/>
                    <a:pt x="74" y="106"/>
                  </a:cubicBezTo>
                  <a:cubicBezTo>
                    <a:pt x="72" y="107"/>
                    <a:pt x="60" y="106"/>
                    <a:pt x="59" y="107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3" y="110"/>
                    <a:pt x="50" y="109"/>
                    <a:pt x="48" y="107"/>
                  </a:cubicBezTo>
                  <a:cubicBezTo>
                    <a:pt x="45" y="104"/>
                    <a:pt x="43" y="99"/>
                    <a:pt x="41" y="97"/>
                  </a:cubicBezTo>
                  <a:cubicBezTo>
                    <a:pt x="39" y="96"/>
                    <a:pt x="33" y="97"/>
                    <a:pt x="28" y="98"/>
                  </a:cubicBezTo>
                  <a:cubicBezTo>
                    <a:pt x="23" y="98"/>
                    <a:pt x="10" y="99"/>
                    <a:pt x="4" y="99"/>
                  </a:cubicBezTo>
                  <a:cubicBezTo>
                    <a:pt x="3" y="98"/>
                    <a:pt x="2" y="98"/>
                    <a:pt x="1" y="98"/>
                  </a:cubicBezTo>
                  <a:lnTo>
                    <a:pt x="6" y="92"/>
                  </a:lnTo>
                  <a:close/>
                </a:path>
              </a:pathLst>
            </a:custGeom>
            <a:solidFill>
              <a:srgbClr val="FFB900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92" name="Oil export maximizer"/>
          <p:cNvGrpSpPr/>
          <p:nvPr/>
        </p:nvGrpSpPr>
        <p:grpSpPr>
          <a:xfrm>
            <a:off x="4212033" y="3329509"/>
            <a:ext cx="3422726" cy="1224876"/>
            <a:chOff x="4131823" y="3433782"/>
            <a:chExt cx="3422726" cy="1224876"/>
          </a:xfrm>
        </p:grpSpPr>
        <p:sp>
          <p:nvSpPr>
            <p:cNvPr id="33" name="Freeform 62"/>
            <p:cNvSpPr>
              <a:spLocks/>
            </p:cNvSpPr>
            <p:nvPr/>
          </p:nvSpPr>
          <p:spPr bwMode="auto">
            <a:xfrm>
              <a:off x="6808721" y="4128433"/>
              <a:ext cx="89230" cy="77594"/>
            </a:xfrm>
            <a:custGeom>
              <a:avLst/>
              <a:gdLst>
                <a:gd name="T0" fmla="*/ 5621 w 32"/>
                <a:gd name="T1" fmla="*/ 6359 h 30"/>
                <a:gd name="T2" fmla="*/ 0 w 32"/>
                <a:gd name="T3" fmla="*/ 4542 h 30"/>
                <a:gd name="T4" fmla="*/ 32454 w 32"/>
                <a:gd name="T5" fmla="*/ 4218 h 30"/>
                <a:gd name="T6" fmla="*/ 59178 w 32"/>
                <a:gd name="T7" fmla="*/ 3108 h 30"/>
                <a:gd name="T8" fmla="*/ 96786 w 32"/>
                <a:gd name="T9" fmla="*/ 1 h 30"/>
                <a:gd name="T10" fmla="*/ 98014 w 32"/>
                <a:gd name="T11" fmla="*/ 2801 h 30"/>
                <a:gd name="T12" fmla="*/ 103198 w 32"/>
                <a:gd name="T13" fmla="*/ 3244 h 30"/>
                <a:gd name="T14" fmla="*/ 87419 w 32"/>
                <a:gd name="T15" fmla="*/ 3822 h 30"/>
                <a:gd name="T16" fmla="*/ 70058 w 32"/>
                <a:gd name="T17" fmla="*/ 6566 h 30"/>
                <a:gd name="T18" fmla="*/ 5621 w 32"/>
                <a:gd name="T19" fmla="*/ 6359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2" h="30">
                  <a:moveTo>
                    <a:pt x="2" y="29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" y="20"/>
                    <a:pt x="8" y="19"/>
                    <a:pt x="10" y="19"/>
                  </a:cubicBezTo>
                  <a:cubicBezTo>
                    <a:pt x="13" y="19"/>
                    <a:pt x="17" y="15"/>
                    <a:pt x="19" y="14"/>
                  </a:cubicBezTo>
                  <a:cubicBezTo>
                    <a:pt x="22" y="13"/>
                    <a:pt x="29" y="0"/>
                    <a:pt x="30" y="1"/>
                  </a:cubicBezTo>
                  <a:cubicBezTo>
                    <a:pt x="31" y="2"/>
                    <a:pt x="29" y="8"/>
                    <a:pt x="31" y="13"/>
                  </a:cubicBezTo>
                  <a:cubicBezTo>
                    <a:pt x="31" y="14"/>
                    <a:pt x="31" y="14"/>
                    <a:pt x="32" y="15"/>
                  </a:cubicBezTo>
                  <a:cubicBezTo>
                    <a:pt x="32" y="15"/>
                    <a:pt x="27" y="16"/>
                    <a:pt x="27" y="17"/>
                  </a:cubicBezTo>
                  <a:cubicBezTo>
                    <a:pt x="27" y="19"/>
                    <a:pt x="22" y="30"/>
                    <a:pt x="22" y="30"/>
                  </a:cubicBezTo>
                  <a:lnTo>
                    <a:pt x="2" y="29"/>
                  </a:lnTo>
                  <a:close/>
                </a:path>
              </a:pathLst>
            </a:custGeom>
            <a:solidFill>
              <a:srgbClr val="55A0B9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64"/>
            <p:cNvSpPr>
              <a:spLocks/>
            </p:cNvSpPr>
            <p:nvPr/>
          </p:nvSpPr>
          <p:spPr bwMode="auto">
            <a:xfrm>
              <a:off x="6675718" y="4048992"/>
              <a:ext cx="48824" cy="36950"/>
            </a:xfrm>
            <a:custGeom>
              <a:avLst/>
              <a:gdLst>
                <a:gd name="T0" fmla="*/ 45516 w 17"/>
                <a:gd name="T1" fmla="*/ 3400 h 14"/>
                <a:gd name="T2" fmla="*/ 9169 w 17"/>
                <a:gd name="T3" fmla="*/ 2380 h 14"/>
                <a:gd name="T4" fmla="*/ 45516 w 17"/>
                <a:gd name="T5" fmla="*/ 1 h 14"/>
                <a:gd name="T6" fmla="*/ 80753 w 17"/>
                <a:gd name="T7" fmla="*/ 680 h 14"/>
                <a:gd name="T8" fmla="*/ 72125 w 17"/>
                <a:gd name="T9" fmla="*/ 1981 h 14"/>
                <a:gd name="T10" fmla="*/ 86853 w 17"/>
                <a:gd name="T11" fmla="*/ 4043 h 14"/>
                <a:gd name="T12" fmla="*/ 56999 w 17"/>
                <a:gd name="T13" fmla="*/ 4244 h 14"/>
                <a:gd name="T14" fmla="*/ 45516 w 17"/>
                <a:gd name="T15" fmla="*/ 3400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7" h="14">
                  <a:moveTo>
                    <a:pt x="9" y="11"/>
                  </a:moveTo>
                  <a:cubicBezTo>
                    <a:pt x="9" y="11"/>
                    <a:pt x="0" y="9"/>
                    <a:pt x="2" y="8"/>
                  </a:cubicBezTo>
                  <a:cubicBezTo>
                    <a:pt x="4" y="7"/>
                    <a:pt x="6" y="1"/>
                    <a:pt x="9" y="1"/>
                  </a:cubicBezTo>
                  <a:cubicBezTo>
                    <a:pt x="12" y="0"/>
                    <a:pt x="16" y="2"/>
                    <a:pt x="16" y="2"/>
                  </a:cubicBezTo>
                  <a:cubicBezTo>
                    <a:pt x="14" y="3"/>
                    <a:pt x="13" y="3"/>
                    <a:pt x="14" y="6"/>
                  </a:cubicBezTo>
                  <a:cubicBezTo>
                    <a:pt x="15" y="9"/>
                    <a:pt x="16" y="11"/>
                    <a:pt x="17" y="13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55A0B9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65"/>
            <p:cNvSpPr>
              <a:spLocks/>
            </p:cNvSpPr>
            <p:nvPr/>
          </p:nvSpPr>
          <p:spPr bwMode="auto">
            <a:xfrm>
              <a:off x="6684136" y="3433782"/>
              <a:ext cx="870413" cy="365800"/>
            </a:xfrm>
            <a:custGeom>
              <a:avLst/>
              <a:gdLst>
                <a:gd name="T0" fmla="*/ 9333 w 312"/>
                <a:gd name="T1" fmla="*/ 14792 h 140"/>
                <a:gd name="T2" fmla="*/ 48447 w 312"/>
                <a:gd name="T3" fmla="*/ 14853 h 140"/>
                <a:gd name="T4" fmla="*/ 60557 w 312"/>
                <a:gd name="T5" fmla="*/ 12344 h 140"/>
                <a:gd name="T6" fmla="*/ 171720 w 312"/>
                <a:gd name="T7" fmla="*/ 10459 h 140"/>
                <a:gd name="T8" fmla="*/ 231420 w 312"/>
                <a:gd name="T9" fmla="*/ 12699 h 140"/>
                <a:gd name="T10" fmla="*/ 290496 w 312"/>
                <a:gd name="T11" fmla="*/ 11221 h 140"/>
                <a:gd name="T12" fmla="*/ 338519 w 312"/>
                <a:gd name="T13" fmla="*/ 12344 h 140"/>
                <a:gd name="T14" fmla="*/ 374339 w 312"/>
                <a:gd name="T15" fmla="*/ 10502 h 140"/>
                <a:gd name="T16" fmla="*/ 362086 w 312"/>
                <a:gd name="T17" fmla="*/ 7934 h 140"/>
                <a:gd name="T18" fmla="*/ 368455 w 312"/>
                <a:gd name="T19" fmla="*/ 3734 h 140"/>
                <a:gd name="T20" fmla="*/ 487264 w 312"/>
                <a:gd name="T21" fmla="*/ 2112 h 140"/>
                <a:gd name="T22" fmla="*/ 560943 w 312"/>
                <a:gd name="T23" fmla="*/ 0 h 140"/>
                <a:gd name="T24" fmla="*/ 610549 w 312"/>
                <a:gd name="T25" fmla="*/ 3085 h 140"/>
                <a:gd name="T26" fmla="*/ 668030 w 312"/>
                <a:gd name="T27" fmla="*/ 5229 h 140"/>
                <a:gd name="T28" fmla="*/ 747055 w 312"/>
                <a:gd name="T29" fmla="*/ 2987 h 140"/>
                <a:gd name="T30" fmla="*/ 827147 w 312"/>
                <a:gd name="T31" fmla="*/ 11771 h 140"/>
                <a:gd name="T32" fmla="*/ 875455 w 312"/>
                <a:gd name="T33" fmla="*/ 11771 h 140"/>
                <a:gd name="T34" fmla="*/ 949172 w 312"/>
                <a:gd name="T35" fmla="*/ 14792 h 140"/>
                <a:gd name="T36" fmla="*/ 994222 w 312"/>
                <a:gd name="T37" fmla="*/ 14939 h 140"/>
                <a:gd name="T38" fmla="*/ 988748 w 312"/>
                <a:gd name="T39" fmla="*/ 17922 h 140"/>
                <a:gd name="T40" fmla="*/ 963950 w 312"/>
                <a:gd name="T41" fmla="*/ 21633 h 140"/>
                <a:gd name="T42" fmla="*/ 881240 w 312"/>
                <a:gd name="T43" fmla="*/ 25348 h 140"/>
                <a:gd name="T44" fmla="*/ 842102 w 312"/>
                <a:gd name="T45" fmla="*/ 30595 h 140"/>
                <a:gd name="T46" fmla="*/ 815258 w 312"/>
                <a:gd name="T47" fmla="*/ 32217 h 140"/>
                <a:gd name="T48" fmla="*/ 717957 w 312"/>
                <a:gd name="T49" fmla="*/ 31522 h 140"/>
                <a:gd name="T50" fmla="*/ 664746 w 312"/>
                <a:gd name="T51" fmla="*/ 32755 h 140"/>
                <a:gd name="T52" fmla="*/ 598684 w 312"/>
                <a:gd name="T53" fmla="*/ 32777 h 140"/>
                <a:gd name="T54" fmla="*/ 545912 w 312"/>
                <a:gd name="T55" fmla="*/ 35849 h 140"/>
                <a:gd name="T56" fmla="*/ 501483 w 312"/>
                <a:gd name="T57" fmla="*/ 34073 h 140"/>
                <a:gd name="T58" fmla="*/ 462490 w 312"/>
                <a:gd name="T59" fmla="*/ 29587 h 140"/>
                <a:gd name="T60" fmla="*/ 368455 w 312"/>
                <a:gd name="T61" fmla="*/ 28574 h 140"/>
                <a:gd name="T62" fmla="*/ 355396 w 312"/>
                <a:gd name="T63" fmla="*/ 26419 h 140"/>
                <a:gd name="T64" fmla="*/ 365265 w 312"/>
                <a:gd name="T65" fmla="*/ 23545 h 140"/>
                <a:gd name="T66" fmla="*/ 333057 w 312"/>
                <a:gd name="T67" fmla="*/ 23248 h 140"/>
                <a:gd name="T68" fmla="*/ 300466 w 312"/>
                <a:gd name="T69" fmla="*/ 25347 h 140"/>
                <a:gd name="T70" fmla="*/ 236629 w 312"/>
                <a:gd name="T71" fmla="*/ 35385 h 140"/>
                <a:gd name="T72" fmla="*/ 200994 w 312"/>
                <a:gd name="T73" fmla="*/ 33299 h 140"/>
                <a:gd name="T74" fmla="*/ 148183 w 312"/>
                <a:gd name="T75" fmla="*/ 34073 h 140"/>
                <a:gd name="T76" fmla="*/ 151995 w 312"/>
                <a:gd name="T77" fmla="*/ 32121 h 140"/>
                <a:gd name="T78" fmla="*/ 118787 w 312"/>
                <a:gd name="T79" fmla="*/ 31444 h 140"/>
                <a:gd name="T80" fmla="*/ 100346 w 312"/>
                <a:gd name="T81" fmla="*/ 29049 h 140"/>
                <a:gd name="T82" fmla="*/ 118787 w 312"/>
                <a:gd name="T83" fmla="*/ 27641 h 140"/>
                <a:gd name="T84" fmla="*/ 118787 w 312"/>
                <a:gd name="T85" fmla="*/ 25401 h 140"/>
                <a:gd name="T86" fmla="*/ 162476 w 312"/>
                <a:gd name="T87" fmla="*/ 24092 h 140"/>
                <a:gd name="T88" fmla="*/ 118787 w 312"/>
                <a:gd name="T89" fmla="*/ 21660 h 140"/>
                <a:gd name="T90" fmla="*/ 70365 w 312"/>
                <a:gd name="T91" fmla="*/ 23900 h 140"/>
                <a:gd name="T92" fmla="*/ 53967 w 312"/>
                <a:gd name="T93" fmla="*/ 20920 h 140"/>
                <a:gd name="T94" fmla="*/ 0 w 312"/>
                <a:gd name="T95" fmla="*/ 17960 h 14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12" h="140">
                  <a:moveTo>
                    <a:pt x="0" y="71"/>
                  </a:moveTo>
                  <a:cubicBezTo>
                    <a:pt x="0" y="71"/>
                    <a:pt x="3" y="58"/>
                    <a:pt x="3" y="57"/>
                  </a:cubicBezTo>
                  <a:cubicBezTo>
                    <a:pt x="3" y="55"/>
                    <a:pt x="7" y="52"/>
                    <a:pt x="8" y="51"/>
                  </a:cubicBezTo>
                  <a:cubicBezTo>
                    <a:pt x="9" y="50"/>
                    <a:pt x="14" y="58"/>
                    <a:pt x="15" y="58"/>
                  </a:cubicBezTo>
                  <a:cubicBezTo>
                    <a:pt x="16" y="58"/>
                    <a:pt x="19" y="55"/>
                    <a:pt x="20" y="54"/>
                  </a:cubicBezTo>
                  <a:cubicBezTo>
                    <a:pt x="21" y="54"/>
                    <a:pt x="18" y="48"/>
                    <a:pt x="19" y="48"/>
                  </a:cubicBezTo>
                  <a:cubicBezTo>
                    <a:pt x="21" y="47"/>
                    <a:pt x="33" y="38"/>
                    <a:pt x="34" y="38"/>
                  </a:cubicBezTo>
                  <a:cubicBezTo>
                    <a:pt x="36" y="38"/>
                    <a:pt x="52" y="39"/>
                    <a:pt x="53" y="40"/>
                  </a:cubicBezTo>
                  <a:cubicBezTo>
                    <a:pt x="54" y="40"/>
                    <a:pt x="61" y="48"/>
                    <a:pt x="63" y="48"/>
                  </a:cubicBezTo>
                  <a:cubicBezTo>
                    <a:pt x="64" y="48"/>
                    <a:pt x="71" y="51"/>
                    <a:pt x="72" y="50"/>
                  </a:cubicBezTo>
                  <a:cubicBezTo>
                    <a:pt x="73" y="49"/>
                    <a:pt x="76" y="45"/>
                    <a:pt x="79" y="45"/>
                  </a:cubicBezTo>
                  <a:cubicBezTo>
                    <a:pt x="82" y="44"/>
                    <a:pt x="88" y="44"/>
                    <a:pt x="90" y="44"/>
                  </a:cubicBezTo>
                  <a:cubicBezTo>
                    <a:pt x="91" y="44"/>
                    <a:pt x="98" y="49"/>
                    <a:pt x="100" y="49"/>
                  </a:cubicBezTo>
                  <a:cubicBezTo>
                    <a:pt x="102" y="49"/>
                    <a:pt x="104" y="48"/>
                    <a:pt x="105" y="48"/>
                  </a:cubicBezTo>
                  <a:cubicBezTo>
                    <a:pt x="107" y="48"/>
                    <a:pt x="113" y="48"/>
                    <a:pt x="114" y="47"/>
                  </a:cubicBezTo>
                  <a:cubicBezTo>
                    <a:pt x="116" y="46"/>
                    <a:pt x="116" y="42"/>
                    <a:pt x="116" y="41"/>
                  </a:cubicBezTo>
                  <a:cubicBezTo>
                    <a:pt x="116" y="40"/>
                    <a:pt x="104" y="37"/>
                    <a:pt x="105" y="35"/>
                  </a:cubicBezTo>
                  <a:cubicBezTo>
                    <a:pt x="106" y="34"/>
                    <a:pt x="111" y="33"/>
                    <a:pt x="112" y="31"/>
                  </a:cubicBezTo>
                  <a:cubicBezTo>
                    <a:pt x="112" y="29"/>
                    <a:pt x="110" y="26"/>
                    <a:pt x="110" y="25"/>
                  </a:cubicBezTo>
                  <a:cubicBezTo>
                    <a:pt x="111" y="25"/>
                    <a:pt x="113" y="15"/>
                    <a:pt x="114" y="15"/>
                  </a:cubicBezTo>
                  <a:cubicBezTo>
                    <a:pt x="115" y="14"/>
                    <a:pt x="119" y="15"/>
                    <a:pt x="122" y="14"/>
                  </a:cubicBezTo>
                  <a:cubicBezTo>
                    <a:pt x="125" y="14"/>
                    <a:pt x="148" y="8"/>
                    <a:pt x="151" y="8"/>
                  </a:cubicBezTo>
                  <a:cubicBezTo>
                    <a:pt x="154" y="7"/>
                    <a:pt x="165" y="4"/>
                    <a:pt x="167" y="3"/>
                  </a:cubicBezTo>
                  <a:cubicBezTo>
                    <a:pt x="168" y="2"/>
                    <a:pt x="172" y="0"/>
                    <a:pt x="174" y="0"/>
                  </a:cubicBezTo>
                  <a:cubicBezTo>
                    <a:pt x="175" y="0"/>
                    <a:pt x="185" y="0"/>
                    <a:pt x="186" y="1"/>
                  </a:cubicBezTo>
                  <a:cubicBezTo>
                    <a:pt x="187" y="2"/>
                    <a:pt x="188" y="11"/>
                    <a:pt x="189" y="12"/>
                  </a:cubicBezTo>
                  <a:cubicBezTo>
                    <a:pt x="190" y="13"/>
                    <a:pt x="205" y="13"/>
                    <a:pt x="206" y="14"/>
                  </a:cubicBezTo>
                  <a:cubicBezTo>
                    <a:pt x="206" y="15"/>
                    <a:pt x="205" y="20"/>
                    <a:pt x="207" y="20"/>
                  </a:cubicBezTo>
                  <a:cubicBezTo>
                    <a:pt x="209" y="20"/>
                    <a:pt x="214" y="18"/>
                    <a:pt x="217" y="17"/>
                  </a:cubicBezTo>
                  <a:cubicBezTo>
                    <a:pt x="220" y="16"/>
                    <a:pt x="229" y="11"/>
                    <a:pt x="231" y="11"/>
                  </a:cubicBezTo>
                  <a:cubicBezTo>
                    <a:pt x="232" y="11"/>
                    <a:pt x="234" y="15"/>
                    <a:pt x="235" y="18"/>
                  </a:cubicBezTo>
                  <a:cubicBezTo>
                    <a:pt x="237" y="20"/>
                    <a:pt x="256" y="46"/>
                    <a:pt x="256" y="46"/>
                  </a:cubicBezTo>
                  <a:cubicBezTo>
                    <a:pt x="256" y="46"/>
                    <a:pt x="263" y="43"/>
                    <a:pt x="264" y="43"/>
                  </a:cubicBezTo>
                  <a:cubicBezTo>
                    <a:pt x="266" y="43"/>
                    <a:pt x="267" y="44"/>
                    <a:pt x="271" y="46"/>
                  </a:cubicBezTo>
                  <a:cubicBezTo>
                    <a:pt x="275" y="48"/>
                    <a:pt x="281" y="45"/>
                    <a:pt x="284" y="46"/>
                  </a:cubicBezTo>
                  <a:cubicBezTo>
                    <a:pt x="287" y="47"/>
                    <a:pt x="292" y="54"/>
                    <a:pt x="294" y="57"/>
                  </a:cubicBezTo>
                  <a:cubicBezTo>
                    <a:pt x="297" y="59"/>
                    <a:pt x="299" y="60"/>
                    <a:pt x="302" y="59"/>
                  </a:cubicBezTo>
                  <a:cubicBezTo>
                    <a:pt x="305" y="59"/>
                    <a:pt x="306" y="57"/>
                    <a:pt x="308" y="59"/>
                  </a:cubicBezTo>
                  <a:cubicBezTo>
                    <a:pt x="309" y="60"/>
                    <a:pt x="311" y="61"/>
                    <a:pt x="312" y="62"/>
                  </a:cubicBezTo>
                  <a:cubicBezTo>
                    <a:pt x="306" y="69"/>
                    <a:pt x="306" y="69"/>
                    <a:pt x="306" y="69"/>
                  </a:cubicBezTo>
                  <a:cubicBezTo>
                    <a:pt x="305" y="70"/>
                    <a:pt x="303" y="70"/>
                    <a:pt x="301" y="71"/>
                  </a:cubicBezTo>
                  <a:cubicBezTo>
                    <a:pt x="299" y="72"/>
                    <a:pt x="301" y="82"/>
                    <a:pt x="298" y="84"/>
                  </a:cubicBezTo>
                  <a:cubicBezTo>
                    <a:pt x="295" y="85"/>
                    <a:pt x="281" y="82"/>
                    <a:pt x="281" y="82"/>
                  </a:cubicBezTo>
                  <a:cubicBezTo>
                    <a:pt x="281" y="82"/>
                    <a:pt x="275" y="99"/>
                    <a:pt x="273" y="99"/>
                  </a:cubicBezTo>
                  <a:cubicBezTo>
                    <a:pt x="272" y="99"/>
                    <a:pt x="258" y="103"/>
                    <a:pt x="258" y="103"/>
                  </a:cubicBezTo>
                  <a:cubicBezTo>
                    <a:pt x="258" y="103"/>
                    <a:pt x="261" y="118"/>
                    <a:pt x="261" y="119"/>
                  </a:cubicBezTo>
                  <a:cubicBezTo>
                    <a:pt x="261" y="120"/>
                    <a:pt x="260" y="125"/>
                    <a:pt x="259" y="129"/>
                  </a:cubicBezTo>
                  <a:cubicBezTo>
                    <a:pt x="252" y="126"/>
                    <a:pt x="252" y="126"/>
                    <a:pt x="252" y="126"/>
                  </a:cubicBezTo>
                  <a:cubicBezTo>
                    <a:pt x="251" y="125"/>
                    <a:pt x="243" y="123"/>
                    <a:pt x="240" y="123"/>
                  </a:cubicBezTo>
                  <a:cubicBezTo>
                    <a:pt x="236" y="123"/>
                    <a:pt x="223" y="123"/>
                    <a:pt x="222" y="123"/>
                  </a:cubicBezTo>
                  <a:cubicBezTo>
                    <a:pt x="220" y="123"/>
                    <a:pt x="213" y="120"/>
                    <a:pt x="210" y="120"/>
                  </a:cubicBezTo>
                  <a:cubicBezTo>
                    <a:pt x="207" y="120"/>
                    <a:pt x="207" y="127"/>
                    <a:pt x="206" y="127"/>
                  </a:cubicBezTo>
                  <a:cubicBezTo>
                    <a:pt x="205" y="127"/>
                    <a:pt x="191" y="123"/>
                    <a:pt x="190" y="123"/>
                  </a:cubicBezTo>
                  <a:cubicBezTo>
                    <a:pt x="189" y="123"/>
                    <a:pt x="187" y="126"/>
                    <a:pt x="185" y="128"/>
                  </a:cubicBezTo>
                  <a:cubicBezTo>
                    <a:pt x="184" y="129"/>
                    <a:pt x="184" y="129"/>
                    <a:pt x="183" y="130"/>
                  </a:cubicBezTo>
                  <a:cubicBezTo>
                    <a:pt x="181" y="131"/>
                    <a:pt x="170" y="140"/>
                    <a:pt x="169" y="140"/>
                  </a:cubicBezTo>
                  <a:cubicBezTo>
                    <a:pt x="168" y="140"/>
                    <a:pt x="156" y="139"/>
                    <a:pt x="155" y="139"/>
                  </a:cubicBezTo>
                  <a:cubicBezTo>
                    <a:pt x="154" y="139"/>
                    <a:pt x="155" y="133"/>
                    <a:pt x="155" y="133"/>
                  </a:cubicBezTo>
                  <a:cubicBezTo>
                    <a:pt x="154" y="133"/>
                    <a:pt x="149" y="132"/>
                    <a:pt x="150" y="131"/>
                  </a:cubicBezTo>
                  <a:cubicBezTo>
                    <a:pt x="150" y="130"/>
                    <a:pt x="144" y="116"/>
                    <a:pt x="143" y="115"/>
                  </a:cubicBezTo>
                  <a:cubicBezTo>
                    <a:pt x="142" y="115"/>
                    <a:pt x="120" y="118"/>
                    <a:pt x="119" y="118"/>
                  </a:cubicBezTo>
                  <a:cubicBezTo>
                    <a:pt x="118" y="118"/>
                    <a:pt x="114" y="112"/>
                    <a:pt x="114" y="112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12" y="106"/>
                    <a:pt x="110" y="106"/>
                    <a:pt x="110" y="103"/>
                  </a:cubicBezTo>
                  <a:cubicBezTo>
                    <a:pt x="110" y="100"/>
                    <a:pt x="108" y="98"/>
                    <a:pt x="108" y="96"/>
                  </a:cubicBezTo>
                  <a:cubicBezTo>
                    <a:pt x="108" y="93"/>
                    <a:pt x="111" y="94"/>
                    <a:pt x="113" y="92"/>
                  </a:cubicBezTo>
                  <a:cubicBezTo>
                    <a:pt x="115" y="90"/>
                    <a:pt x="110" y="89"/>
                    <a:pt x="108" y="88"/>
                  </a:cubicBezTo>
                  <a:cubicBezTo>
                    <a:pt x="107" y="88"/>
                    <a:pt x="104" y="89"/>
                    <a:pt x="103" y="91"/>
                  </a:cubicBezTo>
                  <a:cubicBezTo>
                    <a:pt x="102" y="92"/>
                    <a:pt x="99" y="94"/>
                    <a:pt x="97" y="94"/>
                  </a:cubicBezTo>
                  <a:cubicBezTo>
                    <a:pt x="95" y="94"/>
                    <a:pt x="94" y="96"/>
                    <a:pt x="93" y="98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1" y="138"/>
                    <a:pt x="70" y="138"/>
                    <a:pt x="69" y="138"/>
                  </a:cubicBezTo>
                  <a:cubicBezTo>
                    <a:pt x="68" y="137"/>
                    <a:pt x="64" y="132"/>
                    <a:pt x="62" y="130"/>
                  </a:cubicBezTo>
                  <a:cubicBezTo>
                    <a:pt x="59" y="128"/>
                    <a:pt x="54" y="129"/>
                    <a:pt x="52" y="130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3"/>
                    <a:pt x="46" y="132"/>
                    <a:pt x="45" y="132"/>
                  </a:cubicBezTo>
                  <a:cubicBezTo>
                    <a:pt x="45" y="130"/>
                    <a:pt x="47" y="126"/>
                    <a:pt x="47" y="125"/>
                  </a:cubicBezTo>
                  <a:cubicBezTo>
                    <a:pt x="47" y="125"/>
                    <a:pt x="44" y="121"/>
                    <a:pt x="41" y="121"/>
                  </a:cubicBezTo>
                  <a:cubicBezTo>
                    <a:pt x="39" y="121"/>
                    <a:pt x="38" y="123"/>
                    <a:pt x="37" y="122"/>
                  </a:cubicBezTo>
                  <a:cubicBezTo>
                    <a:pt x="36" y="120"/>
                    <a:pt x="39" y="119"/>
                    <a:pt x="37" y="117"/>
                  </a:cubicBezTo>
                  <a:cubicBezTo>
                    <a:pt x="35" y="115"/>
                    <a:pt x="33" y="114"/>
                    <a:pt x="31" y="113"/>
                  </a:cubicBezTo>
                  <a:cubicBezTo>
                    <a:pt x="29" y="111"/>
                    <a:pt x="30" y="111"/>
                    <a:pt x="29" y="109"/>
                  </a:cubicBezTo>
                  <a:cubicBezTo>
                    <a:pt x="29" y="107"/>
                    <a:pt x="36" y="109"/>
                    <a:pt x="37" y="108"/>
                  </a:cubicBezTo>
                  <a:cubicBezTo>
                    <a:pt x="38" y="108"/>
                    <a:pt x="35" y="105"/>
                    <a:pt x="34" y="104"/>
                  </a:cubicBezTo>
                  <a:cubicBezTo>
                    <a:pt x="33" y="102"/>
                    <a:pt x="36" y="101"/>
                    <a:pt x="37" y="100"/>
                  </a:cubicBezTo>
                  <a:cubicBezTo>
                    <a:pt x="39" y="99"/>
                    <a:pt x="47" y="99"/>
                    <a:pt x="48" y="99"/>
                  </a:cubicBezTo>
                  <a:cubicBezTo>
                    <a:pt x="49" y="99"/>
                    <a:pt x="49" y="95"/>
                    <a:pt x="50" y="94"/>
                  </a:cubicBezTo>
                  <a:cubicBezTo>
                    <a:pt x="50" y="92"/>
                    <a:pt x="50" y="88"/>
                    <a:pt x="48" y="87"/>
                  </a:cubicBezTo>
                  <a:cubicBezTo>
                    <a:pt x="47" y="85"/>
                    <a:pt x="39" y="85"/>
                    <a:pt x="37" y="85"/>
                  </a:cubicBezTo>
                  <a:cubicBezTo>
                    <a:pt x="35" y="85"/>
                    <a:pt x="28" y="88"/>
                    <a:pt x="27" y="90"/>
                  </a:cubicBezTo>
                  <a:cubicBezTo>
                    <a:pt x="26" y="91"/>
                    <a:pt x="24" y="92"/>
                    <a:pt x="2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6"/>
                    <a:pt x="18" y="83"/>
                    <a:pt x="17" y="81"/>
                  </a:cubicBezTo>
                  <a:cubicBezTo>
                    <a:pt x="15" y="79"/>
                    <a:pt x="9" y="78"/>
                    <a:pt x="7" y="77"/>
                  </a:cubicBezTo>
                  <a:cubicBezTo>
                    <a:pt x="5" y="76"/>
                    <a:pt x="0" y="71"/>
                    <a:pt x="0" y="71"/>
                  </a:cubicBezTo>
                  <a:close/>
                </a:path>
              </a:pathLst>
            </a:custGeom>
            <a:solidFill>
              <a:srgbClr val="55A0B9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68"/>
            <p:cNvSpPr>
              <a:spLocks/>
            </p:cNvSpPr>
            <p:nvPr/>
          </p:nvSpPr>
          <p:spPr bwMode="auto">
            <a:xfrm>
              <a:off x="6636996" y="3832837"/>
              <a:ext cx="409111" cy="323308"/>
            </a:xfrm>
            <a:custGeom>
              <a:avLst/>
              <a:gdLst>
                <a:gd name="T0" fmla="*/ 14671 w 147"/>
                <a:gd name="T1" fmla="*/ 6512 h 123"/>
                <a:gd name="T2" fmla="*/ 5369 w 147"/>
                <a:gd name="T3" fmla="*/ 4577 h 123"/>
                <a:gd name="T4" fmla="*/ 0 w 147"/>
                <a:gd name="T5" fmla="*/ 1791 h 123"/>
                <a:gd name="T6" fmla="*/ 8875 w 147"/>
                <a:gd name="T7" fmla="*/ 1 h 123"/>
                <a:gd name="T8" fmla="*/ 28206 w 147"/>
                <a:gd name="T9" fmla="*/ 2548 h 123"/>
                <a:gd name="T10" fmla="*/ 56966 w 147"/>
                <a:gd name="T11" fmla="*/ 1791 h 123"/>
                <a:gd name="T12" fmla="*/ 86761 w 147"/>
                <a:gd name="T13" fmla="*/ 0 h 123"/>
                <a:gd name="T14" fmla="*/ 95702 w 147"/>
                <a:gd name="T15" fmla="*/ 1259 h 123"/>
                <a:gd name="T16" fmla="*/ 90330 w 147"/>
                <a:gd name="T17" fmla="*/ 2261 h 123"/>
                <a:gd name="T18" fmla="*/ 112897 w 147"/>
                <a:gd name="T19" fmla="*/ 3295 h 123"/>
                <a:gd name="T20" fmla="*/ 112897 w 147"/>
                <a:gd name="T21" fmla="*/ 3917 h 123"/>
                <a:gd name="T22" fmla="*/ 118078 w 147"/>
                <a:gd name="T23" fmla="*/ 5321 h 123"/>
                <a:gd name="T24" fmla="*/ 146527 w 147"/>
                <a:gd name="T25" fmla="*/ 6186 h 123"/>
                <a:gd name="T26" fmla="*/ 186626 w 147"/>
                <a:gd name="T27" fmla="*/ 7929 h 123"/>
                <a:gd name="T28" fmla="*/ 229780 w 147"/>
                <a:gd name="T29" fmla="*/ 6670 h 123"/>
                <a:gd name="T30" fmla="*/ 229780 w 147"/>
                <a:gd name="T31" fmla="*/ 5981 h 123"/>
                <a:gd name="T32" fmla="*/ 229780 w 147"/>
                <a:gd name="T33" fmla="*/ 5981 h 123"/>
                <a:gd name="T34" fmla="*/ 247959 w 147"/>
                <a:gd name="T35" fmla="*/ 5981 h 123"/>
                <a:gd name="T36" fmla="*/ 272977 w 147"/>
                <a:gd name="T37" fmla="*/ 4204 h 123"/>
                <a:gd name="T38" fmla="*/ 310514 w 147"/>
                <a:gd name="T39" fmla="*/ 4204 h 123"/>
                <a:gd name="T40" fmla="*/ 351849 w 147"/>
                <a:gd name="T41" fmla="*/ 5573 h 123"/>
                <a:gd name="T42" fmla="*/ 379840 w 147"/>
                <a:gd name="T43" fmla="*/ 7571 h 123"/>
                <a:gd name="T44" fmla="*/ 403785 w 147"/>
                <a:gd name="T45" fmla="*/ 7929 h 123"/>
                <a:gd name="T46" fmla="*/ 403785 w 147"/>
                <a:gd name="T47" fmla="*/ 10442 h 123"/>
                <a:gd name="T48" fmla="*/ 400401 w 147"/>
                <a:gd name="T49" fmla="*/ 12675 h 123"/>
                <a:gd name="T50" fmla="*/ 385626 w 147"/>
                <a:gd name="T51" fmla="*/ 14522 h 123"/>
                <a:gd name="T52" fmla="*/ 395220 w 147"/>
                <a:gd name="T53" fmla="*/ 20050 h 123"/>
                <a:gd name="T54" fmla="*/ 419644 w 147"/>
                <a:gd name="T55" fmla="*/ 20661 h 123"/>
                <a:gd name="T56" fmla="*/ 419644 w 147"/>
                <a:gd name="T57" fmla="*/ 22165 h 123"/>
                <a:gd name="T58" fmla="*/ 398464 w 147"/>
                <a:gd name="T59" fmla="*/ 24272 h 123"/>
                <a:gd name="T60" fmla="*/ 403785 w 147"/>
                <a:gd name="T61" fmla="*/ 25253 h 123"/>
                <a:gd name="T62" fmla="*/ 417623 w 147"/>
                <a:gd name="T63" fmla="*/ 27121 h 123"/>
                <a:gd name="T64" fmla="*/ 441232 w 147"/>
                <a:gd name="T65" fmla="*/ 27589 h 123"/>
                <a:gd name="T66" fmla="*/ 443781 w 147"/>
                <a:gd name="T67" fmla="*/ 29592 h 123"/>
                <a:gd name="T68" fmla="*/ 457714 w 147"/>
                <a:gd name="T69" fmla="*/ 30074 h 123"/>
                <a:gd name="T70" fmla="*/ 451248 w 147"/>
                <a:gd name="T71" fmla="*/ 31924 h 123"/>
                <a:gd name="T72" fmla="*/ 432302 w 147"/>
                <a:gd name="T73" fmla="*/ 32018 h 123"/>
                <a:gd name="T74" fmla="*/ 423427 w 147"/>
                <a:gd name="T75" fmla="*/ 32879 h 123"/>
                <a:gd name="T76" fmla="*/ 408037 w 147"/>
                <a:gd name="T77" fmla="*/ 34667 h 123"/>
                <a:gd name="T78" fmla="*/ 339294 w 147"/>
                <a:gd name="T79" fmla="*/ 33843 h 123"/>
                <a:gd name="T80" fmla="*/ 313857 w 147"/>
                <a:gd name="T81" fmla="*/ 32712 h 123"/>
                <a:gd name="T82" fmla="*/ 299358 w 147"/>
                <a:gd name="T83" fmla="*/ 30074 h 123"/>
                <a:gd name="T84" fmla="*/ 264615 w 147"/>
                <a:gd name="T85" fmla="*/ 31023 h 123"/>
                <a:gd name="T86" fmla="*/ 219350 w 147"/>
                <a:gd name="T87" fmla="*/ 31023 h 123"/>
                <a:gd name="T88" fmla="*/ 195190 w 147"/>
                <a:gd name="T89" fmla="*/ 29115 h 123"/>
                <a:gd name="T90" fmla="*/ 170758 w 147"/>
                <a:gd name="T91" fmla="*/ 28526 h 123"/>
                <a:gd name="T92" fmla="*/ 139003 w 147"/>
                <a:gd name="T93" fmla="*/ 23109 h 123"/>
                <a:gd name="T94" fmla="*/ 118078 w 147"/>
                <a:gd name="T95" fmla="*/ 23400 h 123"/>
                <a:gd name="T96" fmla="*/ 103298 w 147"/>
                <a:gd name="T97" fmla="*/ 23787 h 123"/>
                <a:gd name="T98" fmla="*/ 86761 w 147"/>
                <a:gd name="T99" fmla="*/ 21478 h 123"/>
                <a:gd name="T100" fmla="*/ 86761 w 147"/>
                <a:gd name="T101" fmla="*/ 19391 h 123"/>
                <a:gd name="T102" fmla="*/ 77076 w 147"/>
                <a:gd name="T103" fmla="*/ 18034 h 123"/>
                <a:gd name="T104" fmla="*/ 46626 w 147"/>
                <a:gd name="T105" fmla="*/ 16719 h 123"/>
                <a:gd name="T106" fmla="*/ 31750 w 147"/>
                <a:gd name="T107" fmla="*/ 13851 h 123"/>
                <a:gd name="T108" fmla="*/ 43211 w 147"/>
                <a:gd name="T109" fmla="*/ 11873 h 123"/>
                <a:gd name="T110" fmla="*/ 48559 w 147"/>
                <a:gd name="T111" fmla="*/ 10207 h 123"/>
                <a:gd name="T112" fmla="*/ 28206 w 147"/>
                <a:gd name="T113" fmla="*/ 9265 h 123"/>
                <a:gd name="T114" fmla="*/ 14671 w 147"/>
                <a:gd name="T115" fmla="*/ 6512 h 12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47" h="123">
                  <a:moveTo>
                    <a:pt x="5" y="23"/>
                  </a:moveTo>
                  <a:cubicBezTo>
                    <a:pt x="3" y="19"/>
                    <a:pt x="2" y="19"/>
                    <a:pt x="2" y="16"/>
                  </a:cubicBezTo>
                  <a:cubicBezTo>
                    <a:pt x="2" y="13"/>
                    <a:pt x="1" y="8"/>
                    <a:pt x="0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6" y="2"/>
                    <a:pt x="8" y="7"/>
                    <a:pt x="9" y="9"/>
                  </a:cubicBezTo>
                  <a:cubicBezTo>
                    <a:pt x="12" y="11"/>
                    <a:pt x="18" y="6"/>
                    <a:pt x="18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34" y="12"/>
                    <a:pt x="36" y="12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14"/>
                    <a:pt x="36" y="17"/>
                    <a:pt x="38" y="19"/>
                  </a:cubicBezTo>
                  <a:cubicBezTo>
                    <a:pt x="40" y="20"/>
                    <a:pt x="47" y="20"/>
                    <a:pt x="47" y="22"/>
                  </a:cubicBezTo>
                  <a:cubicBezTo>
                    <a:pt x="47" y="24"/>
                    <a:pt x="55" y="28"/>
                    <a:pt x="60" y="28"/>
                  </a:cubicBezTo>
                  <a:cubicBezTo>
                    <a:pt x="64" y="28"/>
                    <a:pt x="74" y="26"/>
                    <a:pt x="74" y="24"/>
                  </a:cubicBezTo>
                  <a:cubicBezTo>
                    <a:pt x="74" y="24"/>
                    <a:pt x="74" y="22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8" y="21"/>
                    <a:pt x="80" y="21"/>
                    <a:pt x="80" y="21"/>
                  </a:cubicBezTo>
                  <a:cubicBezTo>
                    <a:pt x="81" y="20"/>
                    <a:pt x="84" y="15"/>
                    <a:pt x="88" y="15"/>
                  </a:cubicBezTo>
                  <a:cubicBezTo>
                    <a:pt x="91" y="15"/>
                    <a:pt x="97" y="14"/>
                    <a:pt x="100" y="15"/>
                  </a:cubicBezTo>
                  <a:cubicBezTo>
                    <a:pt x="104" y="16"/>
                    <a:pt x="111" y="19"/>
                    <a:pt x="113" y="20"/>
                  </a:cubicBezTo>
                  <a:cubicBezTo>
                    <a:pt x="115" y="20"/>
                    <a:pt x="121" y="26"/>
                    <a:pt x="122" y="27"/>
                  </a:cubicBezTo>
                  <a:cubicBezTo>
                    <a:pt x="124" y="28"/>
                    <a:pt x="128" y="28"/>
                    <a:pt x="130" y="28"/>
                  </a:cubicBezTo>
                  <a:cubicBezTo>
                    <a:pt x="130" y="28"/>
                    <a:pt x="130" y="32"/>
                    <a:pt x="130" y="37"/>
                  </a:cubicBezTo>
                  <a:cubicBezTo>
                    <a:pt x="130" y="40"/>
                    <a:pt x="129" y="43"/>
                    <a:pt x="129" y="45"/>
                  </a:cubicBezTo>
                  <a:cubicBezTo>
                    <a:pt x="128" y="47"/>
                    <a:pt x="124" y="49"/>
                    <a:pt x="124" y="51"/>
                  </a:cubicBezTo>
                  <a:cubicBezTo>
                    <a:pt x="125" y="52"/>
                    <a:pt x="127" y="69"/>
                    <a:pt x="127" y="71"/>
                  </a:cubicBezTo>
                  <a:cubicBezTo>
                    <a:pt x="127" y="72"/>
                    <a:pt x="134" y="71"/>
                    <a:pt x="135" y="73"/>
                  </a:cubicBezTo>
                  <a:cubicBezTo>
                    <a:pt x="135" y="75"/>
                    <a:pt x="135" y="77"/>
                    <a:pt x="135" y="79"/>
                  </a:cubicBezTo>
                  <a:cubicBezTo>
                    <a:pt x="134" y="80"/>
                    <a:pt x="127" y="84"/>
                    <a:pt x="128" y="86"/>
                  </a:cubicBezTo>
                  <a:cubicBezTo>
                    <a:pt x="128" y="86"/>
                    <a:pt x="129" y="87"/>
                    <a:pt x="130" y="89"/>
                  </a:cubicBezTo>
                  <a:cubicBezTo>
                    <a:pt x="131" y="92"/>
                    <a:pt x="133" y="96"/>
                    <a:pt x="134" y="96"/>
                  </a:cubicBezTo>
                  <a:cubicBezTo>
                    <a:pt x="136" y="96"/>
                    <a:pt x="141" y="97"/>
                    <a:pt x="142" y="98"/>
                  </a:cubicBezTo>
                  <a:cubicBezTo>
                    <a:pt x="142" y="99"/>
                    <a:pt x="143" y="104"/>
                    <a:pt x="143" y="105"/>
                  </a:cubicBezTo>
                  <a:cubicBezTo>
                    <a:pt x="143" y="106"/>
                    <a:pt x="147" y="106"/>
                    <a:pt x="147" y="107"/>
                  </a:cubicBezTo>
                  <a:cubicBezTo>
                    <a:pt x="147" y="108"/>
                    <a:pt x="146" y="112"/>
                    <a:pt x="145" y="113"/>
                  </a:cubicBezTo>
                  <a:cubicBezTo>
                    <a:pt x="144" y="114"/>
                    <a:pt x="140" y="114"/>
                    <a:pt x="139" y="114"/>
                  </a:cubicBezTo>
                  <a:cubicBezTo>
                    <a:pt x="137" y="115"/>
                    <a:pt x="136" y="117"/>
                    <a:pt x="136" y="117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25" y="123"/>
                    <a:pt x="113" y="122"/>
                    <a:pt x="109" y="120"/>
                  </a:cubicBezTo>
                  <a:cubicBezTo>
                    <a:pt x="105" y="119"/>
                    <a:pt x="102" y="119"/>
                    <a:pt x="101" y="116"/>
                  </a:cubicBezTo>
                  <a:cubicBezTo>
                    <a:pt x="100" y="114"/>
                    <a:pt x="99" y="107"/>
                    <a:pt x="96" y="107"/>
                  </a:cubicBezTo>
                  <a:cubicBezTo>
                    <a:pt x="94" y="107"/>
                    <a:pt x="87" y="110"/>
                    <a:pt x="85" y="110"/>
                  </a:cubicBezTo>
                  <a:cubicBezTo>
                    <a:pt x="83" y="111"/>
                    <a:pt x="74" y="112"/>
                    <a:pt x="71" y="110"/>
                  </a:cubicBezTo>
                  <a:cubicBezTo>
                    <a:pt x="69" y="107"/>
                    <a:pt x="65" y="103"/>
                    <a:pt x="63" y="103"/>
                  </a:cubicBezTo>
                  <a:cubicBezTo>
                    <a:pt x="61" y="102"/>
                    <a:pt x="58" y="104"/>
                    <a:pt x="55" y="101"/>
                  </a:cubicBezTo>
                  <a:cubicBezTo>
                    <a:pt x="52" y="98"/>
                    <a:pt x="47" y="83"/>
                    <a:pt x="45" y="82"/>
                  </a:cubicBezTo>
                  <a:cubicBezTo>
                    <a:pt x="43" y="81"/>
                    <a:pt x="41" y="83"/>
                    <a:pt x="38" y="83"/>
                  </a:cubicBezTo>
                  <a:cubicBezTo>
                    <a:pt x="36" y="83"/>
                    <a:pt x="35" y="83"/>
                    <a:pt x="33" y="84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0"/>
                    <a:pt x="28" y="69"/>
                  </a:cubicBezTo>
                  <a:cubicBezTo>
                    <a:pt x="28" y="68"/>
                    <a:pt x="26" y="66"/>
                    <a:pt x="25" y="64"/>
                  </a:cubicBezTo>
                  <a:cubicBezTo>
                    <a:pt x="23" y="62"/>
                    <a:pt x="17" y="60"/>
                    <a:pt x="15" y="59"/>
                  </a:cubicBezTo>
                  <a:cubicBezTo>
                    <a:pt x="14" y="58"/>
                    <a:pt x="10" y="51"/>
                    <a:pt x="10" y="49"/>
                  </a:cubicBezTo>
                  <a:cubicBezTo>
                    <a:pt x="10" y="47"/>
                    <a:pt x="12" y="43"/>
                    <a:pt x="14" y="42"/>
                  </a:cubicBezTo>
                  <a:cubicBezTo>
                    <a:pt x="15" y="41"/>
                    <a:pt x="16" y="37"/>
                    <a:pt x="16" y="36"/>
                  </a:cubicBezTo>
                  <a:cubicBezTo>
                    <a:pt x="16" y="34"/>
                    <a:pt x="11" y="33"/>
                    <a:pt x="9" y="33"/>
                  </a:cubicBezTo>
                  <a:cubicBezTo>
                    <a:pt x="7" y="32"/>
                    <a:pt x="7" y="27"/>
                    <a:pt x="5" y="23"/>
                  </a:cubicBezTo>
                  <a:close/>
                </a:path>
              </a:pathLst>
            </a:custGeom>
            <a:solidFill>
              <a:srgbClr val="55A0B9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73"/>
            <p:cNvSpPr>
              <a:spLocks/>
            </p:cNvSpPr>
            <p:nvPr/>
          </p:nvSpPr>
          <p:spPr bwMode="auto">
            <a:xfrm>
              <a:off x="6519145" y="3890109"/>
              <a:ext cx="210448" cy="181053"/>
            </a:xfrm>
            <a:custGeom>
              <a:avLst/>
              <a:gdLst>
                <a:gd name="T0" fmla="*/ 47430 w 75"/>
                <a:gd name="T1" fmla="*/ 12537 h 69"/>
                <a:gd name="T2" fmla="*/ 15175 w 75"/>
                <a:gd name="T3" fmla="*/ 11986 h 69"/>
                <a:gd name="T4" fmla="*/ 10245 w 75"/>
                <a:gd name="T5" fmla="*/ 12324 h 69"/>
                <a:gd name="T6" fmla="*/ 0 w 75"/>
                <a:gd name="T7" fmla="*/ 9293 h 69"/>
                <a:gd name="T8" fmla="*/ 53758 w 75"/>
                <a:gd name="T9" fmla="*/ 6891 h 69"/>
                <a:gd name="T10" fmla="*/ 63297 w 75"/>
                <a:gd name="T11" fmla="*/ 5876 h 69"/>
                <a:gd name="T12" fmla="*/ 70255 w 75"/>
                <a:gd name="T13" fmla="*/ 2518 h 69"/>
                <a:gd name="T14" fmla="*/ 99730 w 75"/>
                <a:gd name="T15" fmla="*/ 619 h 69"/>
                <a:gd name="T16" fmla="*/ 112422 w 75"/>
                <a:gd name="T17" fmla="*/ 0 h 69"/>
                <a:gd name="T18" fmla="*/ 166217 w 75"/>
                <a:gd name="T19" fmla="*/ 1 h 69"/>
                <a:gd name="T20" fmla="*/ 181388 w 75"/>
                <a:gd name="T21" fmla="*/ 3186 h 69"/>
                <a:gd name="T22" fmla="*/ 206728 w 75"/>
                <a:gd name="T23" fmla="*/ 3850 h 69"/>
                <a:gd name="T24" fmla="*/ 197662 w 75"/>
                <a:gd name="T25" fmla="*/ 5468 h 69"/>
                <a:gd name="T26" fmla="*/ 185287 w 75"/>
                <a:gd name="T27" fmla="*/ 7329 h 69"/>
                <a:gd name="T28" fmla="*/ 201217 w 75"/>
                <a:gd name="T29" fmla="*/ 10246 h 69"/>
                <a:gd name="T30" fmla="*/ 238912 w 75"/>
                <a:gd name="T31" fmla="*/ 11590 h 69"/>
                <a:gd name="T32" fmla="*/ 248880 w 75"/>
                <a:gd name="T33" fmla="*/ 12964 h 69"/>
                <a:gd name="T34" fmla="*/ 248880 w 75"/>
                <a:gd name="T35" fmla="*/ 14784 h 69"/>
                <a:gd name="T36" fmla="*/ 265408 w 75"/>
                <a:gd name="T37" fmla="*/ 17024 h 69"/>
                <a:gd name="T38" fmla="*/ 265408 w 75"/>
                <a:gd name="T39" fmla="*/ 17024 h 69"/>
                <a:gd name="T40" fmla="*/ 254992 w 75"/>
                <a:gd name="T41" fmla="*/ 17144 h 69"/>
                <a:gd name="T42" fmla="*/ 229513 w 75"/>
                <a:gd name="T43" fmla="*/ 17024 h 69"/>
                <a:gd name="T44" fmla="*/ 206728 w 75"/>
                <a:gd name="T45" fmla="*/ 18863 h 69"/>
                <a:gd name="T46" fmla="*/ 155117 w 75"/>
                <a:gd name="T47" fmla="*/ 18746 h 69"/>
                <a:gd name="T48" fmla="*/ 47430 w 75"/>
                <a:gd name="T49" fmla="*/ 12537 h 6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5" h="69">
                  <a:moveTo>
                    <a:pt x="13" y="46"/>
                  </a:moveTo>
                  <a:cubicBezTo>
                    <a:pt x="12" y="45"/>
                    <a:pt x="4" y="44"/>
                    <a:pt x="4" y="44"/>
                  </a:cubicBezTo>
                  <a:cubicBezTo>
                    <a:pt x="4" y="44"/>
                    <a:pt x="4" y="44"/>
                    <a:pt x="3" y="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5"/>
                    <a:pt x="18" y="24"/>
                    <a:pt x="18" y="21"/>
                  </a:cubicBezTo>
                  <a:cubicBezTo>
                    <a:pt x="19" y="19"/>
                    <a:pt x="19" y="10"/>
                    <a:pt x="20" y="9"/>
                  </a:cubicBezTo>
                  <a:cubicBezTo>
                    <a:pt x="22" y="8"/>
                    <a:pt x="25" y="4"/>
                    <a:pt x="28" y="2"/>
                  </a:cubicBezTo>
                  <a:cubicBezTo>
                    <a:pt x="30" y="1"/>
                    <a:pt x="31" y="0"/>
                    <a:pt x="32" y="0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9" y="5"/>
                    <a:pt x="49" y="10"/>
                    <a:pt x="51" y="11"/>
                  </a:cubicBezTo>
                  <a:cubicBezTo>
                    <a:pt x="53" y="11"/>
                    <a:pt x="58" y="12"/>
                    <a:pt x="58" y="14"/>
                  </a:cubicBezTo>
                  <a:cubicBezTo>
                    <a:pt x="58" y="15"/>
                    <a:pt x="57" y="19"/>
                    <a:pt x="56" y="20"/>
                  </a:cubicBezTo>
                  <a:cubicBezTo>
                    <a:pt x="54" y="21"/>
                    <a:pt x="52" y="25"/>
                    <a:pt x="52" y="27"/>
                  </a:cubicBezTo>
                  <a:cubicBezTo>
                    <a:pt x="52" y="29"/>
                    <a:pt x="56" y="36"/>
                    <a:pt x="57" y="37"/>
                  </a:cubicBezTo>
                  <a:cubicBezTo>
                    <a:pt x="59" y="38"/>
                    <a:pt x="65" y="40"/>
                    <a:pt x="67" y="42"/>
                  </a:cubicBezTo>
                  <a:cubicBezTo>
                    <a:pt x="68" y="44"/>
                    <a:pt x="70" y="46"/>
                    <a:pt x="70" y="47"/>
                  </a:cubicBezTo>
                  <a:cubicBezTo>
                    <a:pt x="70" y="48"/>
                    <a:pt x="70" y="54"/>
                    <a:pt x="70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2"/>
                    <a:pt x="73" y="63"/>
                    <a:pt x="72" y="63"/>
                  </a:cubicBezTo>
                  <a:cubicBezTo>
                    <a:pt x="72" y="63"/>
                    <a:pt x="68" y="61"/>
                    <a:pt x="65" y="62"/>
                  </a:cubicBezTo>
                  <a:cubicBezTo>
                    <a:pt x="62" y="62"/>
                    <a:pt x="60" y="68"/>
                    <a:pt x="58" y="69"/>
                  </a:cubicBezTo>
                  <a:cubicBezTo>
                    <a:pt x="44" y="68"/>
                    <a:pt x="44" y="68"/>
                    <a:pt x="44" y="68"/>
                  </a:cubicBezTo>
                  <a:lnTo>
                    <a:pt x="13" y="46"/>
                  </a:lnTo>
                  <a:close/>
                </a:path>
              </a:pathLst>
            </a:custGeom>
            <a:solidFill>
              <a:srgbClr val="55A0B9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79"/>
            <p:cNvSpPr>
              <a:spLocks/>
            </p:cNvSpPr>
            <p:nvPr/>
          </p:nvSpPr>
          <p:spPr bwMode="auto">
            <a:xfrm>
              <a:off x="6438333" y="4004652"/>
              <a:ext cx="444466" cy="341783"/>
            </a:xfrm>
            <a:custGeom>
              <a:avLst/>
              <a:gdLst>
                <a:gd name="T0" fmla="*/ 3520 w 159"/>
                <a:gd name="T1" fmla="*/ 6677 h 130"/>
                <a:gd name="T2" fmla="*/ 30672 w 159"/>
                <a:gd name="T3" fmla="*/ 7185 h 130"/>
                <a:gd name="T4" fmla="*/ 54944 w 159"/>
                <a:gd name="T5" fmla="*/ 5577 h 130"/>
                <a:gd name="T6" fmla="*/ 76434 w 159"/>
                <a:gd name="T7" fmla="*/ 4214 h 130"/>
                <a:gd name="T8" fmla="*/ 55209 w 159"/>
                <a:gd name="T9" fmla="*/ 1851 h 130"/>
                <a:gd name="T10" fmla="*/ 106170 w 159"/>
                <a:gd name="T11" fmla="*/ 1 h 130"/>
                <a:gd name="T12" fmla="*/ 106170 w 159"/>
                <a:gd name="T13" fmla="*/ 1 h 130"/>
                <a:gd name="T14" fmla="*/ 110219 w 159"/>
                <a:gd name="T15" fmla="*/ 0 h 130"/>
                <a:gd name="T16" fmla="*/ 140398 w 159"/>
                <a:gd name="T17" fmla="*/ 642 h 130"/>
                <a:gd name="T18" fmla="*/ 243802 w 159"/>
                <a:gd name="T19" fmla="*/ 6677 h 130"/>
                <a:gd name="T20" fmla="*/ 289175 w 159"/>
                <a:gd name="T21" fmla="*/ 7185 h 130"/>
                <a:gd name="T22" fmla="*/ 313562 w 159"/>
                <a:gd name="T23" fmla="*/ 7937 h 130"/>
                <a:gd name="T24" fmla="*/ 319086 w 159"/>
                <a:gd name="T25" fmla="*/ 8830 h 130"/>
                <a:gd name="T26" fmla="*/ 340276 w 159"/>
                <a:gd name="T27" fmla="*/ 8534 h 130"/>
                <a:gd name="T28" fmla="*/ 347686 w 159"/>
                <a:gd name="T29" fmla="*/ 9310 h 130"/>
                <a:gd name="T30" fmla="*/ 383464 w 159"/>
                <a:gd name="T31" fmla="*/ 12963 h 130"/>
                <a:gd name="T32" fmla="*/ 387057 w 159"/>
                <a:gd name="T33" fmla="*/ 14551 h 130"/>
                <a:gd name="T34" fmla="*/ 398326 w 159"/>
                <a:gd name="T35" fmla="*/ 17283 h 130"/>
                <a:gd name="T36" fmla="*/ 414060 w 159"/>
                <a:gd name="T37" fmla="*/ 14155 h 130"/>
                <a:gd name="T38" fmla="*/ 428547 w 159"/>
                <a:gd name="T39" fmla="*/ 15374 h 130"/>
                <a:gd name="T40" fmla="*/ 428547 w 159"/>
                <a:gd name="T41" fmla="*/ 17283 h 130"/>
                <a:gd name="T42" fmla="*/ 417588 w 159"/>
                <a:gd name="T43" fmla="*/ 17882 h 130"/>
                <a:gd name="T44" fmla="*/ 440330 w 159"/>
                <a:gd name="T45" fmla="*/ 19243 h 130"/>
                <a:gd name="T46" fmla="*/ 443983 w 159"/>
                <a:gd name="T47" fmla="*/ 19243 h 130"/>
                <a:gd name="T48" fmla="*/ 450480 w 159"/>
                <a:gd name="T49" fmla="*/ 21511 h 130"/>
                <a:gd name="T50" fmla="*/ 516598 w 159"/>
                <a:gd name="T51" fmla="*/ 21878 h 130"/>
                <a:gd name="T52" fmla="*/ 529803 w 159"/>
                <a:gd name="T53" fmla="*/ 23485 h 130"/>
                <a:gd name="T54" fmla="*/ 511205 w 159"/>
                <a:gd name="T55" fmla="*/ 28183 h 130"/>
                <a:gd name="T56" fmla="*/ 434737 w 159"/>
                <a:gd name="T57" fmla="*/ 30021 h 130"/>
                <a:gd name="T58" fmla="*/ 434737 w 159"/>
                <a:gd name="T59" fmla="*/ 30021 h 130"/>
                <a:gd name="T60" fmla="*/ 353541 w 159"/>
                <a:gd name="T61" fmla="*/ 32292 h 130"/>
                <a:gd name="T62" fmla="*/ 297128 w 159"/>
                <a:gd name="T63" fmla="*/ 36708 h 130"/>
                <a:gd name="T64" fmla="*/ 221533 w 159"/>
                <a:gd name="T65" fmla="*/ 33664 h 130"/>
                <a:gd name="T66" fmla="*/ 212928 w 159"/>
                <a:gd name="T67" fmla="*/ 35655 h 130"/>
                <a:gd name="T68" fmla="*/ 200911 w 159"/>
                <a:gd name="T69" fmla="*/ 36213 h 130"/>
                <a:gd name="T70" fmla="*/ 200911 w 159"/>
                <a:gd name="T71" fmla="*/ 35655 h 130"/>
                <a:gd name="T72" fmla="*/ 180116 w 159"/>
                <a:gd name="T73" fmla="*/ 33249 h 130"/>
                <a:gd name="T74" fmla="*/ 142778 w 159"/>
                <a:gd name="T75" fmla="*/ 28073 h 130"/>
                <a:gd name="T76" fmla="*/ 121003 w 159"/>
                <a:gd name="T77" fmla="*/ 26714 h 130"/>
                <a:gd name="T78" fmla="*/ 106170 w 159"/>
                <a:gd name="T79" fmla="*/ 23837 h 130"/>
                <a:gd name="T80" fmla="*/ 102938 w 159"/>
                <a:gd name="T81" fmla="*/ 21511 h 130"/>
                <a:gd name="T82" fmla="*/ 73759 w 159"/>
                <a:gd name="T83" fmla="*/ 18447 h 130"/>
                <a:gd name="T84" fmla="*/ 60536 w 159"/>
                <a:gd name="T85" fmla="*/ 16926 h 130"/>
                <a:gd name="T86" fmla="*/ 44423 w 159"/>
                <a:gd name="T87" fmla="*/ 13916 h 130"/>
                <a:gd name="T88" fmla="*/ 9705 w 159"/>
                <a:gd name="T89" fmla="*/ 9502 h 130"/>
                <a:gd name="T90" fmla="*/ 0 w 159"/>
                <a:gd name="T91" fmla="*/ 8534 h 130"/>
                <a:gd name="T92" fmla="*/ 3520 w 159"/>
                <a:gd name="T93" fmla="*/ 7185 h 130"/>
                <a:gd name="T94" fmla="*/ 3520 w 159"/>
                <a:gd name="T95" fmla="*/ 7185 h 130"/>
                <a:gd name="T96" fmla="*/ 3520 w 159"/>
                <a:gd name="T97" fmla="*/ 6677 h 13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59" h="130">
                  <a:moveTo>
                    <a:pt x="1" y="24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11" y="25"/>
                    <a:pt x="14" y="20"/>
                    <a:pt x="16" y="20"/>
                  </a:cubicBezTo>
                  <a:cubicBezTo>
                    <a:pt x="19" y="19"/>
                    <a:pt x="23" y="15"/>
                    <a:pt x="23" y="15"/>
                  </a:cubicBezTo>
                  <a:cubicBezTo>
                    <a:pt x="23" y="15"/>
                    <a:pt x="16" y="6"/>
                    <a:pt x="17" y="6"/>
                  </a:cubicBezTo>
                  <a:cubicBezTo>
                    <a:pt x="18" y="5"/>
                    <a:pt x="29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41" y="1"/>
                    <a:pt x="42" y="2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5" y="26"/>
                    <a:pt x="94" y="28"/>
                    <a:pt x="94" y="28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1"/>
                    <a:pt x="103" y="32"/>
                    <a:pt x="104" y="33"/>
                  </a:cubicBezTo>
                  <a:cubicBezTo>
                    <a:pt x="106" y="37"/>
                    <a:pt x="114" y="43"/>
                    <a:pt x="115" y="46"/>
                  </a:cubicBezTo>
                  <a:cubicBezTo>
                    <a:pt x="116" y="49"/>
                    <a:pt x="116" y="49"/>
                    <a:pt x="116" y="51"/>
                  </a:cubicBezTo>
                  <a:cubicBezTo>
                    <a:pt x="116" y="53"/>
                    <a:pt x="118" y="60"/>
                    <a:pt x="119" y="61"/>
                  </a:cubicBezTo>
                  <a:cubicBezTo>
                    <a:pt x="120" y="62"/>
                    <a:pt x="123" y="50"/>
                    <a:pt x="124" y="50"/>
                  </a:cubicBezTo>
                  <a:cubicBezTo>
                    <a:pt x="126" y="50"/>
                    <a:pt x="128" y="52"/>
                    <a:pt x="128" y="54"/>
                  </a:cubicBezTo>
                  <a:cubicBezTo>
                    <a:pt x="128" y="55"/>
                    <a:pt x="128" y="61"/>
                    <a:pt x="128" y="61"/>
                  </a:cubicBezTo>
                  <a:cubicBezTo>
                    <a:pt x="128" y="61"/>
                    <a:pt x="124" y="63"/>
                    <a:pt x="125" y="63"/>
                  </a:cubicBezTo>
                  <a:cubicBezTo>
                    <a:pt x="126" y="64"/>
                    <a:pt x="129" y="69"/>
                    <a:pt x="132" y="68"/>
                  </a:cubicBezTo>
                  <a:cubicBezTo>
                    <a:pt x="132" y="68"/>
                    <a:pt x="133" y="68"/>
                    <a:pt x="133" y="68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55" y="77"/>
                    <a:pt x="155" y="77"/>
                    <a:pt x="155" y="77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6" y="114"/>
                    <a:pt x="90" y="130"/>
                    <a:pt x="89" y="130"/>
                  </a:cubicBezTo>
                  <a:cubicBezTo>
                    <a:pt x="89" y="130"/>
                    <a:pt x="68" y="118"/>
                    <a:pt x="66" y="119"/>
                  </a:cubicBezTo>
                  <a:cubicBezTo>
                    <a:pt x="64" y="119"/>
                    <a:pt x="65" y="125"/>
                    <a:pt x="64" y="126"/>
                  </a:cubicBezTo>
                  <a:cubicBezTo>
                    <a:pt x="63" y="127"/>
                    <a:pt x="60" y="128"/>
                    <a:pt x="60" y="128"/>
                  </a:cubicBezTo>
                  <a:cubicBezTo>
                    <a:pt x="60" y="127"/>
                    <a:pt x="60" y="127"/>
                    <a:pt x="60" y="126"/>
                  </a:cubicBezTo>
                  <a:cubicBezTo>
                    <a:pt x="58" y="122"/>
                    <a:pt x="56" y="120"/>
                    <a:pt x="54" y="117"/>
                  </a:cubicBezTo>
                  <a:cubicBezTo>
                    <a:pt x="51" y="114"/>
                    <a:pt x="46" y="101"/>
                    <a:pt x="43" y="99"/>
                  </a:cubicBezTo>
                  <a:cubicBezTo>
                    <a:pt x="40" y="97"/>
                    <a:pt x="38" y="98"/>
                    <a:pt x="36" y="94"/>
                  </a:cubicBezTo>
                  <a:cubicBezTo>
                    <a:pt x="33" y="89"/>
                    <a:pt x="32" y="88"/>
                    <a:pt x="32" y="84"/>
                  </a:cubicBezTo>
                  <a:cubicBezTo>
                    <a:pt x="32" y="80"/>
                    <a:pt x="34" y="79"/>
                    <a:pt x="31" y="76"/>
                  </a:cubicBezTo>
                  <a:cubicBezTo>
                    <a:pt x="29" y="72"/>
                    <a:pt x="24" y="66"/>
                    <a:pt x="22" y="65"/>
                  </a:cubicBezTo>
                  <a:cubicBezTo>
                    <a:pt x="20" y="64"/>
                    <a:pt x="19" y="63"/>
                    <a:pt x="18" y="60"/>
                  </a:cubicBezTo>
                  <a:cubicBezTo>
                    <a:pt x="17" y="58"/>
                    <a:pt x="16" y="53"/>
                    <a:pt x="13" y="49"/>
                  </a:cubicBezTo>
                  <a:cubicBezTo>
                    <a:pt x="10" y="46"/>
                    <a:pt x="4" y="35"/>
                    <a:pt x="3" y="34"/>
                  </a:cubicBezTo>
                  <a:cubicBezTo>
                    <a:pt x="1" y="33"/>
                    <a:pt x="0" y="33"/>
                    <a:pt x="0" y="30"/>
                  </a:cubicBezTo>
                  <a:cubicBezTo>
                    <a:pt x="0" y="28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lnTo>
                    <a:pt x="1" y="24"/>
                  </a:lnTo>
                  <a:close/>
                </a:path>
              </a:pathLst>
            </a:custGeom>
            <a:solidFill>
              <a:srgbClr val="55A0B9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204"/>
            <p:cNvSpPr>
              <a:spLocks/>
            </p:cNvSpPr>
            <p:nvPr/>
          </p:nvSpPr>
          <p:spPr bwMode="auto">
            <a:xfrm>
              <a:off x="4131823" y="4420334"/>
              <a:ext cx="287893" cy="238324"/>
            </a:xfrm>
            <a:custGeom>
              <a:avLst/>
              <a:gdLst>
                <a:gd name="T0" fmla="*/ 0 w 104"/>
                <a:gd name="T1" fmla="*/ 6912 h 91"/>
                <a:gd name="T2" fmla="*/ 8363 w 104"/>
                <a:gd name="T3" fmla="*/ 4467 h 91"/>
                <a:gd name="T4" fmla="*/ 16896 w 104"/>
                <a:gd name="T5" fmla="*/ 3440 h 91"/>
                <a:gd name="T6" fmla="*/ 31617 w 104"/>
                <a:gd name="T7" fmla="*/ 2427 h 91"/>
                <a:gd name="T8" fmla="*/ 34659 w 104"/>
                <a:gd name="T9" fmla="*/ 3990 h 91"/>
                <a:gd name="T10" fmla="*/ 26186 w 104"/>
                <a:gd name="T11" fmla="*/ 5656 h 91"/>
                <a:gd name="T12" fmla="*/ 27781 w 104"/>
                <a:gd name="T13" fmla="*/ 6646 h 91"/>
                <a:gd name="T14" fmla="*/ 43056 w 104"/>
                <a:gd name="T15" fmla="*/ 7213 h 91"/>
                <a:gd name="T16" fmla="*/ 51986 w 104"/>
                <a:gd name="T17" fmla="*/ 6332 h 91"/>
                <a:gd name="T18" fmla="*/ 53832 w 104"/>
                <a:gd name="T19" fmla="*/ 4876 h 91"/>
                <a:gd name="T20" fmla="*/ 48922 w 104"/>
                <a:gd name="T21" fmla="*/ 3768 h 91"/>
                <a:gd name="T22" fmla="*/ 61126 w 104"/>
                <a:gd name="T23" fmla="*/ 2427 h 91"/>
                <a:gd name="T24" fmla="*/ 70794 w 104"/>
                <a:gd name="T25" fmla="*/ 0 h 91"/>
                <a:gd name="T26" fmla="*/ 83606 w 104"/>
                <a:gd name="T27" fmla="*/ 1875 h 91"/>
                <a:gd name="T28" fmla="*/ 100505 w 104"/>
                <a:gd name="T29" fmla="*/ 2427 h 91"/>
                <a:gd name="T30" fmla="*/ 114685 w 104"/>
                <a:gd name="T31" fmla="*/ 3990 h 91"/>
                <a:gd name="T32" fmla="*/ 150820 w 104"/>
                <a:gd name="T33" fmla="*/ 3768 h 91"/>
                <a:gd name="T34" fmla="*/ 167422 w 104"/>
                <a:gd name="T35" fmla="*/ 4876 h 91"/>
                <a:gd name="T36" fmla="*/ 194545 w 104"/>
                <a:gd name="T37" fmla="*/ 4467 h 91"/>
                <a:gd name="T38" fmla="*/ 212022 w 104"/>
                <a:gd name="T39" fmla="*/ 3440 h 91"/>
                <a:gd name="T40" fmla="*/ 247983 w 104"/>
                <a:gd name="T41" fmla="*/ 3768 h 91"/>
                <a:gd name="T42" fmla="*/ 251008 w 104"/>
                <a:gd name="T43" fmla="*/ 5088 h 91"/>
                <a:gd name="T44" fmla="*/ 271714 w 104"/>
                <a:gd name="T45" fmla="*/ 6332 h 91"/>
                <a:gd name="T46" fmla="*/ 275280 w 104"/>
                <a:gd name="T47" fmla="*/ 7604 h 91"/>
                <a:gd name="T48" fmla="*/ 296787 w 104"/>
                <a:gd name="T49" fmla="*/ 8479 h 91"/>
                <a:gd name="T50" fmla="*/ 284935 w 104"/>
                <a:gd name="T51" fmla="*/ 9798 h 91"/>
                <a:gd name="T52" fmla="*/ 275011 w 104"/>
                <a:gd name="T53" fmla="*/ 11366 h 91"/>
                <a:gd name="T54" fmla="*/ 260688 w 104"/>
                <a:gd name="T55" fmla="*/ 13889 h 91"/>
                <a:gd name="T56" fmla="*/ 271714 w 104"/>
                <a:gd name="T57" fmla="*/ 15215 h 91"/>
                <a:gd name="T58" fmla="*/ 271714 w 104"/>
                <a:gd name="T59" fmla="*/ 16112 h 91"/>
                <a:gd name="T60" fmla="*/ 229170 w 104"/>
                <a:gd name="T61" fmla="*/ 17820 h 91"/>
                <a:gd name="T62" fmla="*/ 185417 w 104"/>
                <a:gd name="T63" fmla="*/ 17039 h 91"/>
                <a:gd name="T64" fmla="*/ 199491 w 104"/>
                <a:gd name="T65" fmla="*/ 19880 h 91"/>
                <a:gd name="T66" fmla="*/ 208026 w 104"/>
                <a:gd name="T67" fmla="*/ 21661 h 91"/>
                <a:gd name="T68" fmla="*/ 156243 w 104"/>
                <a:gd name="T69" fmla="*/ 24154 h 91"/>
                <a:gd name="T70" fmla="*/ 137468 w 104"/>
                <a:gd name="T71" fmla="*/ 22371 h 91"/>
                <a:gd name="T72" fmla="*/ 132260 w 104"/>
                <a:gd name="T73" fmla="*/ 21180 h 91"/>
                <a:gd name="T74" fmla="*/ 123490 w 104"/>
                <a:gd name="T75" fmla="*/ 20273 h 91"/>
                <a:gd name="T76" fmla="*/ 132260 w 104"/>
                <a:gd name="T77" fmla="*/ 18495 h 91"/>
                <a:gd name="T78" fmla="*/ 123490 w 104"/>
                <a:gd name="T79" fmla="*/ 17660 h 91"/>
                <a:gd name="T80" fmla="*/ 123490 w 104"/>
                <a:gd name="T81" fmla="*/ 15215 h 91"/>
                <a:gd name="T82" fmla="*/ 124626 w 104"/>
                <a:gd name="T83" fmla="*/ 12968 h 91"/>
                <a:gd name="T84" fmla="*/ 88512 w 104"/>
                <a:gd name="T85" fmla="*/ 13355 h 91"/>
                <a:gd name="T86" fmla="*/ 67476 w 104"/>
                <a:gd name="T87" fmla="*/ 11679 h 91"/>
                <a:gd name="T88" fmla="*/ 27781 w 104"/>
                <a:gd name="T89" fmla="*/ 11366 h 91"/>
                <a:gd name="T90" fmla="*/ 16896 w 104"/>
                <a:gd name="T91" fmla="*/ 9421 h 91"/>
                <a:gd name="T92" fmla="*/ 0 w 104"/>
                <a:gd name="T93" fmla="*/ 6912 h 9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04" h="91">
                  <a:moveTo>
                    <a:pt x="0" y="26"/>
                  </a:moveTo>
                  <a:cubicBezTo>
                    <a:pt x="0" y="25"/>
                    <a:pt x="2" y="20"/>
                    <a:pt x="3" y="17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2" y="14"/>
                    <a:pt x="12" y="15"/>
                  </a:cubicBezTo>
                  <a:cubicBezTo>
                    <a:pt x="11" y="16"/>
                    <a:pt x="9" y="20"/>
                    <a:pt x="9" y="21"/>
                  </a:cubicBezTo>
                  <a:cubicBezTo>
                    <a:pt x="9" y="22"/>
                    <a:pt x="10" y="24"/>
                    <a:pt x="10" y="25"/>
                  </a:cubicBezTo>
                  <a:cubicBezTo>
                    <a:pt x="11" y="27"/>
                    <a:pt x="13" y="28"/>
                    <a:pt x="15" y="27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20" y="22"/>
                    <a:pt x="19" y="19"/>
                    <a:pt x="19" y="18"/>
                  </a:cubicBezTo>
                  <a:cubicBezTo>
                    <a:pt x="18" y="17"/>
                    <a:pt x="17" y="15"/>
                    <a:pt x="17" y="14"/>
                  </a:cubicBezTo>
                  <a:cubicBezTo>
                    <a:pt x="17" y="13"/>
                    <a:pt x="20" y="10"/>
                    <a:pt x="21" y="9"/>
                  </a:cubicBezTo>
                  <a:cubicBezTo>
                    <a:pt x="23" y="9"/>
                    <a:pt x="24" y="0"/>
                    <a:pt x="25" y="0"/>
                  </a:cubicBezTo>
                  <a:cubicBezTo>
                    <a:pt x="26" y="0"/>
                    <a:pt x="28" y="6"/>
                    <a:pt x="29" y="7"/>
                  </a:cubicBezTo>
                  <a:cubicBezTo>
                    <a:pt x="30" y="9"/>
                    <a:pt x="32" y="8"/>
                    <a:pt x="35" y="9"/>
                  </a:cubicBezTo>
                  <a:cubicBezTo>
                    <a:pt x="37" y="10"/>
                    <a:pt x="39" y="13"/>
                    <a:pt x="40" y="15"/>
                  </a:cubicBezTo>
                  <a:cubicBezTo>
                    <a:pt x="41" y="17"/>
                    <a:pt x="51" y="14"/>
                    <a:pt x="53" y="14"/>
                  </a:cubicBezTo>
                  <a:cubicBezTo>
                    <a:pt x="54" y="14"/>
                    <a:pt x="57" y="16"/>
                    <a:pt x="59" y="18"/>
                  </a:cubicBezTo>
                  <a:cubicBezTo>
                    <a:pt x="61" y="20"/>
                    <a:pt x="65" y="17"/>
                    <a:pt x="68" y="17"/>
                  </a:cubicBezTo>
                  <a:cubicBezTo>
                    <a:pt x="72" y="16"/>
                    <a:pt x="70" y="13"/>
                    <a:pt x="74" y="13"/>
                  </a:cubicBezTo>
                  <a:cubicBezTo>
                    <a:pt x="78" y="13"/>
                    <a:pt x="87" y="13"/>
                    <a:pt x="87" y="14"/>
                  </a:cubicBezTo>
                  <a:cubicBezTo>
                    <a:pt x="87" y="15"/>
                    <a:pt x="86" y="18"/>
                    <a:pt x="88" y="19"/>
                  </a:cubicBezTo>
                  <a:cubicBezTo>
                    <a:pt x="90" y="21"/>
                    <a:pt x="93" y="23"/>
                    <a:pt x="95" y="24"/>
                  </a:cubicBezTo>
                  <a:cubicBezTo>
                    <a:pt x="97" y="25"/>
                    <a:pt x="95" y="29"/>
                    <a:pt x="97" y="29"/>
                  </a:cubicBezTo>
                  <a:cubicBezTo>
                    <a:pt x="98" y="30"/>
                    <a:pt x="101" y="30"/>
                    <a:pt x="104" y="32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99" y="38"/>
                    <a:pt x="97" y="41"/>
                    <a:pt x="96" y="43"/>
                  </a:cubicBezTo>
                  <a:cubicBezTo>
                    <a:pt x="94" y="44"/>
                    <a:pt x="90" y="50"/>
                    <a:pt x="91" y="52"/>
                  </a:cubicBezTo>
                  <a:cubicBezTo>
                    <a:pt x="92" y="53"/>
                    <a:pt x="94" y="55"/>
                    <a:pt x="95" y="57"/>
                  </a:cubicBezTo>
                  <a:cubicBezTo>
                    <a:pt x="96" y="59"/>
                    <a:pt x="96" y="60"/>
                    <a:pt x="95" y="61"/>
                  </a:cubicBezTo>
                  <a:cubicBezTo>
                    <a:pt x="94" y="62"/>
                    <a:pt x="80" y="67"/>
                    <a:pt x="80" y="67"/>
                  </a:cubicBezTo>
                  <a:cubicBezTo>
                    <a:pt x="78" y="67"/>
                    <a:pt x="65" y="63"/>
                    <a:pt x="65" y="64"/>
                  </a:cubicBezTo>
                  <a:cubicBezTo>
                    <a:pt x="64" y="66"/>
                    <a:pt x="69" y="74"/>
                    <a:pt x="70" y="75"/>
                  </a:cubicBezTo>
                  <a:cubicBezTo>
                    <a:pt x="71" y="77"/>
                    <a:pt x="76" y="80"/>
                    <a:pt x="73" y="82"/>
                  </a:cubicBezTo>
                  <a:cubicBezTo>
                    <a:pt x="71" y="83"/>
                    <a:pt x="56" y="91"/>
                    <a:pt x="55" y="91"/>
                  </a:cubicBezTo>
                  <a:cubicBezTo>
                    <a:pt x="53" y="91"/>
                    <a:pt x="48" y="85"/>
                    <a:pt x="48" y="84"/>
                  </a:cubicBezTo>
                  <a:cubicBezTo>
                    <a:pt x="48" y="83"/>
                    <a:pt x="47" y="81"/>
                    <a:pt x="46" y="80"/>
                  </a:cubicBezTo>
                  <a:cubicBezTo>
                    <a:pt x="44" y="78"/>
                    <a:pt x="43" y="76"/>
                    <a:pt x="43" y="76"/>
                  </a:cubicBezTo>
                  <a:cubicBezTo>
                    <a:pt x="43" y="75"/>
                    <a:pt x="46" y="71"/>
                    <a:pt x="46" y="70"/>
                  </a:cubicBezTo>
                  <a:cubicBezTo>
                    <a:pt x="46" y="69"/>
                    <a:pt x="44" y="68"/>
                    <a:pt x="43" y="66"/>
                  </a:cubicBezTo>
                  <a:cubicBezTo>
                    <a:pt x="42" y="65"/>
                    <a:pt x="42" y="60"/>
                    <a:pt x="43" y="57"/>
                  </a:cubicBezTo>
                  <a:cubicBezTo>
                    <a:pt x="43" y="54"/>
                    <a:pt x="45" y="50"/>
                    <a:pt x="44" y="49"/>
                  </a:cubicBezTo>
                  <a:cubicBezTo>
                    <a:pt x="42" y="48"/>
                    <a:pt x="34" y="50"/>
                    <a:pt x="31" y="50"/>
                  </a:cubicBezTo>
                  <a:cubicBezTo>
                    <a:pt x="28" y="50"/>
                    <a:pt x="27" y="46"/>
                    <a:pt x="24" y="44"/>
                  </a:cubicBezTo>
                  <a:cubicBezTo>
                    <a:pt x="21" y="42"/>
                    <a:pt x="12" y="43"/>
                    <a:pt x="10" y="43"/>
                  </a:cubicBezTo>
                  <a:cubicBezTo>
                    <a:pt x="9" y="42"/>
                    <a:pt x="6" y="38"/>
                    <a:pt x="6" y="35"/>
                  </a:cubicBezTo>
                  <a:cubicBezTo>
                    <a:pt x="6" y="33"/>
                    <a:pt x="0" y="27"/>
                    <a:pt x="0" y="26"/>
                  </a:cubicBezTo>
                  <a:close/>
                </a:path>
              </a:pathLst>
            </a:custGeom>
            <a:solidFill>
              <a:srgbClr val="55A0B9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86" name="Energy hungry"/>
          <p:cNvGrpSpPr/>
          <p:nvPr/>
        </p:nvGrpSpPr>
        <p:grpSpPr>
          <a:xfrm>
            <a:off x="3277644" y="2403923"/>
            <a:ext cx="6555876" cy="3406747"/>
            <a:chOff x="3197434" y="2508196"/>
            <a:chExt cx="6555876" cy="3406747"/>
          </a:xfrm>
        </p:grpSpPr>
        <p:grpSp>
          <p:nvGrpSpPr>
            <p:cNvPr id="14" name="Group 29"/>
            <p:cNvGrpSpPr>
              <a:grpSpLocks/>
            </p:cNvGrpSpPr>
            <p:nvPr/>
          </p:nvGrpSpPr>
          <p:grpSpPr bwMode="auto">
            <a:xfrm>
              <a:off x="7830657" y="4527488"/>
              <a:ext cx="407427" cy="133018"/>
              <a:chOff x="4268" y="2449"/>
              <a:chExt cx="296" cy="103"/>
            </a:xfrm>
          </p:grpSpPr>
          <p:sp>
            <p:nvSpPr>
              <p:cNvPr id="265" name="Freeform 30"/>
              <p:cNvSpPr>
                <a:spLocks/>
              </p:cNvSpPr>
              <p:nvPr/>
            </p:nvSpPr>
            <p:spPr bwMode="auto">
              <a:xfrm>
                <a:off x="4412" y="2449"/>
                <a:ext cx="152" cy="103"/>
              </a:xfrm>
              <a:custGeom>
                <a:avLst/>
                <a:gdLst>
                  <a:gd name="T0" fmla="*/ 234820 w 75"/>
                  <a:gd name="T1" fmla="*/ 3609508 h 51"/>
                  <a:gd name="T2" fmla="*/ 0 w 75"/>
                  <a:gd name="T3" fmla="*/ 3075085 h 51"/>
                  <a:gd name="T4" fmla="*/ 883764 w 75"/>
                  <a:gd name="T5" fmla="*/ 3383695 h 51"/>
                  <a:gd name="T6" fmla="*/ 1128231 w 75"/>
                  <a:gd name="T7" fmla="*/ 2688078 h 51"/>
                  <a:gd name="T8" fmla="*/ 2035012 w 75"/>
                  <a:gd name="T9" fmla="*/ 2462156 h 51"/>
                  <a:gd name="T10" fmla="*/ 2520296 w 75"/>
                  <a:gd name="T11" fmla="*/ 2081604 h 51"/>
                  <a:gd name="T12" fmla="*/ 2842976 w 75"/>
                  <a:gd name="T13" fmla="*/ 1522615 h 51"/>
                  <a:gd name="T14" fmla="*/ 3802991 w 75"/>
                  <a:gd name="T15" fmla="*/ 1069514 h 51"/>
                  <a:gd name="T16" fmla="*/ 4437508 w 75"/>
                  <a:gd name="T17" fmla="*/ 147995 h 51"/>
                  <a:gd name="T18" fmla="*/ 4788130 w 75"/>
                  <a:gd name="T19" fmla="*/ 0 h 51"/>
                  <a:gd name="T20" fmla="*/ 4873477 w 75"/>
                  <a:gd name="T21" fmla="*/ 147995 h 51"/>
                  <a:gd name="T22" fmla="*/ 4956505 w 75"/>
                  <a:gd name="T23" fmla="*/ 677568 h 51"/>
                  <a:gd name="T24" fmla="*/ 5603219 w 75"/>
                  <a:gd name="T25" fmla="*/ 903393 h 51"/>
                  <a:gd name="T26" fmla="*/ 6074516 w 75"/>
                  <a:gd name="T27" fmla="*/ 1142533 h 51"/>
                  <a:gd name="T28" fmla="*/ 5761765 w 75"/>
                  <a:gd name="T29" fmla="*/ 1675422 h 51"/>
                  <a:gd name="T30" fmla="*/ 5185754 w 75"/>
                  <a:gd name="T31" fmla="*/ 1824500 h 51"/>
                  <a:gd name="T32" fmla="*/ 5185754 w 75"/>
                  <a:gd name="T33" fmla="*/ 1896703 h 51"/>
                  <a:gd name="T34" fmla="*/ 4788130 w 75"/>
                  <a:gd name="T35" fmla="*/ 1675422 h 51"/>
                  <a:gd name="T36" fmla="*/ 3886150 w 75"/>
                  <a:gd name="T37" fmla="*/ 1748425 h 51"/>
                  <a:gd name="T38" fmla="*/ 3553744 w 75"/>
                  <a:gd name="T39" fmla="*/ 2688078 h 51"/>
                  <a:gd name="T40" fmla="*/ 2919326 w 75"/>
                  <a:gd name="T41" fmla="*/ 3458930 h 51"/>
                  <a:gd name="T42" fmla="*/ 2035012 w 75"/>
                  <a:gd name="T43" fmla="*/ 3383695 h 51"/>
                  <a:gd name="T44" fmla="*/ 1714880 w 75"/>
                  <a:gd name="T45" fmla="*/ 3757058 h 51"/>
                  <a:gd name="T46" fmla="*/ 710752 w 75"/>
                  <a:gd name="T47" fmla="*/ 3906273 h 51"/>
                  <a:gd name="T48" fmla="*/ 234820 w 75"/>
                  <a:gd name="T49" fmla="*/ 3609508 h 5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5" h="51">
                    <a:moveTo>
                      <a:pt x="3" y="47"/>
                    </a:moveTo>
                    <a:cubicBezTo>
                      <a:pt x="0" y="40"/>
                      <a:pt x="0" y="40"/>
                      <a:pt x="0" y="40"/>
                    </a:cubicBezTo>
                    <a:cubicBezTo>
                      <a:pt x="3" y="38"/>
                      <a:pt x="10" y="44"/>
                      <a:pt x="11" y="44"/>
                    </a:cubicBezTo>
                    <a:cubicBezTo>
                      <a:pt x="12" y="44"/>
                      <a:pt x="13" y="36"/>
                      <a:pt x="14" y="35"/>
                    </a:cubicBezTo>
                    <a:cubicBezTo>
                      <a:pt x="15" y="33"/>
                      <a:pt x="23" y="32"/>
                      <a:pt x="25" y="32"/>
                    </a:cubicBezTo>
                    <a:cubicBezTo>
                      <a:pt x="27" y="32"/>
                      <a:pt x="29" y="29"/>
                      <a:pt x="31" y="27"/>
                    </a:cubicBezTo>
                    <a:cubicBezTo>
                      <a:pt x="33" y="25"/>
                      <a:pt x="33" y="20"/>
                      <a:pt x="35" y="20"/>
                    </a:cubicBezTo>
                    <a:cubicBezTo>
                      <a:pt x="39" y="20"/>
                      <a:pt x="45" y="15"/>
                      <a:pt x="47" y="14"/>
                    </a:cubicBezTo>
                    <a:cubicBezTo>
                      <a:pt x="49" y="13"/>
                      <a:pt x="54" y="3"/>
                      <a:pt x="55" y="2"/>
                    </a:cubicBezTo>
                    <a:cubicBezTo>
                      <a:pt x="56" y="1"/>
                      <a:pt x="57" y="0"/>
                      <a:pt x="59" y="0"/>
                    </a:cubicBezTo>
                    <a:cubicBezTo>
                      <a:pt x="61" y="0"/>
                      <a:pt x="60" y="2"/>
                      <a:pt x="60" y="2"/>
                    </a:cubicBezTo>
                    <a:cubicBezTo>
                      <a:pt x="60" y="2"/>
                      <a:pt x="61" y="8"/>
                      <a:pt x="61" y="9"/>
                    </a:cubicBezTo>
                    <a:cubicBezTo>
                      <a:pt x="61" y="11"/>
                      <a:pt x="67" y="11"/>
                      <a:pt x="69" y="12"/>
                    </a:cubicBezTo>
                    <a:cubicBezTo>
                      <a:pt x="70" y="13"/>
                      <a:pt x="74" y="13"/>
                      <a:pt x="75" y="15"/>
                    </a:cubicBezTo>
                    <a:cubicBezTo>
                      <a:pt x="75" y="17"/>
                      <a:pt x="73" y="21"/>
                      <a:pt x="71" y="22"/>
                    </a:cubicBezTo>
                    <a:cubicBezTo>
                      <a:pt x="71" y="22"/>
                      <a:pt x="64" y="24"/>
                      <a:pt x="64" y="24"/>
                    </a:cubicBezTo>
                    <a:cubicBezTo>
                      <a:pt x="64" y="24"/>
                      <a:pt x="64" y="25"/>
                      <a:pt x="64" y="25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6" y="22"/>
                      <a:pt x="50" y="22"/>
                      <a:pt x="48" y="23"/>
                    </a:cubicBezTo>
                    <a:cubicBezTo>
                      <a:pt x="46" y="24"/>
                      <a:pt x="44" y="32"/>
                      <a:pt x="44" y="35"/>
                    </a:cubicBezTo>
                    <a:cubicBezTo>
                      <a:pt x="44" y="37"/>
                      <a:pt x="38" y="45"/>
                      <a:pt x="36" y="45"/>
                    </a:cubicBezTo>
                    <a:cubicBezTo>
                      <a:pt x="33" y="46"/>
                      <a:pt x="28" y="44"/>
                      <a:pt x="25" y="44"/>
                    </a:cubicBezTo>
                    <a:cubicBezTo>
                      <a:pt x="22" y="43"/>
                      <a:pt x="22" y="47"/>
                      <a:pt x="21" y="49"/>
                    </a:cubicBezTo>
                    <a:cubicBezTo>
                      <a:pt x="21" y="50"/>
                      <a:pt x="11" y="51"/>
                      <a:pt x="9" y="51"/>
                    </a:cubicBezTo>
                    <a:cubicBezTo>
                      <a:pt x="6" y="51"/>
                      <a:pt x="4" y="49"/>
                      <a:pt x="3" y="47"/>
                    </a:cubicBezTo>
                    <a:close/>
                  </a:path>
                </a:pathLst>
              </a:custGeom>
              <a:solidFill>
                <a:srgbClr val="EB780A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6" name="Freeform 31"/>
              <p:cNvSpPr>
                <a:spLocks/>
              </p:cNvSpPr>
              <p:nvPr/>
            </p:nvSpPr>
            <p:spPr bwMode="auto">
              <a:xfrm>
                <a:off x="4268" y="2463"/>
                <a:ext cx="67" cy="81"/>
              </a:xfrm>
              <a:custGeom>
                <a:avLst/>
                <a:gdLst>
                  <a:gd name="T0" fmla="*/ 485328 w 33"/>
                  <a:gd name="T1" fmla="*/ 1617647 h 40"/>
                  <a:gd name="T2" fmla="*/ 0 w 33"/>
                  <a:gd name="T3" fmla="*/ 0 h 40"/>
                  <a:gd name="T4" fmla="*/ 485328 w 33"/>
                  <a:gd name="T5" fmla="*/ 0 h 40"/>
                  <a:gd name="T6" fmla="*/ 746319 w 33"/>
                  <a:gd name="T7" fmla="*/ 394488 h 40"/>
                  <a:gd name="T8" fmla="*/ 1313720 w 33"/>
                  <a:gd name="T9" fmla="*/ 0 h 40"/>
                  <a:gd name="T10" fmla="*/ 1761501 w 33"/>
                  <a:gd name="T11" fmla="*/ 309791 h 40"/>
                  <a:gd name="T12" fmla="*/ 2181918 w 33"/>
                  <a:gd name="T13" fmla="*/ 951132 h 40"/>
                  <a:gd name="T14" fmla="*/ 2181918 w 33"/>
                  <a:gd name="T15" fmla="*/ 1926042 h 40"/>
                  <a:gd name="T16" fmla="*/ 2667250 w 33"/>
                  <a:gd name="T17" fmla="*/ 2732796 h 40"/>
                  <a:gd name="T18" fmla="*/ 2667250 w 33"/>
                  <a:gd name="T19" fmla="*/ 3117607 h 40"/>
                  <a:gd name="T20" fmla="*/ 2099256 w 33"/>
                  <a:gd name="T21" fmla="*/ 3042668 h 40"/>
                  <a:gd name="T22" fmla="*/ 746319 w 33"/>
                  <a:gd name="T23" fmla="*/ 2167315 h 40"/>
                  <a:gd name="T24" fmla="*/ 485328 w 33"/>
                  <a:gd name="T25" fmla="*/ 1617647 h 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" h="40">
                    <a:moveTo>
                      <a:pt x="6" y="20"/>
                    </a:moveTo>
                    <a:cubicBezTo>
                      <a:pt x="4" y="17"/>
                      <a:pt x="2" y="3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5"/>
                      <a:pt x="9" y="5"/>
                    </a:cubicBezTo>
                    <a:cubicBezTo>
                      <a:pt x="10" y="5"/>
                      <a:pt x="16" y="0"/>
                      <a:pt x="16" y="0"/>
                    </a:cubicBezTo>
                    <a:cubicBezTo>
                      <a:pt x="18" y="1"/>
                      <a:pt x="20" y="3"/>
                      <a:pt x="21" y="4"/>
                    </a:cubicBezTo>
                    <a:cubicBezTo>
                      <a:pt x="23" y="6"/>
                      <a:pt x="26" y="9"/>
                      <a:pt x="26" y="12"/>
                    </a:cubicBezTo>
                    <a:cubicBezTo>
                      <a:pt x="26" y="15"/>
                      <a:pt x="25" y="21"/>
                      <a:pt x="26" y="24"/>
                    </a:cubicBezTo>
                    <a:cubicBezTo>
                      <a:pt x="26" y="28"/>
                      <a:pt x="31" y="33"/>
                      <a:pt x="32" y="34"/>
                    </a:cubicBezTo>
                    <a:cubicBezTo>
                      <a:pt x="32" y="36"/>
                      <a:pt x="33" y="38"/>
                      <a:pt x="32" y="39"/>
                    </a:cubicBezTo>
                    <a:cubicBezTo>
                      <a:pt x="30" y="40"/>
                      <a:pt x="27" y="38"/>
                      <a:pt x="25" y="38"/>
                    </a:cubicBezTo>
                    <a:cubicBezTo>
                      <a:pt x="23" y="37"/>
                      <a:pt x="12" y="29"/>
                      <a:pt x="9" y="27"/>
                    </a:cubicBezTo>
                    <a:cubicBezTo>
                      <a:pt x="7" y="24"/>
                      <a:pt x="9" y="23"/>
                      <a:pt x="6" y="20"/>
                    </a:cubicBezTo>
                    <a:close/>
                  </a:path>
                </a:pathLst>
              </a:custGeom>
              <a:solidFill>
                <a:srgbClr val="EB780A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6" name="Freeform 33"/>
            <p:cNvSpPr>
              <a:spLocks/>
            </p:cNvSpPr>
            <p:nvPr/>
          </p:nvSpPr>
          <p:spPr bwMode="auto">
            <a:xfrm>
              <a:off x="7773415" y="4259604"/>
              <a:ext cx="168358" cy="299291"/>
            </a:xfrm>
            <a:custGeom>
              <a:avLst/>
              <a:gdLst>
                <a:gd name="T0" fmla="*/ 16167 w 61"/>
                <a:gd name="T1" fmla="*/ 26065 h 114"/>
                <a:gd name="T2" fmla="*/ 16167 w 61"/>
                <a:gd name="T3" fmla="*/ 21715 h 114"/>
                <a:gd name="T4" fmla="*/ 16167 w 61"/>
                <a:gd name="T5" fmla="*/ 20891 h 114"/>
                <a:gd name="T6" fmla="*/ 34784 w 61"/>
                <a:gd name="T7" fmla="*/ 17895 h 114"/>
                <a:gd name="T8" fmla="*/ 34784 w 61"/>
                <a:gd name="T9" fmla="*/ 15612 h 114"/>
                <a:gd name="T10" fmla="*/ 26503 w 61"/>
                <a:gd name="T11" fmla="*/ 13030 h 114"/>
                <a:gd name="T12" fmla="*/ 25228 w 61"/>
                <a:gd name="T13" fmla="*/ 11069 h 114"/>
                <a:gd name="T14" fmla="*/ 26503 w 61"/>
                <a:gd name="T15" fmla="*/ 7789 h 114"/>
                <a:gd name="T16" fmla="*/ 2938 w 61"/>
                <a:gd name="T17" fmla="*/ 4540 h 114"/>
                <a:gd name="T18" fmla="*/ 11203 w 61"/>
                <a:gd name="T19" fmla="*/ 1779 h 114"/>
                <a:gd name="T20" fmla="*/ 26503 w 61"/>
                <a:gd name="T21" fmla="*/ 1344 h 114"/>
                <a:gd name="T22" fmla="*/ 43448 w 61"/>
                <a:gd name="T23" fmla="*/ 1 h 114"/>
                <a:gd name="T24" fmla="*/ 57023 w 61"/>
                <a:gd name="T25" fmla="*/ 0 h 114"/>
                <a:gd name="T26" fmla="*/ 62967 w 61"/>
                <a:gd name="T27" fmla="*/ 1 h 114"/>
                <a:gd name="T28" fmla="*/ 60026 w 61"/>
                <a:gd name="T29" fmla="*/ 1910 h 114"/>
                <a:gd name="T30" fmla="*/ 71226 w 61"/>
                <a:gd name="T31" fmla="*/ 1910 h 114"/>
                <a:gd name="T32" fmla="*/ 80218 w 61"/>
                <a:gd name="T33" fmla="*/ 3195 h 114"/>
                <a:gd name="T34" fmla="*/ 72615 w 61"/>
                <a:gd name="T35" fmla="*/ 6589 h 114"/>
                <a:gd name="T36" fmla="*/ 90134 w 61"/>
                <a:gd name="T37" fmla="*/ 5481 h 114"/>
                <a:gd name="T38" fmla="*/ 111144 w 61"/>
                <a:gd name="T39" fmla="*/ 5481 h 114"/>
                <a:gd name="T40" fmla="*/ 124767 w 61"/>
                <a:gd name="T41" fmla="*/ 4540 h 114"/>
                <a:gd name="T42" fmla="*/ 149802 w 61"/>
                <a:gd name="T43" fmla="*/ 6452 h 114"/>
                <a:gd name="T44" fmla="*/ 153246 w 61"/>
                <a:gd name="T45" fmla="*/ 8724 h 114"/>
                <a:gd name="T46" fmla="*/ 166128 w 61"/>
                <a:gd name="T47" fmla="*/ 10504 h 114"/>
                <a:gd name="T48" fmla="*/ 161316 w 61"/>
                <a:gd name="T49" fmla="*/ 13305 h 114"/>
                <a:gd name="T50" fmla="*/ 124767 w 61"/>
                <a:gd name="T51" fmla="*/ 13305 h 114"/>
                <a:gd name="T52" fmla="*/ 103225 w 61"/>
                <a:gd name="T53" fmla="*/ 15281 h 114"/>
                <a:gd name="T54" fmla="*/ 114230 w 61"/>
                <a:gd name="T55" fmla="*/ 17617 h 114"/>
                <a:gd name="T56" fmla="*/ 106098 w 61"/>
                <a:gd name="T57" fmla="*/ 18516 h 114"/>
                <a:gd name="T58" fmla="*/ 90134 w 61"/>
                <a:gd name="T59" fmla="*/ 17563 h 114"/>
                <a:gd name="T60" fmla="*/ 72615 w 61"/>
                <a:gd name="T61" fmla="*/ 16561 h 114"/>
                <a:gd name="T62" fmla="*/ 72615 w 61"/>
                <a:gd name="T63" fmla="*/ 14927 h 114"/>
                <a:gd name="T64" fmla="*/ 54982 w 61"/>
                <a:gd name="T65" fmla="*/ 14927 h 114"/>
                <a:gd name="T66" fmla="*/ 49357 w 61"/>
                <a:gd name="T67" fmla="*/ 18342 h 114"/>
                <a:gd name="T68" fmla="*/ 38410 w 61"/>
                <a:gd name="T69" fmla="*/ 22185 h 114"/>
                <a:gd name="T70" fmla="*/ 41357 w 61"/>
                <a:gd name="T71" fmla="*/ 23699 h 114"/>
                <a:gd name="T72" fmla="*/ 54982 w 61"/>
                <a:gd name="T73" fmla="*/ 23699 h 114"/>
                <a:gd name="T74" fmla="*/ 60026 w 61"/>
                <a:gd name="T75" fmla="*/ 25741 h 114"/>
                <a:gd name="T76" fmla="*/ 71226 w 61"/>
                <a:gd name="T77" fmla="*/ 28326 h 114"/>
                <a:gd name="T78" fmla="*/ 90134 w 61"/>
                <a:gd name="T79" fmla="*/ 28685 h 114"/>
                <a:gd name="T80" fmla="*/ 101338 w 61"/>
                <a:gd name="T81" fmla="*/ 30143 h 114"/>
                <a:gd name="T82" fmla="*/ 80913 w 61"/>
                <a:gd name="T83" fmla="*/ 31526 h 114"/>
                <a:gd name="T84" fmla="*/ 72615 w 61"/>
                <a:gd name="T85" fmla="*/ 30143 h 114"/>
                <a:gd name="T86" fmla="*/ 57023 w 61"/>
                <a:gd name="T87" fmla="*/ 30143 h 114"/>
                <a:gd name="T88" fmla="*/ 25228 w 61"/>
                <a:gd name="T89" fmla="*/ 26312 h 114"/>
                <a:gd name="T90" fmla="*/ 16167 w 61"/>
                <a:gd name="T91" fmla="*/ 26065 h 11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61" h="114">
                  <a:moveTo>
                    <a:pt x="6" y="94"/>
                  </a:moveTo>
                  <a:cubicBezTo>
                    <a:pt x="6" y="90"/>
                    <a:pt x="6" y="83"/>
                    <a:pt x="6" y="78"/>
                  </a:cubicBezTo>
                  <a:cubicBezTo>
                    <a:pt x="6" y="77"/>
                    <a:pt x="6" y="76"/>
                    <a:pt x="6" y="7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4"/>
                    <a:pt x="13" y="57"/>
                    <a:pt x="13" y="56"/>
                  </a:cubicBezTo>
                  <a:cubicBezTo>
                    <a:pt x="13" y="55"/>
                    <a:pt x="12" y="49"/>
                    <a:pt x="10" y="47"/>
                  </a:cubicBezTo>
                  <a:cubicBezTo>
                    <a:pt x="9" y="45"/>
                    <a:pt x="9" y="41"/>
                    <a:pt x="9" y="40"/>
                  </a:cubicBezTo>
                  <a:cubicBezTo>
                    <a:pt x="10" y="38"/>
                    <a:pt x="10" y="31"/>
                    <a:pt x="10" y="28"/>
                  </a:cubicBezTo>
                  <a:cubicBezTo>
                    <a:pt x="10" y="25"/>
                    <a:pt x="0" y="17"/>
                    <a:pt x="1" y="16"/>
                  </a:cubicBezTo>
                  <a:cubicBezTo>
                    <a:pt x="2" y="14"/>
                    <a:pt x="3" y="8"/>
                    <a:pt x="4" y="6"/>
                  </a:cubicBezTo>
                  <a:cubicBezTo>
                    <a:pt x="5" y="5"/>
                    <a:pt x="9" y="5"/>
                    <a:pt x="10" y="5"/>
                  </a:cubicBezTo>
                  <a:cubicBezTo>
                    <a:pt x="11" y="5"/>
                    <a:pt x="14" y="3"/>
                    <a:pt x="16" y="1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1" y="0"/>
                    <a:pt x="22" y="1"/>
                    <a:pt x="23" y="1"/>
                  </a:cubicBezTo>
                  <a:cubicBezTo>
                    <a:pt x="24" y="1"/>
                    <a:pt x="22" y="5"/>
                    <a:pt x="22" y="7"/>
                  </a:cubicBezTo>
                  <a:cubicBezTo>
                    <a:pt x="21" y="9"/>
                    <a:pt x="23" y="8"/>
                    <a:pt x="26" y="7"/>
                  </a:cubicBezTo>
                  <a:cubicBezTo>
                    <a:pt x="29" y="6"/>
                    <a:pt x="29" y="8"/>
                    <a:pt x="29" y="11"/>
                  </a:cubicBezTo>
                  <a:cubicBezTo>
                    <a:pt x="30" y="13"/>
                    <a:pt x="26" y="22"/>
                    <a:pt x="27" y="24"/>
                  </a:cubicBezTo>
                  <a:cubicBezTo>
                    <a:pt x="27" y="26"/>
                    <a:pt x="32" y="21"/>
                    <a:pt x="33" y="20"/>
                  </a:cubicBezTo>
                  <a:cubicBezTo>
                    <a:pt x="35" y="19"/>
                    <a:pt x="38" y="20"/>
                    <a:pt x="41" y="20"/>
                  </a:cubicBezTo>
                  <a:cubicBezTo>
                    <a:pt x="43" y="20"/>
                    <a:pt x="44" y="16"/>
                    <a:pt x="46" y="16"/>
                  </a:cubicBezTo>
                  <a:cubicBezTo>
                    <a:pt x="48" y="16"/>
                    <a:pt x="53" y="21"/>
                    <a:pt x="55" y="23"/>
                  </a:cubicBezTo>
                  <a:cubicBezTo>
                    <a:pt x="56" y="24"/>
                    <a:pt x="55" y="29"/>
                    <a:pt x="56" y="32"/>
                  </a:cubicBezTo>
                  <a:cubicBezTo>
                    <a:pt x="58" y="35"/>
                    <a:pt x="61" y="35"/>
                    <a:pt x="61" y="38"/>
                  </a:cubicBezTo>
                  <a:cubicBezTo>
                    <a:pt x="61" y="42"/>
                    <a:pt x="61" y="47"/>
                    <a:pt x="59" y="48"/>
                  </a:cubicBezTo>
                  <a:cubicBezTo>
                    <a:pt x="56" y="49"/>
                    <a:pt x="48" y="48"/>
                    <a:pt x="46" y="48"/>
                  </a:cubicBezTo>
                  <a:cubicBezTo>
                    <a:pt x="44" y="49"/>
                    <a:pt x="39" y="53"/>
                    <a:pt x="38" y="55"/>
                  </a:cubicBezTo>
                  <a:cubicBezTo>
                    <a:pt x="37" y="56"/>
                    <a:pt x="42" y="64"/>
                    <a:pt x="42" y="64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7" y="65"/>
                    <a:pt x="35" y="64"/>
                    <a:pt x="33" y="63"/>
                  </a:cubicBezTo>
                  <a:cubicBezTo>
                    <a:pt x="31" y="62"/>
                    <a:pt x="26" y="61"/>
                    <a:pt x="27" y="60"/>
                  </a:cubicBezTo>
                  <a:cubicBezTo>
                    <a:pt x="27" y="58"/>
                    <a:pt x="28" y="56"/>
                    <a:pt x="27" y="54"/>
                  </a:cubicBezTo>
                  <a:cubicBezTo>
                    <a:pt x="27" y="53"/>
                    <a:pt x="20" y="53"/>
                    <a:pt x="20" y="54"/>
                  </a:cubicBezTo>
                  <a:cubicBezTo>
                    <a:pt x="19" y="55"/>
                    <a:pt x="19" y="65"/>
                    <a:pt x="18" y="66"/>
                  </a:cubicBezTo>
                  <a:cubicBezTo>
                    <a:pt x="17" y="68"/>
                    <a:pt x="14" y="77"/>
                    <a:pt x="14" y="80"/>
                  </a:cubicBezTo>
                  <a:cubicBezTo>
                    <a:pt x="14" y="83"/>
                    <a:pt x="15" y="86"/>
                    <a:pt x="15" y="86"/>
                  </a:cubicBezTo>
                  <a:cubicBezTo>
                    <a:pt x="15" y="86"/>
                    <a:pt x="20" y="84"/>
                    <a:pt x="20" y="86"/>
                  </a:cubicBezTo>
                  <a:cubicBezTo>
                    <a:pt x="20" y="87"/>
                    <a:pt x="21" y="90"/>
                    <a:pt x="22" y="93"/>
                  </a:cubicBezTo>
                  <a:cubicBezTo>
                    <a:pt x="23" y="96"/>
                    <a:pt x="23" y="102"/>
                    <a:pt x="26" y="103"/>
                  </a:cubicBezTo>
                  <a:cubicBezTo>
                    <a:pt x="28" y="105"/>
                    <a:pt x="31" y="103"/>
                    <a:pt x="33" y="104"/>
                  </a:cubicBezTo>
                  <a:cubicBezTo>
                    <a:pt x="33" y="105"/>
                    <a:pt x="35" y="107"/>
                    <a:pt x="37" y="109"/>
                  </a:cubicBezTo>
                  <a:cubicBezTo>
                    <a:pt x="37" y="109"/>
                    <a:pt x="31" y="114"/>
                    <a:pt x="30" y="114"/>
                  </a:cubicBezTo>
                  <a:cubicBezTo>
                    <a:pt x="28" y="114"/>
                    <a:pt x="27" y="109"/>
                    <a:pt x="27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8" y="106"/>
                    <a:pt x="10" y="95"/>
                    <a:pt x="9" y="95"/>
                  </a:cubicBezTo>
                  <a:cubicBezTo>
                    <a:pt x="8" y="95"/>
                    <a:pt x="6" y="97"/>
                    <a:pt x="6" y="94"/>
                  </a:cubicBezTo>
                  <a:close/>
                </a:path>
              </a:pathLst>
            </a:custGeom>
            <a:solidFill>
              <a:srgbClr val="EB780A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5" name="Group 52"/>
            <p:cNvGrpSpPr>
              <a:grpSpLocks/>
            </p:cNvGrpSpPr>
            <p:nvPr/>
          </p:nvGrpSpPr>
          <p:grpSpPr bwMode="auto">
            <a:xfrm>
              <a:off x="7261606" y="3478121"/>
              <a:ext cx="1306461" cy="835059"/>
              <a:chOff x="3855" y="1639"/>
              <a:chExt cx="948" cy="644"/>
            </a:xfrm>
          </p:grpSpPr>
          <p:sp>
            <p:nvSpPr>
              <p:cNvPr id="253" name="Freeform 53"/>
              <p:cNvSpPr>
                <a:spLocks/>
              </p:cNvSpPr>
              <p:nvPr/>
            </p:nvSpPr>
            <p:spPr bwMode="auto">
              <a:xfrm>
                <a:off x="4398" y="2251"/>
                <a:ext cx="42" cy="32"/>
              </a:xfrm>
              <a:custGeom>
                <a:avLst/>
                <a:gdLst>
                  <a:gd name="T0" fmla="*/ 720896 w 21"/>
                  <a:gd name="T1" fmla="*/ 851968 h 16"/>
                  <a:gd name="T2" fmla="*/ 196608 w 21"/>
                  <a:gd name="T3" fmla="*/ 655360 h 16"/>
                  <a:gd name="T4" fmla="*/ 458752 w 21"/>
                  <a:gd name="T5" fmla="*/ 65536 h 16"/>
                  <a:gd name="T6" fmla="*/ 1310720 w 21"/>
                  <a:gd name="T7" fmla="*/ 65536 h 16"/>
                  <a:gd name="T8" fmla="*/ 720896 w 21"/>
                  <a:gd name="T9" fmla="*/ 851968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1" h="16">
                    <a:moveTo>
                      <a:pt x="11" y="13"/>
                    </a:moveTo>
                    <a:cubicBezTo>
                      <a:pt x="9" y="16"/>
                      <a:pt x="6" y="12"/>
                      <a:pt x="3" y="10"/>
                    </a:cubicBezTo>
                    <a:cubicBezTo>
                      <a:pt x="0" y="7"/>
                      <a:pt x="5" y="3"/>
                      <a:pt x="7" y="1"/>
                    </a:cubicBezTo>
                    <a:cubicBezTo>
                      <a:pt x="7" y="1"/>
                      <a:pt x="19" y="0"/>
                      <a:pt x="20" y="1"/>
                    </a:cubicBezTo>
                    <a:cubicBezTo>
                      <a:pt x="21" y="3"/>
                      <a:pt x="12" y="10"/>
                      <a:pt x="11" y="13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4" name="Freeform 54"/>
              <p:cNvSpPr>
                <a:spLocks/>
              </p:cNvSpPr>
              <p:nvPr/>
            </p:nvSpPr>
            <p:spPr bwMode="auto">
              <a:xfrm>
                <a:off x="3855" y="1639"/>
                <a:ext cx="948" cy="604"/>
              </a:xfrm>
              <a:custGeom>
                <a:avLst/>
                <a:gdLst>
                  <a:gd name="T0" fmla="*/ 1433289 w 468"/>
                  <a:gd name="T1" fmla="*/ 10521994 h 298"/>
                  <a:gd name="T2" fmla="*/ 2977773 w 468"/>
                  <a:gd name="T3" fmla="*/ 9887139 h 298"/>
                  <a:gd name="T4" fmla="*/ 4327602 w 468"/>
                  <a:gd name="T5" fmla="*/ 8290938 h 298"/>
                  <a:gd name="T6" fmla="*/ 5956191 w 468"/>
                  <a:gd name="T7" fmla="*/ 5293049 h 298"/>
                  <a:gd name="T8" fmla="*/ 7966597 w 468"/>
                  <a:gd name="T9" fmla="*/ 4212444 h 298"/>
                  <a:gd name="T10" fmla="*/ 9245745 w 468"/>
                  <a:gd name="T11" fmla="*/ 4561043 h 298"/>
                  <a:gd name="T12" fmla="*/ 10670153 w 468"/>
                  <a:gd name="T13" fmla="*/ 6735117 h 298"/>
                  <a:gd name="T14" fmla="*/ 13959853 w 468"/>
                  <a:gd name="T15" fmla="*/ 8690849 h 298"/>
                  <a:gd name="T16" fmla="*/ 20814051 w 468"/>
                  <a:gd name="T17" fmla="*/ 9002843 h 298"/>
                  <a:gd name="T18" fmla="*/ 23205598 w 468"/>
                  <a:gd name="T19" fmla="*/ 7363109 h 298"/>
                  <a:gd name="T20" fmla="*/ 26100314 w 468"/>
                  <a:gd name="T21" fmla="*/ 6478808 h 298"/>
                  <a:gd name="T22" fmla="*/ 28353371 w 468"/>
                  <a:gd name="T23" fmla="*/ 5921584 h 298"/>
                  <a:gd name="T24" fmla="*/ 27494994 w 468"/>
                  <a:gd name="T25" fmla="*/ 4639030 h 298"/>
                  <a:gd name="T26" fmla="*/ 25714295 w 468"/>
                  <a:gd name="T27" fmla="*/ 4561043 h 298"/>
                  <a:gd name="T28" fmla="*/ 28124294 w 468"/>
                  <a:gd name="T29" fmla="*/ 2845330 h 298"/>
                  <a:gd name="T30" fmla="*/ 28430443 w 468"/>
                  <a:gd name="T31" fmla="*/ 884299 h 298"/>
                  <a:gd name="T32" fmla="*/ 32134506 w 468"/>
                  <a:gd name="T33" fmla="*/ 711174 h 298"/>
                  <a:gd name="T34" fmla="*/ 34882049 w 468"/>
                  <a:gd name="T35" fmla="*/ 3889227 h 298"/>
                  <a:gd name="T36" fmla="*/ 37439571 w 468"/>
                  <a:gd name="T37" fmla="*/ 4363081 h 298"/>
                  <a:gd name="T38" fmla="*/ 36658034 w 468"/>
                  <a:gd name="T39" fmla="*/ 6965561 h 298"/>
                  <a:gd name="T40" fmla="*/ 35112285 w 468"/>
                  <a:gd name="T41" fmla="*/ 8445618 h 298"/>
                  <a:gd name="T42" fmla="*/ 34158453 w 468"/>
                  <a:gd name="T43" fmla="*/ 9080564 h 298"/>
                  <a:gd name="T44" fmla="*/ 32530284 w 468"/>
                  <a:gd name="T45" fmla="*/ 9554516 h 298"/>
                  <a:gd name="T46" fmla="*/ 31179449 w 468"/>
                  <a:gd name="T47" fmla="*/ 10882866 h 298"/>
                  <a:gd name="T48" fmla="*/ 29389600 w 468"/>
                  <a:gd name="T49" fmla="*/ 11290945 h 298"/>
                  <a:gd name="T50" fmla="*/ 29003375 w 468"/>
                  <a:gd name="T51" fmla="*/ 10209734 h 298"/>
                  <a:gd name="T52" fmla="*/ 26922927 w 468"/>
                  <a:gd name="T53" fmla="*/ 11767164 h 298"/>
                  <a:gd name="T54" fmla="*/ 27966413 w 468"/>
                  <a:gd name="T55" fmla="*/ 12732405 h 298"/>
                  <a:gd name="T56" fmla="*/ 30134076 w 468"/>
                  <a:gd name="T57" fmla="*/ 12559280 h 298"/>
                  <a:gd name="T58" fmla="*/ 28124294 w 468"/>
                  <a:gd name="T59" fmla="*/ 14459557 h 298"/>
                  <a:gd name="T60" fmla="*/ 29631403 w 468"/>
                  <a:gd name="T61" fmla="*/ 16524587 h 298"/>
                  <a:gd name="T62" fmla="*/ 29900287 w 468"/>
                  <a:gd name="T63" fmla="*/ 17848291 h 298"/>
                  <a:gd name="T64" fmla="*/ 28353371 w 468"/>
                  <a:gd name="T65" fmla="*/ 20134253 h 298"/>
                  <a:gd name="T66" fmla="*/ 26495838 w 468"/>
                  <a:gd name="T67" fmla="*/ 22211484 h 298"/>
                  <a:gd name="T68" fmla="*/ 24439572 w 468"/>
                  <a:gd name="T69" fmla="*/ 22961356 h 298"/>
                  <a:gd name="T70" fmla="*/ 22661359 w 468"/>
                  <a:gd name="T71" fmla="*/ 23850225 h 298"/>
                  <a:gd name="T72" fmla="*/ 22168101 w 468"/>
                  <a:gd name="T73" fmla="*/ 23461711 h 298"/>
                  <a:gd name="T74" fmla="*/ 20311690 w 468"/>
                  <a:gd name="T75" fmla="*/ 23039750 h 298"/>
                  <a:gd name="T76" fmla="*/ 19442943 w 468"/>
                  <a:gd name="T77" fmla="*/ 22286970 h 298"/>
                  <a:gd name="T78" fmla="*/ 17371292 w 468"/>
                  <a:gd name="T79" fmla="*/ 22885003 h 298"/>
                  <a:gd name="T80" fmla="*/ 16863034 w 468"/>
                  <a:gd name="T81" fmla="*/ 23536925 h 298"/>
                  <a:gd name="T82" fmla="*/ 15825671 w 468"/>
                  <a:gd name="T83" fmla="*/ 22961356 h 298"/>
                  <a:gd name="T84" fmla="*/ 15276512 w 468"/>
                  <a:gd name="T85" fmla="*/ 21744391 h 298"/>
                  <a:gd name="T86" fmla="*/ 15429893 w 468"/>
                  <a:gd name="T87" fmla="*/ 20540096 h 298"/>
                  <a:gd name="T88" fmla="*/ 14876316 w 468"/>
                  <a:gd name="T89" fmla="*/ 18822643 h 298"/>
                  <a:gd name="T90" fmla="*/ 13884145 w 468"/>
                  <a:gd name="T91" fmla="*/ 18247373 h 298"/>
                  <a:gd name="T92" fmla="*/ 12140817 w 468"/>
                  <a:gd name="T93" fmla="*/ 18901359 h 298"/>
                  <a:gd name="T94" fmla="*/ 11019457 w 468"/>
                  <a:gd name="T95" fmla="*/ 18976778 h 298"/>
                  <a:gd name="T96" fmla="*/ 9473706 w 468"/>
                  <a:gd name="T97" fmla="*/ 19448376 h 298"/>
                  <a:gd name="T98" fmla="*/ 7775162 w 468"/>
                  <a:gd name="T99" fmla="*/ 19057615 h 298"/>
                  <a:gd name="T100" fmla="*/ 6031899 w 468"/>
                  <a:gd name="T101" fmla="*/ 18168792 h 298"/>
                  <a:gd name="T102" fmla="*/ 4835306 w 468"/>
                  <a:gd name="T103" fmla="*/ 17459919 h 298"/>
                  <a:gd name="T104" fmla="*/ 3289688 w 468"/>
                  <a:gd name="T105" fmla="*/ 16804452 h 298"/>
                  <a:gd name="T106" fmla="*/ 3289688 w 468"/>
                  <a:gd name="T107" fmla="*/ 15171025 h 298"/>
                  <a:gd name="T108" fmla="*/ 4165263 w 468"/>
                  <a:gd name="T109" fmla="*/ 13958645 h 298"/>
                  <a:gd name="T110" fmla="*/ 2820484 w 468"/>
                  <a:gd name="T111" fmla="*/ 14039406 h 298"/>
                  <a:gd name="T112" fmla="*/ 1507109 w 468"/>
                  <a:gd name="T113" fmla="*/ 13443611 h 298"/>
                  <a:gd name="T114" fmla="*/ 879082 w 468"/>
                  <a:gd name="T115" fmla="*/ 12559280 h 298"/>
                  <a:gd name="T116" fmla="*/ 75712 w 468"/>
                  <a:gd name="T117" fmla="*/ 11214983 h 29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468" h="298">
                    <a:moveTo>
                      <a:pt x="2" y="136"/>
                    </a:moveTo>
                    <a:cubicBezTo>
                      <a:pt x="4" y="134"/>
                      <a:pt x="13" y="127"/>
                      <a:pt x="15" y="127"/>
                    </a:cubicBezTo>
                    <a:cubicBezTo>
                      <a:pt x="17" y="127"/>
                      <a:pt x="17" y="130"/>
                      <a:pt x="18" y="130"/>
                    </a:cubicBezTo>
                    <a:cubicBezTo>
                      <a:pt x="19" y="131"/>
                      <a:pt x="22" y="131"/>
                      <a:pt x="24" y="130"/>
                    </a:cubicBezTo>
                    <a:cubicBezTo>
                      <a:pt x="26" y="129"/>
                      <a:pt x="24" y="123"/>
                      <a:pt x="26" y="123"/>
                    </a:cubicBezTo>
                    <a:cubicBezTo>
                      <a:pt x="28" y="123"/>
                      <a:pt x="34" y="123"/>
                      <a:pt x="37" y="122"/>
                    </a:cubicBezTo>
                    <a:cubicBezTo>
                      <a:pt x="40" y="121"/>
                      <a:pt x="50" y="116"/>
                      <a:pt x="51" y="114"/>
                    </a:cubicBezTo>
                    <a:cubicBezTo>
                      <a:pt x="52" y="113"/>
                      <a:pt x="52" y="113"/>
                      <a:pt x="52" y="112"/>
                    </a:cubicBezTo>
                    <a:cubicBezTo>
                      <a:pt x="53" y="108"/>
                      <a:pt x="54" y="103"/>
                      <a:pt x="54" y="102"/>
                    </a:cubicBezTo>
                    <a:cubicBezTo>
                      <a:pt x="54" y="101"/>
                      <a:pt x="51" y="86"/>
                      <a:pt x="51" y="86"/>
                    </a:cubicBezTo>
                    <a:cubicBezTo>
                      <a:pt x="51" y="86"/>
                      <a:pt x="65" y="82"/>
                      <a:pt x="66" y="82"/>
                    </a:cubicBezTo>
                    <a:cubicBezTo>
                      <a:pt x="68" y="82"/>
                      <a:pt x="74" y="65"/>
                      <a:pt x="74" y="65"/>
                    </a:cubicBezTo>
                    <a:cubicBezTo>
                      <a:pt x="74" y="65"/>
                      <a:pt x="88" y="68"/>
                      <a:pt x="91" y="67"/>
                    </a:cubicBezTo>
                    <a:cubicBezTo>
                      <a:pt x="94" y="65"/>
                      <a:pt x="92" y="55"/>
                      <a:pt x="94" y="54"/>
                    </a:cubicBezTo>
                    <a:cubicBezTo>
                      <a:pt x="96" y="53"/>
                      <a:pt x="98" y="53"/>
                      <a:pt x="99" y="52"/>
                    </a:cubicBezTo>
                    <a:cubicBezTo>
                      <a:pt x="105" y="45"/>
                      <a:pt x="105" y="45"/>
                      <a:pt x="105" y="45"/>
                    </a:cubicBezTo>
                    <a:cubicBezTo>
                      <a:pt x="107" y="46"/>
                      <a:pt x="110" y="47"/>
                      <a:pt x="110" y="47"/>
                    </a:cubicBezTo>
                    <a:cubicBezTo>
                      <a:pt x="110" y="47"/>
                      <a:pt x="113" y="54"/>
                      <a:pt x="115" y="56"/>
                    </a:cubicBezTo>
                    <a:cubicBezTo>
                      <a:pt x="117" y="57"/>
                      <a:pt x="124" y="57"/>
                      <a:pt x="126" y="59"/>
                    </a:cubicBezTo>
                    <a:cubicBezTo>
                      <a:pt x="128" y="61"/>
                      <a:pt x="134" y="71"/>
                      <a:pt x="134" y="74"/>
                    </a:cubicBezTo>
                    <a:cubicBezTo>
                      <a:pt x="133" y="77"/>
                      <a:pt x="130" y="80"/>
                      <a:pt x="133" y="83"/>
                    </a:cubicBezTo>
                    <a:cubicBezTo>
                      <a:pt x="136" y="85"/>
                      <a:pt x="149" y="86"/>
                      <a:pt x="151" y="86"/>
                    </a:cubicBezTo>
                    <a:cubicBezTo>
                      <a:pt x="154" y="87"/>
                      <a:pt x="162" y="91"/>
                      <a:pt x="164" y="93"/>
                    </a:cubicBezTo>
                    <a:cubicBezTo>
                      <a:pt x="167" y="95"/>
                      <a:pt x="174" y="106"/>
                      <a:pt x="174" y="107"/>
                    </a:cubicBezTo>
                    <a:cubicBezTo>
                      <a:pt x="174" y="108"/>
                      <a:pt x="208" y="107"/>
                      <a:pt x="210" y="108"/>
                    </a:cubicBezTo>
                    <a:cubicBezTo>
                      <a:pt x="212" y="110"/>
                      <a:pt x="236" y="118"/>
                      <a:pt x="239" y="118"/>
                    </a:cubicBezTo>
                    <a:cubicBezTo>
                      <a:pt x="242" y="117"/>
                      <a:pt x="256" y="111"/>
                      <a:pt x="259" y="111"/>
                    </a:cubicBezTo>
                    <a:cubicBezTo>
                      <a:pt x="261" y="111"/>
                      <a:pt x="275" y="111"/>
                      <a:pt x="278" y="109"/>
                    </a:cubicBezTo>
                    <a:cubicBezTo>
                      <a:pt x="282" y="107"/>
                      <a:pt x="294" y="101"/>
                      <a:pt x="293" y="98"/>
                    </a:cubicBezTo>
                    <a:cubicBezTo>
                      <a:pt x="293" y="95"/>
                      <a:pt x="288" y="94"/>
                      <a:pt x="289" y="91"/>
                    </a:cubicBezTo>
                    <a:cubicBezTo>
                      <a:pt x="291" y="88"/>
                      <a:pt x="293" y="85"/>
                      <a:pt x="296" y="85"/>
                    </a:cubicBezTo>
                    <a:cubicBezTo>
                      <a:pt x="299" y="85"/>
                      <a:pt x="306" y="89"/>
                      <a:pt x="310" y="88"/>
                    </a:cubicBezTo>
                    <a:cubicBezTo>
                      <a:pt x="313" y="86"/>
                      <a:pt x="324" y="82"/>
                      <a:pt x="325" y="80"/>
                    </a:cubicBezTo>
                    <a:cubicBezTo>
                      <a:pt x="326" y="79"/>
                      <a:pt x="334" y="72"/>
                      <a:pt x="336" y="71"/>
                    </a:cubicBezTo>
                    <a:cubicBezTo>
                      <a:pt x="337" y="71"/>
                      <a:pt x="344" y="69"/>
                      <a:pt x="346" y="69"/>
                    </a:cubicBezTo>
                    <a:cubicBezTo>
                      <a:pt x="348" y="69"/>
                      <a:pt x="352" y="74"/>
                      <a:pt x="353" y="73"/>
                    </a:cubicBezTo>
                    <a:cubicBezTo>
                      <a:pt x="354" y="73"/>
                      <a:pt x="355" y="71"/>
                      <a:pt x="355" y="70"/>
                    </a:cubicBezTo>
                    <a:cubicBezTo>
                      <a:pt x="356" y="70"/>
                      <a:pt x="356" y="66"/>
                      <a:pt x="354" y="64"/>
                    </a:cubicBezTo>
                    <a:cubicBezTo>
                      <a:pt x="352" y="62"/>
                      <a:pt x="345" y="57"/>
                      <a:pt x="342" y="57"/>
                    </a:cubicBezTo>
                    <a:cubicBezTo>
                      <a:pt x="339" y="57"/>
                      <a:pt x="334" y="61"/>
                      <a:pt x="333" y="61"/>
                    </a:cubicBezTo>
                    <a:cubicBezTo>
                      <a:pt x="331" y="61"/>
                      <a:pt x="325" y="61"/>
                      <a:pt x="324" y="61"/>
                    </a:cubicBezTo>
                    <a:cubicBezTo>
                      <a:pt x="323" y="61"/>
                      <a:pt x="320" y="57"/>
                      <a:pt x="320" y="56"/>
                    </a:cubicBezTo>
                    <a:cubicBezTo>
                      <a:pt x="319" y="55"/>
                      <a:pt x="329" y="41"/>
                      <a:pt x="329" y="40"/>
                    </a:cubicBezTo>
                    <a:cubicBezTo>
                      <a:pt x="330" y="40"/>
                      <a:pt x="340" y="43"/>
                      <a:pt x="341" y="42"/>
                    </a:cubicBezTo>
                    <a:cubicBezTo>
                      <a:pt x="342" y="41"/>
                      <a:pt x="349" y="37"/>
                      <a:pt x="350" y="35"/>
                    </a:cubicBezTo>
                    <a:cubicBezTo>
                      <a:pt x="350" y="33"/>
                      <a:pt x="357" y="24"/>
                      <a:pt x="359" y="21"/>
                    </a:cubicBezTo>
                    <a:cubicBezTo>
                      <a:pt x="361" y="18"/>
                      <a:pt x="361" y="15"/>
                      <a:pt x="360" y="14"/>
                    </a:cubicBezTo>
                    <a:cubicBezTo>
                      <a:pt x="360" y="13"/>
                      <a:pt x="354" y="13"/>
                      <a:pt x="354" y="11"/>
                    </a:cubicBezTo>
                    <a:cubicBezTo>
                      <a:pt x="354" y="9"/>
                      <a:pt x="358" y="5"/>
                      <a:pt x="362" y="4"/>
                    </a:cubicBezTo>
                    <a:cubicBezTo>
                      <a:pt x="365" y="3"/>
                      <a:pt x="381" y="0"/>
                      <a:pt x="385" y="3"/>
                    </a:cubicBezTo>
                    <a:cubicBezTo>
                      <a:pt x="390" y="6"/>
                      <a:pt x="399" y="7"/>
                      <a:pt x="400" y="9"/>
                    </a:cubicBezTo>
                    <a:cubicBezTo>
                      <a:pt x="402" y="11"/>
                      <a:pt x="411" y="33"/>
                      <a:pt x="412" y="35"/>
                    </a:cubicBezTo>
                    <a:cubicBezTo>
                      <a:pt x="412" y="38"/>
                      <a:pt x="412" y="40"/>
                      <a:pt x="415" y="42"/>
                    </a:cubicBezTo>
                    <a:cubicBezTo>
                      <a:pt x="418" y="44"/>
                      <a:pt x="432" y="46"/>
                      <a:pt x="434" y="48"/>
                    </a:cubicBezTo>
                    <a:cubicBezTo>
                      <a:pt x="436" y="50"/>
                      <a:pt x="439" y="61"/>
                      <a:pt x="440" y="61"/>
                    </a:cubicBezTo>
                    <a:cubicBezTo>
                      <a:pt x="441" y="61"/>
                      <a:pt x="449" y="61"/>
                      <a:pt x="451" y="60"/>
                    </a:cubicBezTo>
                    <a:cubicBezTo>
                      <a:pt x="453" y="58"/>
                      <a:pt x="464" y="51"/>
                      <a:pt x="466" y="54"/>
                    </a:cubicBezTo>
                    <a:cubicBezTo>
                      <a:pt x="468" y="56"/>
                      <a:pt x="468" y="60"/>
                      <a:pt x="468" y="61"/>
                    </a:cubicBezTo>
                    <a:cubicBezTo>
                      <a:pt x="467" y="63"/>
                      <a:pt x="462" y="69"/>
                      <a:pt x="462" y="71"/>
                    </a:cubicBezTo>
                    <a:cubicBezTo>
                      <a:pt x="461" y="74"/>
                      <a:pt x="457" y="86"/>
                      <a:pt x="456" y="86"/>
                    </a:cubicBezTo>
                    <a:cubicBezTo>
                      <a:pt x="456" y="86"/>
                      <a:pt x="447" y="84"/>
                      <a:pt x="444" y="85"/>
                    </a:cubicBezTo>
                    <a:cubicBezTo>
                      <a:pt x="442" y="86"/>
                      <a:pt x="437" y="87"/>
                      <a:pt x="439" y="89"/>
                    </a:cubicBezTo>
                    <a:cubicBezTo>
                      <a:pt x="440" y="91"/>
                      <a:pt x="439" y="103"/>
                      <a:pt x="437" y="104"/>
                    </a:cubicBezTo>
                    <a:cubicBezTo>
                      <a:pt x="437" y="104"/>
                      <a:pt x="435" y="104"/>
                      <a:pt x="434" y="105"/>
                    </a:cubicBezTo>
                    <a:cubicBezTo>
                      <a:pt x="433" y="105"/>
                      <a:pt x="432" y="105"/>
                      <a:pt x="431" y="105"/>
                    </a:cubicBezTo>
                    <a:cubicBezTo>
                      <a:pt x="428" y="106"/>
                      <a:pt x="426" y="111"/>
                      <a:pt x="425" y="112"/>
                    </a:cubicBezTo>
                    <a:cubicBezTo>
                      <a:pt x="423" y="112"/>
                      <a:pt x="418" y="114"/>
                      <a:pt x="417" y="115"/>
                    </a:cubicBezTo>
                    <a:cubicBezTo>
                      <a:pt x="416" y="116"/>
                      <a:pt x="418" y="119"/>
                      <a:pt x="415" y="119"/>
                    </a:cubicBezTo>
                    <a:cubicBezTo>
                      <a:pt x="413" y="119"/>
                      <a:pt x="408" y="116"/>
                      <a:pt x="405" y="118"/>
                    </a:cubicBezTo>
                    <a:cubicBezTo>
                      <a:pt x="402" y="120"/>
                      <a:pt x="400" y="125"/>
                      <a:pt x="398" y="126"/>
                    </a:cubicBezTo>
                    <a:cubicBezTo>
                      <a:pt x="396" y="127"/>
                      <a:pt x="390" y="130"/>
                      <a:pt x="390" y="131"/>
                    </a:cubicBezTo>
                    <a:cubicBezTo>
                      <a:pt x="388" y="134"/>
                      <a:pt x="388" y="134"/>
                      <a:pt x="388" y="134"/>
                    </a:cubicBezTo>
                    <a:cubicBezTo>
                      <a:pt x="387" y="134"/>
                      <a:pt x="387" y="134"/>
                      <a:pt x="386" y="134"/>
                    </a:cubicBezTo>
                    <a:cubicBezTo>
                      <a:pt x="384" y="134"/>
                      <a:pt x="376" y="139"/>
                      <a:pt x="373" y="141"/>
                    </a:cubicBezTo>
                    <a:cubicBezTo>
                      <a:pt x="371" y="142"/>
                      <a:pt x="367" y="141"/>
                      <a:pt x="366" y="139"/>
                    </a:cubicBezTo>
                    <a:cubicBezTo>
                      <a:pt x="366" y="137"/>
                      <a:pt x="370" y="131"/>
                      <a:pt x="371" y="130"/>
                    </a:cubicBezTo>
                    <a:cubicBezTo>
                      <a:pt x="372" y="129"/>
                      <a:pt x="373" y="127"/>
                      <a:pt x="370" y="125"/>
                    </a:cubicBezTo>
                    <a:cubicBezTo>
                      <a:pt x="367" y="123"/>
                      <a:pt x="362" y="125"/>
                      <a:pt x="361" y="126"/>
                    </a:cubicBezTo>
                    <a:cubicBezTo>
                      <a:pt x="359" y="128"/>
                      <a:pt x="352" y="136"/>
                      <a:pt x="350" y="138"/>
                    </a:cubicBezTo>
                    <a:cubicBezTo>
                      <a:pt x="348" y="140"/>
                      <a:pt x="343" y="140"/>
                      <a:pt x="341" y="140"/>
                    </a:cubicBezTo>
                    <a:cubicBezTo>
                      <a:pt x="339" y="139"/>
                      <a:pt x="335" y="142"/>
                      <a:pt x="335" y="145"/>
                    </a:cubicBezTo>
                    <a:cubicBezTo>
                      <a:pt x="335" y="148"/>
                      <a:pt x="339" y="150"/>
                      <a:pt x="341" y="150"/>
                    </a:cubicBezTo>
                    <a:cubicBezTo>
                      <a:pt x="344" y="150"/>
                      <a:pt x="345" y="149"/>
                      <a:pt x="347" y="149"/>
                    </a:cubicBezTo>
                    <a:cubicBezTo>
                      <a:pt x="348" y="149"/>
                      <a:pt x="347" y="156"/>
                      <a:pt x="348" y="157"/>
                    </a:cubicBezTo>
                    <a:cubicBezTo>
                      <a:pt x="349" y="158"/>
                      <a:pt x="353" y="159"/>
                      <a:pt x="355" y="158"/>
                    </a:cubicBezTo>
                    <a:cubicBezTo>
                      <a:pt x="356" y="156"/>
                      <a:pt x="359" y="153"/>
                      <a:pt x="360" y="152"/>
                    </a:cubicBezTo>
                    <a:cubicBezTo>
                      <a:pt x="362" y="151"/>
                      <a:pt x="374" y="155"/>
                      <a:pt x="375" y="155"/>
                    </a:cubicBezTo>
                    <a:cubicBezTo>
                      <a:pt x="377" y="156"/>
                      <a:pt x="374" y="159"/>
                      <a:pt x="374" y="161"/>
                    </a:cubicBezTo>
                    <a:cubicBezTo>
                      <a:pt x="374" y="162"/>
                      <a:pt x="366" y="162"/>
                      <a:pt x="363" y="164"/>
                    </a:cubicBezTo>
                    <a:cubicBezTo>
                      <a:pt x="359" y="167"/>
                      <a:pt x="348" y="176"/>
                      <a:pt x="350" y="178"/>
                    </a:cubicBezTo>
                    <a:cubicBezTo>
                      <a:pt x="352" y="180"/>
                      <a:pt x="357" y="182"/>
                      <a:pt x="358" y="184"/>
                    </a:cubicBezTo>
                    <a:cubicBezTo>
                      <a:pt x="359" y="186"/>
                      <a:pt x="362" y="193"/>
                      <a:pt x="362" y="195"/>
                    </a:cubicBezTo>
                    <a:cubicBezTo>
                      <a:pt x="363" y="197"/>
                      <a:pt x="369" y="202"/>
                      <a:pt x="369" y="204"/>
                    </a:cubicBezTo>
                    <a:cubicBezTo>
                      <a:pt x="369" y="207"/>
                      <a:pt x="370" y="210"/>
                      <a:pt x="369" y="211"/>
                    </a:cubicBezTo>
                    <a:cubicBezTo>
                      <a:pt x="369" y="212"/>
                      <a:pt x="359" y="216"/>
                      <a:pt x="359" y="217"/>
                    </a:cubicBezTo>
                    <a:cubicBezTo>
                      <a:pt x="359" y="218"/>
                      <a:pt x="372" y="218"/>
                      <a:pt x="372" y="220"/>
                    </a:cubicBezTo>
                    <a:cubicBezTo>
                      <a:pt x="372" y="222"/>
                      <a:pt x="370" y="226"/>
                      <a:pt x="369" y="229"/>
                    </a:cubicBezTo>
                    <a:cubicBezTo>
                      <a:pt x="367" y="231"/>
                      <a:pt x="360" y="239"/>
                      <a:pt x="358" y="242"/>
                    </a:cubicBezTo>
                    <a:cubicBezTo>
                      <a:pt x="357" y="244"/>
                      <a:pt x="353" y="245"/>
                      <a:pt x="353" y="248"/>
                    </a:cubicBezTo>
                    <a:cubicBezTo>
                      <a:pt x="353" y="250"/>
                      <a:pt x="354" y="255"/>
                      <a:pt x="353" y="256"/>
                    </a:cubicBezTo>
                    <a:cubicBezTo>
                      <a:pt x="351" y="257"/>
                      <a:pt x="344" y="262"/>
                      <a:pt x="342" y="264"/>
                    </a:cubicBezTo>
                    <a:cubicBezTo>
                      <a:pt x="340" y="266"/>
                      <a:pt x="331" y="273"/>
                      <a:pt x="330" y="274"/>
                    </a:cubicBezTo>
                    <a:cubicBezTo>
                      <a:pt x="329" y="276"/>
                      <a:pt x="321" y="280"/>
                      <a:pt x="318" y="280"/>
                    </a:cubicBezTo>
                    <a:cubicBezTo>
                      <a:pt x="314" y="280"/>
                      <a:pt x="311" y="282"/>
                      <a:pt x="309" y="280"/>
                    </a:cubicBezTo>
                    <a:cubicBezTo>
                      <a:pt x="307" y="277"/>
                      <a:pt x="305" y="281"/>
                      <a:pt x="304" y="283"/>
                    </a:cubicBezTo>
                    <a:cubicBezTo>
                      <a:pt x="303" y="285"/>
                      <a:pt x="302" y="287"/>
                      <a:pt x="299" y="287"/>
                    </a:cubicBezTo>
                    <a:cubicBezTo>
                      <a:pt x="296" y="287"/>
                      <a:pt x="286" y="288"/>
                      <a:pt x="284" y="289"/>
                    </a:cubicBezTo>
                    <a:cubicBezTo>
                      <a:pt x="283" y="291"/>
                      <a:pt x="281" y="291"/>
                      <a:pt x="282" y="294"/>
                    </a:cubicBezTo>
                    <a:cubicBezTo>
                      <a:pt x="283" y="296"/>
                      <a:pt x="283" y="298"/>
                      <a:pt x="280" y="298"/>
                    </a:cubicBezTo>
                    <a:cubicBezTo>
                      <a:pt x="278" y="298"/>
                      <a:pt x="278" y="298"/>
                      <a:pt x="277" y="297"/>
                    </a:cubicBezTo>
                    <a:cubicBezTo>
                      <a:pt x="277" y="295"/>
                      <a:pt x="277" y="290"/>
                      <a:pt x="276" y="289"/>
                    </a:cubicBezTo>
                    <a:cubicBezTo>
                      <a:pt x="275" y="287"/>
                      <a:pt x="268" y="286"/>
                      <a:pt x="266" y="287"/>
                    </a:cubicBezTo>
                    <a:cubicBezTo>
                      <a:pt x="265" y="287"/>
                      <a:pt x="264" y="288"/>
                      <a:pt x="263" y="289"/>
                    </a:cubicBezTo>
                    <a:cubicBezTo>
                      <a:pt x="263" y="289"/>
                      <a:pt x="254" y="284"/>
                      <a:pt x="253" y="284"/>
                    </a:cubicBezTo>
                    <a:cubicBezTo>
                      <a:pt x="252" y="283"/>
                      <a:pt x="256" y="279"/>
                      <a:pt x="254" y="278"/>
                    </a:cubicBezTo>
                    <a:cubicBezTo>
                      <a:pt x="252" y="277"/>
                      <a:pt x="249" y="277"/>
                      <a:pt x="247" y="277"/>
                    </a:cubicBezTo>
                    <a:cubicBezTo>
                      <a:pt x="246" y="276"/>
                      <a:pt x="243" y="275"/>
                      <a:pt x="242" y="275"/>
                    </a:cubicBezTo>
                    <a:cubicBezTo>
                      <a:pt x="241" y="276"/>
                      <a:pt x="227" y="280"/>
                      <a:pt x="225" y="280"/>
                    </a:cubicBezTo>
                    <a:cubicBezTo>
                      <a:pt x="225" y="280"/>
                      <a:pt x="223" y="281"/>
                      <a:pt x="221" y="281"/>
                    </a:cubicBezTo>
                    <a:cubicBezTo>
                      <a:pt x="219" y="281"/>
                      <a:pt x="217" y="281"/>
                      <a:pt x="216" y="282"/>
                    </a:cubicBezTo>
                    <a:cubicBezTo>
                      <a:pt x="215" y="282"/>
                      <a:pt x="216" y="290"/>
                      <a:pt x="215" y="291"/>
                    </a:cubicBezTo>
                    <a:cubicBezTo>
                      <a:pt x="214" y="291"/>
                      <a:pt x="213" y="289"/>
                      <a:pt x="212" y="289"/>
                    </a:cubicBezTo>
                    <a:cubicBezTo>
                      <a:pt x="211" y="289"/>
                      <a:pt x="211" y="289"/>
                      <a:pt x="210" y="290"/>
                    </a:cubicBezTo>
                    <a:cubicBezTo>
                      <a:pt x="207" y="286"/>
                      <a:pt x="207" y="286"/>
                      <a:pt x="207" y="286"/>
                    </a:cubicBezTo>
                    <a:cubicBezTo>
                      <a:pt x="207" y="286"/>
                      <a:pt x="204" y="286"/>
                      <a:pt x="203" y="286"/>
                    </a:cubicBezTo>
                    <a:cubicBezTo>
                      <a:pt x="201" y="286"/>
                      <a:pt x="199" y="285"/>
                      <a:pt x="197" y="283"/>
                    </a:cubicBezTo>
                    <a:cubicBezTo>
                      <a:pt x="195" y="281"/>
                      <a:pt x="200" y="277"/>
                      <a:pt x="198" y="276"/>
                    </a:cubicBezTo>
                    <a:cubicBezTo>
                      <a:pt x="197" y="275"/>
                      <a:pt x="193" y="272"/>
                      <a:pt x="193" y="271"/>
                    </a:cubicBezTo>
                    <a:cubicBezTo>
                      <a:pt x="193" y="269"/>
                      <a:pt x="192" y="268"/>
                      <a:pt x="190" y="268"/>
                    </a:cubicBezTo>
                    <a:cubicBezTo>
                      <a:pt x="189" y="268"/>
                      <a:pt x="186" y="270"/>
                      <a:pt x="184" y="269"/>
                    </a:cubicBezTo>
                    <a:cubicBezTo>
                      <a:pt x="183" y="268"/>
                      <a:pt x="183" y="265"/>
                      <a:pt x="184" y="263"/>
                    </a:cubicBezTo>
                    <a:cubicBezTo>
                      <a:pt x="185" y="260"/>
                      <a:pt x="192" y="255"/>
                      <a:pt x="192" y="253"/>
                    </a:cubicBezTo>
                    <a:cubicBezTo>
                      <a:pt x="193" y="251"/>
                      <a:pt x="194" y="241"/>
                      <a:pt x="193" y="239"/>
                    </a:cubicBezTo>
                    <a:cubicBezTo>
                      <a:pt x="192" y="238"/>
                      <a:pt x="191" y="239"/>
                      <a:pt x="189" y="238"/>
                    </a:cubicBezTo>
                    <a:cubicBezTo>
                      <a:pt x="188" y="237"/>
                      <a:pt x="188" y="233"/>
                      <a:pt x="185" y="232"/>
                    </a:cubicBezTo>
                    <a:cubicBezTo>
                      <a:pt x="183" y="232"/>
                      <a:pt x="182" y="234"/>
                      <a:pt x="181" y="234"/>
                    </a:cubicBezTo>
                    <a:cubicBezTo>
                      <a:pt x="179" y="234"/>
                      <a:pt x="175" y="234"/>
                      <a:pt x="174" y="233"/>
                    </a:cubicBezTo>
                    <a:cubicBezTo>
                      <a:pt x="173" y="232"/>
                      <a:pt x="175" y="226"/>
                      <a:pt x="173" y="225"/>
                    </a:cubicBezTo>
                    <a:cubicBezTo>
                      <a:pt x="172" y="224"/>
                      <a:pt x="167" y="227"/>
                      <a:pt x="165" y="226"/>
                    </a:cubicBezTo>
                    <a:cubicBezTo>
                      <a:pt x="163" y="225"/>
                      <a:pt x="162" y="225"/>
                      <a:pt x="160" y="226"/>
                    </a:cubicBezTo>
                    <a:cubicBezTo>
                      <a:pt x="158" y="227"/>
                      <a:pt x="154" y="232"/>
                      <a:pt x="151" y="233"/>
                    </a:cubicBezTo>
                    <a:cubicBezTo>
                      <a:pt x="149" y="233"/>
                      <a:pt x="144" y="236"/>
                      <a:pt x="142" y="237"/>
                    </a:cubicBezTo>
                    <a:cubicBezTo>
                      <a:pt x="141" y="237"/>
                      <a:pt x="140" y="238"/>
                      <a:pt x="140" y="238"/>
                    </a:cubicBezTo>
                    <a:cubicBezTo>
                      <a:pt x="138" y="237"/>
                      <a:pt x="138" y="234"/>
                      <a:pt x="137" y="234"/>
                    </a:cubicBezTo>
                    <a:cubicBezTo>
                      <a:pt x="135" y="234"/>
                      <a:pt x="130" y="233"/>
                      <a:pt x="128" y="233"/>
                    </a:cubicBezTo>
                    <a:cubicBezTo>
                      <a:pt x="126" y="233"/>
                      <a:pt x="122" y="234"/>
                      <a:pt x="121" y="236"/>
                    </a:cubicBezTo>
                    <a:cubicBezTo>
                      <a:pt x="120" y="237"/>
                      <a:pt x="120" y="241"/>
                      <a:pt x="118" y="240"/>
                    </a:cubicBezTo>
                    <a:cubicBezTo>
                      <a:pt x="116" y="239"/>
                      <a:pt x="118" y="235"/>
                      <a:pt x="116" y="234"/>
                    </a:cubicBezTo>
                    <a:cubicBezTo>
                      <a:pt x="113" y="234"/>
                      <a:pt x="114" y="237"/>
                      <a:pt x="110" y="237"/>
                    </a:cubicBezTo>
                    <a:cubicBezTo>
                      <a:pt x="105" y="237"/>
                      <a:pt x="101" y="236"/>
                      <a:pt x="97" y="235"/>
                    </a:cubicBezTo>
                    <a:cubicBezTo>
                      <a:pt x="94" y="234"/>
                      <a:pt x="89" y="233"/>
                      <a:pt x="86" y="231"/>
                    </a:cubicBezTo>
                    <a:cubicBezTo>
                      <a:pt x="83" y="229"/>
                      <a:pt x="81" y="225"/>
                      <a:pt x="81" y="225"/>
                    </a:cubicBezTo>
                    <a:cubicBezTo>
                      <a:pt x="75" y="224"/>
                      <a:pt x="75" y="224"/>
                      <a:pt x="75" y="224"/>
                    </a:cubicBezTo>
                    <a:cubicBezTo>
                      <a:pt x="75" y="224"/>
                      <a:pt x="72" y="221"/>
                      <a:pt x="70" y="220"/>
                    </a:cubicBezTo>
                    <a:cubicBezTo>
                      <a:pt x="68" y="219"/>
                      <a:pt x="65" y="215"/>
                      <a:pt x="65" y="215"/>
                    </a:cubicBezTo>
                    <a:cubicBezTo>
                      <a:pt x="60" y="215"/>
                      <a:pt x="60" y="215"/>
                      <a:pt x="60" y="215"/>
                    </a:cubicBezTo>
                    <a:cubicBezTo>
                      <a:pt x="57" y="218"/>
                      <a:pt x="57" y="218"/>
                      <a:pt x="57" y="218"/>
                    </a:cubicBezTo>
                    <a:cubicBezTo>
                      <a:pt x="57" y="218"/>
                      <a:pt x="57" y="217"/>
                      <a:pt x="56" y="217"/>
                    </a:cubicBezTo>
                    <a:cubicBezTo>
                      <a:pt x="53" y="215"/>
                      <a:pt x="41" y="208"/>
                      <a:pt x="41" y="207"/>
                    </a:cubicBezTo>
                    <a:cubicBezTo>
                      <a:pt x="41" y="206"/>
                      <a:pt x="38" y="198"/>
                      <a:pt x="38" y="198"/>
                    </a:cubicBezTo>
                    <a:cubicBezTo>
                      <a:pt x="38" y="198"/>
                      <a:pt x="45" y="197"/>
                      <a:pt x="46" y="196"/>
                    </a:cubicBezTo>
                    <a:cubicBezTo>
                      <a:pt x="46" y="195"/>
                      <a:pt x="41" y="187"/>
                      <a:pt x="41" y="187"/>
                    </a:cubicBezTo>
                    <a:cubicBezTo>
                      <a:pt x="46" y="186"/>
                      <a:pt x="46" y="186"/>
                      <a:pt x="46" y="186"/>
                    </a:cubicBezTo>
                    <a:cubicBezTo>
                      <a:pt x="47" y="186"/>
                      <a:pt x="50" y="180"/>
                      <a:pt x="51" y="179"/>
                    </a:cubicBezTo>
                    <a:cubicBezTo>
                      <a:pt x="52" y="178"/>
                      <a:pt x="52" y="174"/>
                      <a:pt x="52" y="172"/>
                    </a:cubicBezTo>
                    <a:cubicBezTo>
                      <a:pt x="51" y="171"/>
                      <a:pt x="46" y="169"/>
                      <a:pt x="45" y="169"/>
                    </a:cubicBezTo>
                    <a:cubicBezTo>
                      <a:pt x="44" y="169"/>
                      <a:pt x="42" y="169"/>
                      <a:pt x="41" y="169"/>
                    </a:cubicBezTo>
                    <a:cubicBezTo>
                      <a:pt x="35" y="173"/>
                      <a:pt x="35" y="173"/>
                      <a:pt x="35" y="173"/>
                    </a:cubicBezTo>
                    <a:cubicBezTo>
                      <a:pt x="35" y="172"/>
                      <a:pt x="33" y="172"/>
                      <a:pt x="31" y="172"/>
                    </a:cubicBezTo>
                    <a:cubicBezTo>
                      <a:pt x="29" y="172"/>
                      <a:pt x="27" y="172"/>
                      <a:pt x="26" y="171"/>
                    </a:cubicBezTo>
                    <a:cubicBezTo>
                      <a:pt x="23" y="169"/>
                      <a:pt x="21" y="169"/>
                      <a:pt x="19" y="166"/>
                    </a:cubicBezTo>
                    <a:cubicBezTo>
                      <a:pt x="17" y="163"/>
                      <a:pt x="13" y="161"/>
                      <a:pt x="12" y="160"/>
                    </a:cubicBezTo>
                    <a:cubicBezTo>
                      <a:pt x="10" y="160"/>
                      <a:pt x="11" y="160"/>
                      <a:pt x="11" y="156"/>
                    </a:cubicBezTo>
                    <a:cubicBezTo>
                      <a:pt x="11" y="156"/>
                      <a:pt x="11" y="155"/>
                      <a:pt x="11" y="155"/>
                    </a:cubicBezTo>
                    <a:cubicBezTo>
                      <a:pt x="11" y="151"/>
                      <a:pt x="11" y="147"/>
                      <a:pt x="10" y="147"/>
                    </a:cubicBezTo>
                    <a:cubicBezTo>
                      <a:pt x="8" y="146"/>
                      <a:pt x="5" y="146"/>
                      <a:pt x="3" y="145"/>
                    </a:cubicBezTo>
                    <a:cubicBezTo>
                      <a:pt x="1" y="144"/>
                      <a:pt x="0" y="141"/>
                      <a:pt x="1" y="138"/>
                    </a:cubicBezTo>
                    <a:cubicBezTo>
                      <a:pt x="1" y="137"/>
                      <a:pt x="1" y="136"/>
                      <a:pt x="2" y="136"/>
                    </a:cubicBezTo>
                    <a:close/>
                  </a:path>
                </a:pathLst>
              </a:custGeom>
              <a:solidFill>
                <a:srgbClr val="EB780A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58" name="Group 87"/>
            <p:cNvGrpSpPr>
              <a:grpSpLocks/>
            </p:cNvGrpSpPr>
            <p:nvPr/>
          </p:nvGrpSpPr>
          <p:grpSpPr bwMode="auto">
            <a:xfrm>
              <a:off x="6276709" y="2508196"/>
              <a:ext cx="3476601" cy="1289539"/>
              <a:chOff x="3141" y="892"/>
              <a:chExt cx="2522" cy="994"/>
            </a:xfrm>
          </p:grpSpPr>
          <p:sp>
            <p:nvSpPr>
              <p:cNvPr id="242" name="Freeform 88"/>
              <p:cNvSpPr>
                <a:spLocks/>
              </p:cNvSpPr>
              <p:nvPr/>
            </p:nvSpPr>
            <p:spPr bwMode="auto">
              <a:xfrm>
                <a:off x="5483" y="1202"/>
                <a:ext cx="61" cy="24"/>
              </a:xfrm>
              <a:custGeom>
                <a:avLst/>
                <a:gdLst>
                  <a:gd name="T0" fmla="*/ 2557840 w 30"/>
                  <a:gd name="T1" fmla="*/ 327680 h 12"/>
                  <a:gd name="T2" fmla="*/ 2063427 w 30"/>
                  <a:gd name="T3" fmla="*/ 655360 h 12"/>
                  <a:gd name="T4" fmla="*/ 680294 w 30"/>
                  <a:gd name="T5" fmla="*/ 720896 h 12"/>
                  <a:gd name="T6" fmla="*/ 0 w 30"/>
                  <a:gd name="T7" fmla="*/ 655360 h 12"/>
                  <a:gd name="T8" fmla="*/ 1014800 w 30"/>
                  <a:gd name="T9" fmla="*/ 131072 h 12"/>
                  <a:gd name="T10" fmla="*/ 2557840 w 30"/>
                  <a:gd name="T11" fmla="*/ 327680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0" h="12">
                    <a:moveTo>
                      <a:pt x="30" y="5"/>
                    </a:moveTo>
                    <a:cubicBezTo>
                      <a:pt x="30" y="8"/>
                      <a:pt x="27" y="10"/>
                      <a:pt x="24" y="10"/>
                    </a:cubicBezTo>
                    <a:cubicBezTo>
                      <a:pt x="22" y="11"/>
                      <a:pt x="13" y="11"/>
                      <a:pt x="8" y="11"/>
                    </a:cubicBezTo>
                    <a:cubicBezTo>
                      <a:pt x="4" y="11"/>
                      <a:pt x="0" y="12"/>
                      <a:pt x="0" y="10"/>
                    </a:cubicBezTo>
                    <a:cubicBezTo>
                      <a:pt x="0" y="8"/>
                      <a:pt x="9" y="3"/>
                      <a:pt x="12" y="2"/>
                    </a:cubicBezTo>
                    <a:cubicBezTo>
                      <a:pt x="16" y="0"/>
                      <a:pt x="30" y="3"/>
                      <a:pt x="30" y="5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3" name="Freeform 89"/>
              <p:cNvSpPr>
                <a:spLocks/>
              </p:cNvSpPr>
              <p:nvPr/>
            </p:nvSpPr>
            <p:spPr bwMode="auto">
              <a:xfrm>
                <a:off x="4985" y="1085"/>
                <a:ext cx="73" cy="22"/>
              </a:xfrm>
              <a:custGeom>
                <a:avLst/>
                <a:gdLst>
                  <a:gd name="T0" fmla="*/ 155245 w 36"/>
                  <a:gd name="T1" fmla="*/ 524288 h 11"/>
                  <a:gd name="T2" fmla="*/ 0 w 36"/>
                  <a:gd name="T3" fmla="*/ 0 h 11"/>
                  <a:gd name="T4" fmla="*/ 812172 w 36"/>
                  <a:gd name="T5" fmla="*/ 0 h 11"/>
                  <a:gd name="T6" fmla="*/ 1646904 w 36"/>
                  <a:gd name="T7" fmla="*/ 262144 h 11"/>
                  <a:gd name="T8" fmla="*/ 2783378 w 36"/>
                  <a:gd name="T9" fmla="*/ 393216 h 11"/>
                  <a:gd name="T10" fmla="*/ 2460173 w 36"/>
                  <a:gd name="T11" fmla="*/ 720896 h 11"/>
                  <a:gd name="T12" fmla="*/ 1489080 w 36"/>
                  <a:gd name="T13" fmla="*/ 720896 h 11"/>
                  <a:gd name="T14" fmla="*/ 155245 w 36"/>
                  <a:gd name="T15" fmla="*/ 524288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6" h="11">
                    <a:moveTo>
                      <a:pt x="2" y="8"/>
                    </a:moveTo>
                    <a:cubicBezTo>
                      <a:pt x="0" y="7"/>
                      <a:pt x="0" y="3"/>
                      <a:pt x="0" y="0"/>
                    </a:cubicBezTo>
                    <a:cubicBezTo>
                      <a:pt x="0" y="0"/>
                      <a:pt x="8" y="0"/>
                      <a:pt x="10" y="0"/>
                    </a:cubicBezTo>
                    <a:cubicBezTo>
                      <a:pt x="12" y="0"/>
                      <a:pt x="18" y="3"/>
                      <a:pt x="20" y="4"/>
                    </a:cubicBezTo>
                    <a:cubicBezTo>
                      <a:pt x="22" y="5"/>
                      <a:pt x="32" y="4"/>
                      <a:pt x="34" y="6"/>
                    </a:cubicBezTo>
                    <a:cubicBezTo>
                      <a:pt x="36" y="8"/>
                      <a:pt x="33" y="10"/>
                      <a:pt x="30" y="11"/>
                    </a:cubicBezTo>
                    <a:cubicBezTo>
                      <a:pt x="28" y="11"/>
                      <a:pt x="22" y="11"/>
                      <a:pt x="18" y="11"/>
                    </a:cubicBezTo>
                    <a:cubicBezTo>
                      <a:pt x="14" y="11"/>
                      <a:pt x="4" y="9"/>
                      <a:pt x="2" y="8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4" name="Freeform 90"/>
              <p:cNvSpPr>
                <a:spLocks/>
              </p:cNvSpPr>
              <p:nvPr/>
            </p:nvSpPr>
            <p:spPr bwMode="auto">
              <a:xfrm>
                <a:off x="4912" y="1617"/>
                <a:ext cx="40" cy="176"/>
              </a:xfrm>
              <a:custGeom>
                <a:avLst/>
                <a:gdLst>
                  <a:gd name="T0" fmla="*/ 327680 w 20"/>
                  <a:gd name="T1" fmla="*/ 2767545 h 87"/>
                  <a:gd name="T2" fmla="*/ 131072 w 20"/>
                  <a:gd name="T3" fmla="*/ 2136632 h 87"/>
                  <a:gd name="T4" fmla="*/ 131072 w 20"/>
                  <a:gd name="T5" fmla="*/ 1014555 h 87"/>
                  <a:gd name="T6" fmla="*/ 327680 w 20"/>
                  <a:gd name="T7" fmla="*/ 694538 h 87"/>
                  <a:gd name="T8" fmla="*/ 524288 w 20"/>
                  <a:gd name="T9" fmla="*/ 0 h 87"/>
                  <a:gd name="T10" fmla="*/ 720896 w 20"/>
                  <a:gd name="T11" fmla="*/ 864251 h 87"/>
                  <a:gd name="T12" fmla="*/ 786432 w 20"/>
                  <a:gd name="T13" fmla="*/ 1823220 h 87"/>
                  <a:gd name="T14" fmla="*/ 851968 w 20"/>
                  <a:gd name="T15" fmla="*/ 2442904 h 87"/>
                  <a:gd name="T16" fmla="*/ 1245184 w 20"/>
                  <a:gd name="T17" fmla="*/ 3922846 h 87"/>
                  <a:gd name="T18" fmla="*/ 1179648 w 20"/>
                  <a:gd name="T19" fmla="*/ 4403457 h 87"/>
                  <a:gd name="T20" fmla="*/ 786432 w 20"/>
                  <a:gd name="T21" fmla="*/ 4403457 h 87"/>
                  <a:gd name="T22" fmla="*/ 655360 w 20"/>
                  <a:gd name="T23" fmla="*/ 5598712 h 87"/>
                  <a:gd name="T24" fmla="*/ 917504 w 20"/>
                  <a:gd name="T25" fmla="*/ 6075285 h 87"/>
                  <a:gd name="T26" fmla="*/ 851968 w 20"/>
                  <a:gd name="T27" fmla="*/ 6764750 h 87"/>
                  <a:gd name="T28" fmla="*/ 524288 w 20"/>
                  <a:gd name="T29" fmla="*/ 6384064 h 87"/>
                  <a:gd name="T30" fmla="*/ 262144 w 20"/>
                  <a:gd name="T31" fmla="*/ 6764750 h 87"/>
                  <a:gd name="T32" fmla="*/ 65536 w 20"/>
                  <a:gd name="T33" fmla="*/ 6465206 h 87"/>
                  <a:gd name="T34" fmla="*/ 131072 w 20"/>
                  <a:gd name="T35" fmla="*/ 5900550 h 87"/>
                  <a:gd name="T36" fmla="*/ 196608 w 20"/>
                  <a:gd name="T37" fmla="*/ 5209373 h 87"/>
                  <a:gd name="T38" fmla="*/ 65536 w 20"/>
                  <a:gd name="T39" fmla="*/ 4637954 h 87"/>
                  <a:gd name="T40" fmla="*/ 262144 w 20"/>
                  <a:gd name="T41" fmla="*/ 4003994 h 87"/>
                  <a:gd name="T42" fmla="*/ 131072 w 20"/>
                  <a:gd name="T43" fmla="*/ 3307171 h 87"/>
                  <a:gd name="T44" fmla="*/ 327680 w 20"/>
                  <a:gd name="T45" fmla="*/ 2767545 h 8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20" h="87">
                    <a:moveTo>
                      <a:pt x="5" y="35"/>
                    </a:moveTo>
                    <a:cubicBezTo>
                      <a:pt x="5" y="33"/>
                      <a:pt x="4" y="28"/>
                      <a:pt x="2" y="27"/>
                    </a:cubicBezTo>
                    <a:cubicBezTo>
                      <a:pt x="1" y="26"/>
                      <a:pt x="3" y="15"/>
                      <a:pt x="2" y="13"/>
                    </a:cubicBezTo>
                    <a:cubicBezTo>
                      <a:pt x="2" y="13"/>
                      <a:pt x="4" y="10"/>
                      <a:pt x="5" y="9"/>
                    </a:cubicBezTo>
                    <a:cubicBezTo>
                      <a:pt x="6" y="8"/>
                      <a:pt x="5" y="0"/>
                      <a:pt x="8" y="0"/>
                    </a:cubicBezTo>
                    <a:cubicBezTo>
                      <a:pt x="11" y="1"/>
                      <a:pt x="10" y="8"/>
                      <a:pt x="11" y="11"/>
                    </a:cubicBezTo>
                    <a:cubicBezTo>
                      <a:pt x="12" y="14"/>
                      <a:pt x="13" y="20"/>
                      <a:pt x="12" y="23"/>
                    </a:cubicBezTo>
                    <a:cubicBezTo>
                      <a:pt x="11" y="27"/>
                      <a:pt x="12" y="29"/>
                      <a:pt x="13" y="31"/>
                    </a:cubicBezTo>
                    <a:cubicBezTo>
                      <a:pt x="14" y="33"/>
                      <a:pt x="18" y="47"/>
                      <a:pt x="19" y="50"/>
                    </a:cubicBezTo>
                    <a:cubicBezTo>
                      <a:pt x="20" y="53"/>
                      <a:pt x="20" y="58"/>
                      <a:pt x="18" y="56"/>
                    </a:cubicBezTo>
                    <a:cubicBezTo>
                      <a:pt x="16" y="54"/>
                      <a:pt x="14" y="55"/>
                      <a:pt x="12" y="56"/>
                    </a:cubicBezTo>
                    <a:cubicBezTo>
                      <a:pt x="9" y="58"/>
                      <a:pt x="8" y="69"/>
                      <a:pt x="10" y="71"/>
                    </a:cubicBezTo>
                    <a:cubicBezTo>
                      <a:pt x="13" y="73"/>
                      <a:pt x="14" y="75"/>
                      <a:pt x="14" y="77"/>
                    </a:cubicBezTo>
                    <a:cubicBezTo>
                      <a:pt x="14" y="79"/>
                      <a:pt x="14" y="86"/>
                      <a:pt x="13" y="86"/>
                    </a:cubicBezTo>
                    <a:cubicBezTo>
                      <a:pt x="12" y="86"/>
                      <a:pt x="10" y="82"/>
                      <a:pt x="8" y="81"/>
                    </a:cubicBezTo>
                    <a:cubicBezTo>
                      <a:pt x="7" y="80"/>
                      <a:pt x="5" y="86"/>
                      <a:pt x="4" y="86"/>
                    </a:cubicBezTo>
                    <a:cubicBezTo>
                      <a:pt x="2" y="87"/>
                      <a:pt x="1" y="84"/>
                      <a:pt x="1" y="82"/>
                    </a:cubicBezTo>
                    <a:cubicBezTo>
                      <a:pt x="1" y="81"/>
                      <a:pt x="1" y="77"/>
                      <a:pt x="2" y="75"/>
                    </a:cubicBezTo>
                    <a:cubicBezTo>
                      <a:pt x="3" y="72"/>
                      <a:pt x="3" y="68"/>
                      <a:pt x="3" y="66"/>
                    </a:cubicBezTo>
                    <a:cubicBezTo>
                      <a:pt x="3" y="64"/>
                      <a:pt x="3" y="62"/>
                      <a:pt x="1" y="59"/>
                    </a:cubicBezTo>
                    <a:cubicBezTo>
                      <a:pt x="0" y="57"/>
                      <a:pt x="3" y="55"/>
                      <a:pt x="4" y="51"/>
                    </a:cubicBezTo>
                    <a:cubicBezTo>
                      <a:pt x="5" y="47"/>
                      <a:pt x="3" y="44"/>
                      <a:pt x="2" y="42"/>
                    </a:cubicBezTo>
                    <a:cubicBezTo>
                      <a:pt x="2" y="40"/>
                      <a:pt x="5" y="37"/>
                      <a:pt x="5" y="35"/>
                    </a:cubicBezTo>
                    <a:close/>
                  </a:path>
                </a:pathLst>
              </a:custGeom>
              <a:solidFill>
                <a:srgbClr val="EB780A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5" name="Freeform 91"/>
              <p:cNvSpPr>
                <a:spLocks/>
              </p:cNvSpPr>
              <p:nvPr/>
            </p:nvSpPr>
            <p:spPr bwMode="auto">
              <a:xfrm>
                <a:off x="4876" y="1131"/>
                <a:ext cx="64" cy="28"/>
              </a:xfrm>
              <a:custGeom>
                <a:avLst/>
                <a:gdLst>
                  <a:gd name="T0" fmla="*/ 393216 w 32"/>
                  <a:gd name="T1" fmla="*/ 196608 h 14"/>
                  <a:gd name="T2" fmla="*/ 1048576 w 32"/>
                  <a:gd name="T3" fmla="*/ 0 h 14"/>
                  <a:gd name="T4" fmla="*/ 1835008 w 32"/>
                  <a:gd name="T5" fmla="*/ 262144 h 14"/>
                  <a:gd name="T6" fmla="*/ 1835008 w 32"/>
                  <a:gd name="T7" fmla="*/ 786432 h 14"/>
                  <a:gd name="T8" fmla="*/ 655360 w 32"/>
                  <a:gd name="T9" fmla="*/ 589824 h 14"/>
                  <a:gd name="T10" fmla="*/ 131072 w 32"/>
                  <a:gd name="T11" fmla="*/ 524288 h 14"/>
                  <a:gd name="T12" fmla="*/ 393216 w 32"/>
                  <a:gd name="T13" fmla="*/ 196608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2" h="14">
                    <a:moveTo>
                      <a:pt x="6" y="3"/>
                    </a:moveTo>
                    <a:cubicBezTo>
                      <a:pt x="8" y="1"/>
                      <a:pt x="12" y="0"/>
                      <a:pt x="16" y="0"/>
                    </a:cubicBezTo>
                    <a:cubicBezTo>
                      <a:pt x="16" y="0"/>
                      <a:pt x="24" y="1"/>
                      <a:pt x="28" y="4"/>
                    </a:cubicBezTo>
                    <a:cubicBezTo>
                      <a:pt x="32" y="6"/>
                      <a:pt x="30" y="10"/>
                      <a:pt x="28" y="12"/>
                    </a:cubicBezTo>
                    <a:cubicBezTo>
                      <a:pt x="26" y="14"/>
                      <a:pt x="14" y="9"/>
                      <a:pt x="10" y="9"/>
                    </a:cubicBezTo>
                    <a:cubicBezTo>
                      <a:pt x="6" y="8"/>
                      <a:pt x="4" y="9"/>
                      <a:pt x="2" y="8"/>
                    </a:cubicBezTo>
                    <a:cubicBezTo>
                      <a:pt x="0" y="6"/>
                      <a:pt x="4" y="4"/>
                      <a:pt x="6" y="3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6" name="Freeform 92"/>
              <p:cNvSpPr>
                <a:spLocks/>
              </p:cNvSpPr>
              <p:nvPr/>
            </p:nvSpPr>
            <p:spPr bwMode="auto">
              <a:xfrm>
                <a:off x="4835" y="1058"/>
                <a:ext cx="130" cy="61"/>
              </a:xfrm>
              <a:custGeom>
                <a:avLst/>
                <a:gdLst>
                  <a:gd name="T0" fmla="*/ 242533 w 64"/>
                  <a:gd name="T1" fmla="*/ 1716373 h 30"/>
                  <a:gd name="T2" fmla="*/ 410353 w 64"/>
                  <a:gd name="T3" fmla="*/ 680294 h 30"/>
                  <a:gd name="T4" fmla="*/ 1525885 w 64"/>
                  <a:gd name="T5" fmla="*/ 164543 h 30"/>
                  <a:gd name="T6" fmla="*/ 2526434 w 64"/>
                  <a:gd name="T7" fmla="*/ 1014800 h 30"/>
                  <a:gd name="T8" fmla="*/ 2769191 w 64"/>
                  <a:gd name="T9" fmla="*/ 334571 h 30"/>
                  <a:gd name="T10" fmla="*/ 3688689 w 64"/>
                  <a:gd name="T11" fmla="*/ 763470 h 30"/>
                  <a:gd name="T12" fmla="*/ 5294520 w 64"/>
                  <a:gd name="T13" fmla="*/ 1014800 h 30"/>
                  <a:gd name="T14" fmla="*/ 5131819 w 64"/>
                  <a:gd name="T15" fmla="*/ 1716373 h 30"/>
                  <a:gd name="T16" fmla="*/ 3516756 w 64"/>
                  <a:gd name="T17" fmla="*/ 2063427 h 30"/>
                  <a:gd name="T18" fmla="*/ 1933957 w 64"/>
                  <a:gd name="T19" fmla="*/ 1982504 h 30"/>
                  <a:gd name="T20" fmla="*/ 1363294 w 64"/>
                  <a:gd name="T21" fmla="*/ 2398065 h 30"/>
                  <a:gd name="T22" fmla="*/ 242533 w 64"/>
                  <a:gd name="T23" fmla="*/ 1716373 h 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4" h="30">
                    <a:moveTo>
                      <a:pt x="3" y="20"/>
                    </a:moveTo>
                    <a:cubicBezTo>
                      <a:pt x="0" y="17"/>
                      <a:pt x="2" y="10"/>
                      <a:pt x="5" y="8"/>
                    </a:cubicBezTo>
                    <a:cubicBezTo>
                      <a:pt x="8" y="6"/>
                      <a:pt x="14" y="0"/>
                      <a:pt x="18" y="2"/>
                    </a:cubicBezTo>
                    <a:cubicBezTo>
                      <a:pt x="20" y="4"/>
                      <a:pt x="26" y="12"/>
                      <a:pt x="30" y="12"/>
                    </a:cubicBezTo>
                    <a:cubicBezTo>
                      <a:pt x="32" y="11"/>
                      <a:pt x="30" y="5"/>
                      <a:pt x="33" y="4"/>
                    </a:cubicBezTo>
                    <a:cubicBezTo>
                      <a:pt x="36" y="3"/>
                      <a:pt x="40" y="9"/>
                      <a:pt x="44" y="9"/>
                    </a:cubicBezTo>
                    <a:cubicBezTo>
                      <a:pt x="48" y="9"/>
                      <a:pt x="63" y="11"/>
                      <a:pt x="63" y="12"/>
                    </a:cubicBezTo>
                    <a:cubicBezTo>
                      <a:pt x="63" y="14"/>
                      <a:pt x="64" y="18"/>
                      <a:pt x="61" y="20"/>
                    </a:cubicBezTo>
                    <a:cubicBezTo>
                      <a:pt x="58" y="21"/>
                      <a:pt x="48" y="25"/>
                      <a:pt x="42" y="24"/>
                    </a:cubicBezTo>
                    <a:cubicBezTo>
                      <a:pt x="36" y="22"/>
                      <a:pt x="26" y="23"/>
                      <a:pt x="23" y="23"/>
                    </a:cubicBezTo>
                    <a:cubicBezTo>
                      <a:pt x="20" y="24"/>
                      <a:pt x="22" y="30"/>
                      <a:pt x="16" y="28"/>
                    </a:cubicBezTo>
                    <a:cubicBezTo>
                      <a:pt x="12" y="27"/>
                      <a:pt x="3" y="20"/>
                      <a:pt x="3" y="20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7" name="Freeform 93"/>
              <p:cNvSpPr>
                <a:spLocks/>
              </p:cNvSpPr>
              <p:nvPr/>
            </p:nvSpPr>
            <p:spPr bwMode="auto">
              <a:xfrm>
                <a:off x="4256" y="957"/>
                <a:ext cx="93" cy="55"/>
              </a:xfrm>
              <a:custGeom>
                <a:avLst/>
                <a:gdLst>
                  <a:gd name="T0" fmla="*/ 1160290 w 46"/>
                  <a:gd name="T1" fmla="*/ 1864881 h 27"/>
                  <a:gd name="T2" fmla="*/ 74044 w 46"/>
                  <a:gd name="T3" fmla="*/ 2122169 h 27"/>
                  <a:gd name="T4" fmla="*/ 537366 w 46"/>
                  <a:gd name="T5" fmla="*/ 1333577 h 27"/>
                  <a:gd name="T6" fmla="*/ 1318940 w 46"/>
                  <a:gd name="T7" fmla="*/ 167279 h 27"/>
                  <a:gd name="T8" fmla="*/ 1623645 w 46"/>
                  <a:gd name="T9" fmla="*/ 251063 h 27"/>
                  <a:gd name="T10" fmla="*/ 1963384 w 46"/>
                  <a:gd name="T11" fmla="*/ 0 h 27"/>
                  <a:gd name="T12" fmla="*/ 1963384 w 46"/>
                  <a:gd name="T13" fmla="*/ 954904 h 27"/>
                  <a:gd name="T14" fmla="*/ 2573726 w 46"/>
                  <a:gd name="T15" fmla="*/ 428057 h 27"/>
                  <a:gd name="T16" fmla="*/ 3358788 w 46"/>
                  <a:gd name="T17" fmla="*/ 954904 h 27"/>
                  <a:gd name="T18" fmla="*/ 3582297 w 46"/>
                  <a:gd name="T19" fmla="*/ 1413966 h 27"/>
                  <a:gd name="T20" fmla="*/ 3203579 w 46"/>
                  <a:gd name="T21" fmla="*/ 1776231 h 27"/>
                  <a:gd name="T22" fmla="*/ 2573726 w 46"/>
                  <a:gd name="T23" fmla="*/ 1776231 h 27"/>
                  <a:gd name="T24" fmla="*/ 1160290 w 46"/>
                  <a:gd name="T25" fmla="*/ 1864881 h 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6" h="27">
                    <a:moveTo>
                      <a:pt x="15" y="21"/>
                    </a:moveTo>
                    <a:cubicBezTo>
                      <a:pt x="12" y="21"/>
                      <a:pt x="2" y="27"/>
                      <a:pt x="1" y="24"/>
                    </a:cubicBezTo>
                    <a:cubicBezTo>
                      <a:pt x="0" y="21"/>
                      <a:pt x="5" y="18"/>
                      <a:pt x="7" y="15"/>
                    </a:cubicBezTo>
                    <a:cubicBezTo>
                      <a:pt x="9" y="13"/>
                      <a:pt x="14" y="2"/>
                      <a:pt x="17" y="2"/>
                    </a:cubicBezTo>
                    <a:cubicBezTo>
                      <a:pt x="20" y="1"/>
                      <a:pt x="18" y="3"/>
                      <a:pt x="21" y="3"/>
                    </a:cubicBezTo>
                    <a:cubicBezTo>
                      <a:pt x="24" y="3"/>
                      <a:pt x="23" y="0"/>
                      <a:pt x="25" y="0"/>
                    </a:cubicBezTo>
                    <a:cubicBezTo>
                      <a:pt x="26" y="0"/>
                      <a:pt x="22" y="11"/>
                      <a:pt x="25" y="11"/>
                    </a:cubicBezTo>
                    <a:cubicBezTo>
                      <a:pt x="28" y="11"/>
                      <a:pt x="32" y="4"/>
                      <a:pt x="33" y="5"/>
                    </a:cubicBezTo>
                    <a:cubicBezTo>
                      <a:pt x="35" y="5"/>
                      <a:pt x="42" y="11"/>
                      <a:pt x="43" y="11"/>
                    </a:cubicBezTo>
                    <a:cubicBezTo>
                      <a:pt x="44" y="11"/>
                      <a:pt x="46" y="14"/>
                      <a:pt x="46" y="16"/>
                    </a:cubicBezTo>
                    <a:cubicBezTo>
                      <a:pt x="46" y="17"/>
                      <a:pt x="44" y="20"/>
                      <a:pt x="41" y="20"/>
                    </a:cubicBezTo>
                    <a:cubicBezTo>
                      <a:pt x="39" y="20"/>
                      <a:pt x="35" y="20"/>
                      <a:pt x="33" y="20"/>
                    </a:cubicBezTo>
                    <a:cubicBezTo>
                      <a:pt x="30" y="20"/>
                      <a:pt x="18" y="20"/>
                      <a:pt x="15" y="21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8" name="Freeform 94"/>
              <p:cNvSpPr>
                <a:spLocks/>
              </p:cNvSpPr>
              <p:nvPr/>
            </p:nvSpPr>
            <p:spPr bwMode="auto">
              <a:xfrm>
                <a:off x="4167" y="933"/>
                <a:ext cx="99" cy="46"/>
              </a:xfrm>
              <a:custGeom>
                <a:avLst/>
                <a:gdLst>
                  <a:gd name="T0" fmla="*/ 73535 w 49"/>
                  <a:gd name="T1" fmla="*/ 589824 h 23"/>
                  <a:gd name="T2" fmla="*/ 758637 w 49"/>
                  <a:gd name="T3" fmla="*/ 262144 h 23"/>
                  <a:gd name="T4" fmla="*/ 1831775 w 49"/>
                  <a:gd name="T5" fmla="*/ 65536 h 23"/>
                  <a:gd name="T6" fmla="*/ 2475657 w 49"/>
                  <a:gd name="T7" fmla="*/ 65536 h 23"/>
                  <a:gd name="T8" fmla="*/ 2170502 w 49"/>
                  <a:gd name="T9" fmla="*/ 393216 h 23"/>
                  <a:gd name="T10" fmla="*/ 2775764 w 49"/>
                  <a:gd name="T11" fmla="*/ 393216 h 23"/>
                  <a:gd name="T12" fmla="*/ 3096793 w 49"/>
                  <a:gd name="T13" fmla="*/ 131072 h 23"/>
                  <a:gd name="T14" fmla="*/ 3776513 w 49"/>
                  <a:gd name="T15" fmla="*/ 327680 h 23"/>
                  <a:gd name="T16" fmla="*/ 3554294 w 49"/>
                  <a:gd name="T17" fmla="*/ 917504 h 23"/>
                  <a:gd name="T18" fmla="*/ 3700933 w 49"/>
                  <a:gd name="T19" fmla="*/ 1245184 h 23"/>
                  <a:gd name="T20" fmla="*/ 3478878 w 49"/>
                  <a:gd name="T21" fmla="*/ 1376256 h 23"/>
                  <a:gd name="T22" fmla="*/ 2327086 w 49"/>
                  <a:gd name="T23" fmla="*/ 1376256 h 23"/>
                  <a:gd name="T24" fmla="*/ 1831775 w 49"/>
                  <a:gd name="T25" fmla="*/ 1245184 h 23"/>
                  <a:gd name="T26" fmla="*/ 679993 w 49"/>
                  <a:gd name="T27" fmla="*/ 1179648 h 23"/>
                  <a:gd name="T28" fmla="*/ 448739 w 49"/>
                  <a:gd name="T29" fmla="*/ 786432 h 23"/>
                  <a:gd name="T30" fmla="*/ 73535 w 49"/>
                  <a:gd name="T31" fmla="*/ 589824 h 2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9" h="23">
                    <a:moveTo>
                      <a:pt x="1" y="9"/>
                    </a:moveTo>
                    <a:cubicBezTo>
                      <a:pt x="2" y="7"/>
                      <a:pt x="7" y="4"/>
                      <a:pt x="10" y="4"/>
                    </a:cubicBezTo>
                    <a:cubicBezTo>
                      <a:pt x="12" y="3"/>
                      <a:pt x="20" y="1"/>
                      <a:pt x="24" y="1"/>
                    </a:cubicBezTo>
                    <a:cubicBezTo>
                      <a:pt x="27" y="1"/>
                      <a:pt x="32" y="0"/>
                      <a:pt x="32" y="1"/>
                    </a:cubicBezTo>
                    <a:cubicBezTo>
                      <a:pt x="32" y="3"/>
                      <a:pt x="28" y="5"/>
                      <a:pt x="28" y="6"/>
                    </a:cubicBezTo>
                    <a:cubicBezTo>
                      <a:pt x="30" y="7"/>
                      <a:pt x="34" y="7"/>
                      <a:pt x="36" y="6"/>
                    </a:cubicBezTo>
                    <a:cubicBezTo>
                      <a:pt x="38" y="5"/>
                      <a:pt x="38" y="2"/>
                      <a:pt x="40" y="2"/>
                    </a:cubicBezTo>
                    <a:cubicBezTo>
                      <a:pt x="42" y="2"/>
                      <a:pt x="49" y="3"/>
                      <a:pt x="49" y="5"/>
                    </a:cubicBezTo>
                    <a:cubicBezTo>
                      <a:pt x="49" y="7"/>
                      <a:pt x="46" y="12"/>
                      <a:pt x="46" y="14"/>
                    </a:cubicBezTo>
                    <a:cubicBezTo>
                      <a:pt x="47" y="15"/>
                      <a:pt x="48" y="18"/>
                      <a:pt x="48" y="19"/>
                    </a:cubicBezTo>
                    <a:cubicBezTo>
                      <a:pt x="48" y="20"/>
                      <a:pt x="45" y="21"/>
                      <a:pt x="45" y="21"/>
                    </a:cubicBezTo>
                    <a:cubicBezTo>
                      <a:pt x="43" y="21"/>
                      <a:pt x="34" y="23"/>
                      <a:pt x="30" y="21"/>
                    </a:cubicBezTo>
                    <a:cubicBezTo>
                      <a:pt x="27" y="20"/>
                      <a:pt x="26" y="19"/>
                      <a:pt x="24" y="19"/>
                    </a:cubicBezTo>
                    <a:cubicBezTo>
                      <a:pt x="22" y="19"/>
                      <a:pt x="12" y="19"/>
                      <a:pt x="9" y="18"/>
                    </a:cubicBezTo>
                    <a:cubicBezTo>
                      <a:pt x="7" y="16"/>
                      <a:pt x="6" y="13"/>
                      <a:pt x="6" y="12"/>
                    </a:cubicBezTo>
                    <a:cubicBezTo>
                      <a:pt x="6" y="11"/>
                      <a:pt x="0" y="10"/>
                      <a:pt x="1" y="9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9" name="Freeform 95"/>
              <p:cNvSpPr>
                <a:spLocks/>
              </p:cNvSpPr>
              <p:nvPr/>
            </p:nvSpPr>
            <p:spPr bwMode="auto">
              <a:xfrm>
                <a:off x="4131" y="892"/>
                <a:ext cx="105" cy="57"/>
              </a:xfrm>
              <a:custGeom>
                <a:avLst/>
                <a:gdLst>
                  <a:gd name="T0" fmla="*/ 147838 w 52"/>
                  <a:gd name="T1" fmla="*/ 2351908 h 28"/>
                  <a:gd name="T2" fmla="*/ 0 w 52"/>
                  <a:gd name="T3" fmla="*/ 1931013 h 28"/>
                  <a:gd name="T4" fmla="*/ 298519 w 52"/>
                  <a:gd name="T5" fmla="*/ 1843319 h 28"/>
                  <a:gd name="T6" fmla="*/ 901306 w 52"/>
                  <a:gd name="T7" fmla="*/ 1741887 h 28"/>
                  <a:gd name="T8" fmla="*/ 602779 w 52"/>
                  <a:gd name="T9" fmla="*/ 1321626 h 28"/>
                  <a:gd name="T10" fmla="*/ 1064853 w 52"/>
                  <a:gd name="T11" fmla="*/ 948568 h 28"/>
                  <a:gd name="T12" fmla="*/ 1064853 w 52"/>
                  <a:gd name="T13" fmla="*/ 507245 h 28"/>
                  <a:gd name="T14" fmla="*/ 1745453 w 52"/>
                  <a:gd name="T15" fmla="*/ 338564 h 28"/>
                  <a:gd name="T16" fmla="*/ 2375631 w 52"/>
                  <a:gd name="T17" fmla="*/ 0 h 28"/>
                  <a:gd name="T18" fmla="*/ 2683019 w 52"/>
                  <a:gd name="T19" fmla="*/ 0 h 28"/>
                  <a:gd name="T20" fmla="*/ 3219365 w 52"/>
                  <a:gd name="T21" fmla="*/ 507245 h 28"/>
                  <a:gd name="T22" fmla="*/ 3895094 w 52"/>
                  <a:gd name="T23" fmla="*/ 689220 h 28"/>
                  <a:gd name="T24" fmla="*/ 3971104 w 52"/>
                  <a:gd name="T25" fmla="*/ 948568 h 28"/>
                  <a:gd name="T26" fmla="*/ 3524472 w 52"/>
                  <a:gd name="T27" fmla="*/ 1114871 h 28"/>
                  <a:gd name="T28" fmla="*/ 3524472 w 52"/>
                  <a:gd name="T29" fmla="*/ 1237036 h 28"/>
                  <a:gd name="T30" fmla="*/ 2904064 w 52"/>
                  <a:gd name="T31" fmla="*/ 1495067 h 28"/>
                  <a:gd name="T32" fmla="*/ 1819945 w 52"/>
                  <a:gd name="T33" fmla="*/ 1741887 h 28"/>
                  <a:gd name="T34" fmla="*/ 1365527 w 52"/>
                  <a:gd name="T35" fmla="*/ 2010986 h 28"/>
                  <a:gd name="T36" fmla="*/ 901306 w 52"/>
                  <a:gd name="T37" fmla="*/ 2431131 h 28"/>
                  <a:gd name="T38" fmla="*/ 147838 w 52"/>
                  <a:gd name="T39" fmla="*/ 2351908 h 2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2" h="28">
                    <a:moveTo>
                      <a:pt x="2" y="27"/>
                    </a:moveTo>
                    <a:cubicBezTo>
                      <a:pt x="0" y="26"/>
                      <a:pt x="0" y="24"/>
                      <a:pt x="0" y="22"/>
                    </a:cubicBezTo>
                    <a:cubicBezTo>
                      <a:pt x="0" y="20"/>
                      <a:pt x="2" y="21"/>
                      <a:pt x="4" y="21"/>
                    </a:cubicBezTo>
                    <a:cubicBezTo>
                      <a:pt x="6" y="21"/>
                      <a:pt x="11" y="20"/>
                      <a:pt x="12" y="20"/>
                    </a:cubicBezTo>
                    <a:cubicBezTo>
                      <a:pt x="13" y="20"/>
                      <a:pt x="8" y="17"/>
                      <a:pt x="8" y="15"/>
                    </a:cubicBezTo>
                    <a:cubicBezTo>
                      <a:pt x="7" y="12"/>
                      <a:pt x="13" y="13"/>
                      <a:pt x="14" y="11"/>
                    </a:cubicBezTo>
                    <a:cubicBezTo>
                      <a:pt x="15" y="9"/>
                      <a:pt x="12" y="7"/>
                      <a:pt x="14" y="6"/>
                    </a:cubicBezTo>
                    <a:cubicBezTo>
                      <a:pt x="16" y="6"/>
                      <a:pt x="23" y="4"/>
                      <a:pt x="23" y="4"/>
                    </a:cubicBezTo>
                    <a:cubicBezTo>
                      <a:pt x="27" y="3"/>
                      <a:pt x="30" y="0"/>
                      <a:pt x="31" y="0"/>
                    </a:cubicBezTo>
                    <a:cubicBezTo>
                      <a:pt x="32" y="0"/>
                      <a:pt x="35" y="0"/>
                      <a:pt x="35" y="0"/>
                    </a:cubicBezTo>
                    <a:cubicBezTo>
                      <a:pt x="35" y="0"/>
                      <a:pt x="41" y="5"/>
                      <a:pt x="42" y="6"/>
                    </a:cubicBezTo>
                    <a:cubicBezTo>
                      <a:pt x="44" y="6"/>
                      <a:pt x="51" y="8"/>
                      <a:pt x="51" y="8"/>
                    </a:cubicBezTo>
                    <a:cubicBezTo>
                      <a:pt x="52" y="11"/>
                      <a:pt x="52" y="11"/>
                      <a:pt x="52" y="11"/>
                    </a:cubicBezTo>
                    <a:cubicBezTo>
                      <a:pt x="52" y="11"/>
                      <a:pt x="46" y="12"/>
                      <a:pt x="46" y="13"/>
                    </a:cubicBezTo>
                    <a:cubicBezTo>
                      <a:pt x="45" y="14"/>
                      <a:pt x="46" y="13"/>
                      <a:pt x="46" y="14"/>
                    </a:cubicBezTo>
                    <a:cubicBezTo>
                      <a:pt x="46" y="15"/>
                      <a:pt x="42" y="17"/>
                      <a:pt x="38" y="17"/>
                    </a:cubicBezTo>
                    <a:cubicBezTo>
                      <a:pt x="34" y="17"/>
                      <a:pt x="27" y="18"/>
                      <a:pt x="24" y="20"/>
                    </a:cubicBezTo>
                    <a:cubicBezTo>
                      <a:pt x="20" y="21"/>
                      <a:pt x="19" y="21"/>
                      <a:pt x="18" y="23"/>
                    </a:cubicBezTo>
                    <a:cubicBezTo>
                      <a:pt x="16" y="24"/>
                      <a:pt x="14" y="28"/>
                      <a:pt x="12" y="28"/>
                    </a:cubicBezTo>
                    <a:cubicBezTo>
                      <a:pt x="10" y="28"/>
                      <a:pt x="4" y="28"/>
                      <a:pt x="2" y="27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0" name="Freeform 96"/>
              <p:cNvSpPr>
                <a:spLocks/>
              </p:cNvSpPr>
              <p:nvPr/>
            </p:nvSpPr>
            <p:spPr bwMode="auto">
              <a:xfrm>
                <a:off x="3511" y="1036"/>
                <a:ext cx="275" cy="198"/>
              </a:xfrm>
              <a:custGeom>
                <a:avLst/>
                <a:gdLst>
                  <a:gd name="T0" fmla="*/ 1238707 w 136"/>
                  <a:gd name="T1" fmla="*/ 6796853 h 98"/>
                  <a:gd name="T2" fmla="*/ 379286 w 136"/>
                  <a:gd name="T3" fmla="*/ 6570287 h 98"/>
                  <a:gd name="T4" fmla="*/ 302957 w 136"/>
                  <a:gd name="T5" fmla="*/ 5871468 h 98"/>
                  <a:gd name="T6" fmla="*/ 840887 w 136"/>
                  <a:gd name="T7" fmla="*/ 5608176 h 98"/>
                  <a:gd name="T8" fmla="*/ 1238707 w 136"/>
                  <a:gd name="T9" fmla="*/ 4607502 h 98"/>
                  <a:gd name="T10" fmla="*/ 1887592 w 136"/>
                  <a:gd name="T11" fmla="*/ 4307399 h 98"/>
                  <a:gd name="T12" fmla="*/ 1700323 w 136"/>
                  <a:gd name="T13" fmla="*/ 3848964 h 98"/>
                  <a:gd name="T14" fmla="*/ 2674070 w 136"/>
                  <a:gd name="T15" fmla="*/ 3096793 h 98"/>
                  <a:gd name="T16" fmla="*/ 3135801 w 136"/>
                  <a:gd name="T17" fmla="*/ 2775764 h 98"/>
                  <a:gd name="T18" fmla="*/ 3290080 w 136"/>
                  <a:gd name="T19" fmla="*/ 2095757 h 98"/>
                  <a:gd name="T20" fmla="*/ 4205057 w 136"/>
                  <a:gd name="T21" fmla="*/ 1682939 h 98"/>
                  <a:gd name="T22" fmla="*/ 5554652 w 136"/>
                  <a:gd name="T23" fmla="*/ 1151790 h 98"/>
                  <a:gd name="T24" fmla="*/ 6266793 w 136"/>
                  <a:gd name="T25" fmla="*/ 832970 h 98"/>
                  <a:gd name="T26" fmla="*/ 7026713 w 136"/>
                  <a:gd name="T27" fmla="*/ 906636 h 98"/>
                  <a:gd name="T28" fmla="*/ 8579713 w 136"/>
                  <a:gd name="T29" fmla="*/ 606474 h 98"/>
                  <a:gd name="T30" fmla="*/ 9854765 w 136"/>
                  <a:gd name="T31" fmla="*/ 0 h 98"/>
                  <a:gd name="T32" fmla="*/ 10619384 w 136"/>
                  <a:gd name="T33" fmla="*/ 375487 h 98"/>
                  <a:gd name="T34" fmla="*/ 10092642 w 136"/>
                  <a:gd name="T35" fmla="*/ 1074289 h 98"/>
                  <a:gd name="T36" fmla="*/ 5943423 w 136"/>
                  <a:gd name="T37" fmla="*/ 2244021 h 98"/>
                  <a:gd name="T38" fmla="*/ 4677028 w 136"/>
                  <a:gd name="T39" fmla="*/ 3168976 h 98"/>
                  <a:gd name="T40" fmla="*/ 3438153 w 136"/>
                  <a:gd name="T41" fmla="*/ 4149599 h 98"/>
                  <a:gd name="T42" fmla="*/ 2504738 w 136"/>
                  <a:gd name="T43" fmla="*/ 5386077 h 98"/>
                  <a:gd name="T44" fmla="*/ 2747028 w 136"/>
                  <a:gd name="T45" fmla="*/ 6402625 h 98"/>
                  <a:gd name="T46" fmla="*/ 3899876 w 136"/>
                  <a:gd name="T47" fmla="*/ 7327780 h 98"/>
                  <a:gd name="T48" fmla="*/ 2826084 w 136"/>
                  <a:gd name="T49" fmla="*/ 7403192 h 98"/>
                  <a:gd name="T50" fmla="*/ 1813483 w 136"/>
                  <a:gd name="T51" fmla="*/ 7327780 h 98"/>
                  <a:gd name="T52" fmla="*/ 1238707 w 136"/>
                  <a:gd name="T53" fmla="*/ 6796853 h 9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36" h="98">
                    <a:moveTo>
                      <a:pt x="16" y="88"/>
                    </a:moveTo>
                    <a:cubicBezTo>
                      <a:pt x="14" y="85"/>
                      <a:pt x="7" y="87"/>
                      <a:pt x="5" y="85"/>
                    </a:cubicBezTo>
                    <a:cubicBezTo>
                      <a:pt x="3" y="83"/>
                      <a:pt x="0" y="78"/>
                      <a:pt x="4" y="76"/>
                    </a:cubicBezTo>
                    <a:cubicBezTo>
                      <a:pt x="7" y="74"/>
                      <a:pt x="11" y="73"/>
                      <a:pt x="11" y="73"/>
                    </a:cubicBezTo>
                    <a:cubicBezTo>
                      <a:pt x="11" y="73"/>
                      <a:pt x="14" y="63"/>
                      <a:pt x="16" y="60"/>
                    </a:cubicBezTo>
                    <a:cubicBezTo>
                      <a:pt x="18" y="58"/>
                      <a:pt x="24" y="58"/>
                      <a:pt x="24" y="56"/>
                    </a:cubicBezTo>
                    <a:cubicBezTo>
                      <a:pt x="26" y="55"/>
                      <a:pt x="22" y="52"/>
                      <a:pt x="22" y="50"/>
                    </a:cubicBezTo>
                    <a:cubicBezTo>
                      <a:pt x="23" y="48"/>
                      <a:pt x="32" y="41"/>
                      <a:pt x="34" y="40"/>
                    </a:cubicBezTo>
                    <a:cubicBezTo>
                      <a:pt x="35" y="38"/>
                      <a:pt x="40" y="38"/>
                      <a:pt x="40" y="36"/>
                    </a:cubicBezTo>
                    <a:cubicBezTo>
                      <a:pt x="42" y="34"/>
                      <a:pt x="40" y="29"/>
                      <a:pt x="42" y="27"/>
                    </a:cubicBezTo>
                    <a:cubicBezTo>
                      <a:pt x="44" y="26"/>
                      <a:pt x="52" y="23"/>
                      <a:pt x="54" y="22"/>
                    </a:cubicBezTo>
                    <a:cubicBezTo>
                      <a:pt x="56" y="20"/>
                      <a:pt x="71" y="15"/>
                      <a:pt x="71" y="15"/>
                    </a:cubicBezTo>
                    <a:cubicBezTo>
                      <a:pt x="71" y="15"/>
                      <a:pt x="79" y="11"/>
                      <a:pt x="80" y="11"/>
                    </a:cubicBezTo>
                    <a:cubicBezTo>
                      <a:pt x="82" y="11"/>
                      <a:pt x="86" y="12"/>
                      <a:pt x="90" y="12"/>
                    </a:cubicBezTo>
                    <a:cubicBezTo>
                      <a:pt x="93" y="12"/>
                      <a:pt x="108" y="10"/>
                      <a:pt x="110" y="8"/>
                    </a:cubicBezTo>
                    <a:cubicBezTo>
                      <a:pt x="114" y="6"/>
                      <a:pt x="120" y="0"/>
                      <a:pt x="126" y="0"/>
                    </a:cubicBezTo>
                    <a:cubicBezTo>
                      <a:pt x="132" y="0"/>
                      <a:pt x="136" y="1"/>
                      <a:pt x="136" y="5"/>
                    </a:cubicBezTo>
                    <a:cubicBezTo>
                      <a:pt x="135" y="8"/>
                      <a:pt x="132" y="14"/>
                      <a:pt x="129" y="14"/>
                    </a:cubicBezTo>
                    <a:cubicBezTo>
                      <a:pt x="126" y="14"/>
                      <a:pt x="82" y="26"/>
                      <a:pt x="76" y="29"/>
                    </a:cubicBezTo>
                    <a:cubicBezTo>
                      <a:pt x="69" y="32"/>
                      <a:pt x="63" y="40"/>
                      <a:pt x="60" y="41"/>
                    </a:cubicBezTo>
                    <a:cubicBezTo>
                      <a:pt x="56" y="43"/>
                      <a:pt x="48" y="50"/>
                      <a:pt x="44" y="54"/>
                    </a:cubicBezTo>
                    <a:cubicBezTo>
                      <a:pt x="41" y="58"/>
                      <a:pt x="32" y="65"/>
                      <a:pt x="32" y="70"/>
                    </a:cubicBezTo>
                    <a:cubicBezTo>
                      <a:pt x="32" y="76"/>
                      <a:pt x="32" y="80"/>
                      <a:pt x="35" y="83"/>
                    </a:cubicBezTo>
                    <a:cubicBezTo>
                      <a:pt x="38" y="87"/>
                      <a:pt x="52" y="93"/>
                      <a:pt x="50" y="95"/>
                    </a:cubicBezTo>
                    <a:cubicBezTo>
                      <a:pt x="48" y="97"/>
                      <a:pt x="40" y="98"/>
                      <a:pt x="36" y="96"/>
                    </a:cubicBezTo>
                    <a:cubicBezTo>
                      <a:pt x="30" y="95"/>
                      <a:pt x="23" y="95"/>
                      <a:pt x="23" y="95"/>
                    </a:cubicBezTo>
                    <a:cubicBezTo>
                      <a:pt x="18" y="93"/>
                      <a:pt x="18" y="90"/>
                      <a:pt x="16" y="88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1" name="Freeform 97"/>
              <p:cNvSpPr>
                <a:spLocks/>
              </p:cNvSpPr>
              <p:nvPr/>
            </p:nvSpPr>
            <p:spPr bwMode="auto">
              <a:xfrm>
                <a:off x="3460" y="1263"/>
                <a:ext cx="39" cy="22"/>
              </a:xfrm>
              <a:custGeom>
                <a:avLst/>
                <a:gdLst>
                  <a:gd name="T0" fmla="*/ 872607 w 19"/>
                  <a:gd name="T1" fmla="*/ 720896 h 11"/>
                  <a:gd name="T2" fmla="*/ 90443 w 19"/>
                  <a:gd name="T3" fmla="*/ 589824 h 11"/>
                  <a:gd name="T4" fmla="*/ 588030 w 19"/>
                  <a:gd name="T5" fmla="*/ 0 h 11"/>
                  <a:gd name="T6" fmla="*/ 1504413 w 19"/>
                  <a:gd name="T7" fmla="*/ 65536 h 11"/>
                  <a:gd name="T8" fmla="*/ 1791141 w 19"/>
                  <a:gd name="T9" fmla="*/ 393216 h 11"/>
                  <a:gd name="T10" fmla="*/ 872607 w 19"/>
                  <a:gd name="T11" fmla="*/ 720896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" h="11">
                    <a:moveTo>
                      <a:pt x="9" y="11"/>
                    </a:moveTo>
                    <a:cubicBezTo>
                      <a:pt x="7" y="11"/>
                      <a:pt x="2" y="10"/>
                      <a:pt x="1" y="9"/>
                    </a:cubicBezTo>
                    <a:cubicBezTo>
                      <a:pt x="0" y="7"/>
                      <a:pt x="4" y="1"/>
                      <a:pt x="6" y="0"/>
                    </a:cubicBezTo>
                    <a:cubicBezTo>
                      <a:pt x="7" y="0"/>
                      <a:pt x="12" y="0"/>
                      <a:pt x="15" y="1"/>
                    </a:cubicBezTo>
                    <a:cubicBezTo>
                      <a:pt x="17" y="3"/>
                      <a:pt x="19" y="5"/>
                      <a:pt x="18" y="6"/>
                    </a:cubicBezTo>
                    <a:cubicBezTo>
                      <a:pt x="17" y="7"/>
                      <a:pt x="12" y="11"/>
                      <a:pt x="9" y="11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2" name="Freeform 98"/>
              <p:cNvSpPr>
                <a:spLocks/>
              </p:cNvSpPr>
              <p:nvPr/>
            </p:nvSpPr>
            <p:spPr bwMode="auto">
              <a:xfrm>
                <a:off x="3141" y="1014"/>
                <a:ext cx="2522" cy="872"/>
              </a:xfrm>
              <a:custGeom>
                <a:avLst/>
                <a:gdLst>
                  <a:gd name="T0" fmla="*/ 1758994 w 1246"/>
                  <a:gd name="T1" fmla="*/ 18928142 h 431"/>
                  <a:gd name="T2" fmla="*/ 1418674 w 1246"/>
                  <a:gd name="T3" fmla="*/ 14492707 h 431"/>
                  <a:gd name="T4" fmla="*/ 1683834 w 1246"/>
                  <a:gd name="T5" fmla="*/ 9860149 h 431"/>
                  <a:gd name="T6" fmla="*/ 7924458 w 1246"/>
                  <a:gd name="T7" fmla="*/ 11345821 h 431"/>
                  <a:gd name="T8" fmla="*/ 2785081 w 1246"/>
                  <a:gd name="T9" fmla="*/ 12154674 h 431"/>
                  <a:gd name="T10" fmla="*/ 6431175 w 1246"/>
                  <a:gd name="T11" fmla="*/ 15465729 h 431"/>
                  <a:gd name="T12" fmla="*/ 7532074 w 1246"/>
                  <a:gd name="T13" fmla="*/ 13792242 h 431"/>
                  <a:gd name="T14" fmla="*/ 10306722 w 1246"/>
                  <a:gd name="T15" fmla="*/ 11497628 h 431"/>
                  <a:gd name="T16" fmla="*/ 11599473 w 1246"/>
                  <a:gd name="T17" fmla="*/ 12536420 h 431"/>
                  <a:gd name="T18" fmla="*/ 17457867 w 1246"/>
                  <a:gd name="T19" fmla="*/ 10555180 h 431"/>
                  <a:gd name="T20" fmla="*/ 19139452 w 1246"/>
                  <a:gd name="T21" fmla="*/ 8762596 h 431"/>
                  <a:gd name="T22" fmla="*/ 24504183 w 1246"/>
                  <a:gd name="T23" fmla="*/ 9627685 h 431"/>
                  <a:gd name="T24" fmla="*/ 27524430 w 1246"/>
                  <a:gd name="T25" fmla="*/ 6242421 h 431"/>
                  <a:gd name="T26" fmla="*/ 27600902 w 1246"/>
                  <a:gd name="T27" fmla="*/ 11181854 h 431"/>
                  <a:gd name="T28" fmla="*/ 28262299 w 1246"/>
                  <a:gd name="T29" fmla="*/ 11916266 h 431"/>
                  <a:gd name="T30" fmla="*/ 30935026 w 1246"/>
                  <a:gd name="T31" fmla="*/ 11645843 h 431"/>
                  <a:gd name="T32" fmla="*/ 28262299 w 1246"/>
                  <a:gd name="T33" fmla="*/ 8993658 h 431"/>
                  <a:gd name="T34" fmla="*/ 29208337 w 1246"/>
                  <a:gd name="T35" fmla="*/ 7244404 h 431"/>
                  <a:gd name="T36" fmla="*/ 29984020 w 1246"/>
                  <a:gd name="T37" fmla="*/ 6928556 h 431"/>
                  <a:gd name="T38" fmla="*/ 32857741 w 1246"/>
                  <a:gd name="T39" fmla="*/ 7244404 h 431"/>
                  <a:gd name="T40" fmla="*/ 34186382 w 1246"/>
                  <a:gd name="T41" fmla="*/ 8527986 h 431"/>
                  <a:gd name="T42" fmla="*/ 36111577 w 1246"/>
                  <a:gd name="T43" fmla="*/ 4721866 h 431"/>
                  <a:gd name="T44" fmla="*/ 41084993 w 1246"/>
                  <a:gd name="T45" fmla="*/ 1981233 h 431"/>
                  <a:gd name="T46" fmla="*/ 46746171 w 1246"/>
                  <a:gd name="T47" fmla="*/ 0 h 431"/>
                  <a:gd name="T48" fmla="*/ 50392230 w 1246"/>
                  <a:gd name="T49" fmla="*/ 1172411 h 431"/>
                  <a:gd name="T50" fmla="*/ 48274314 w 1246"/>
                  <a:gd name="T51" fmla="*/ 4947323 h 431"/>
                  <a:gd name="T52" fmla="*/ 51833818 w 1246"/>
                  <a:gd name="T53" fmla="*/ 4873537 h 431"/>
                  <a:gd name="T54" fmla="*/ 58188790 w 1246"/>
                  <a:gd name="T55" fmla="*/ 5217067 h 431"/>
                  <a:gd name="T56" fmla="*/ 61521789 w 1246"/>
                  <a:gd name="T57" fmla="*/ 7005181 h 431"/>
                  <a:gd name="T58" fmla="*/ 65635111 w 1246"/>
                  <a:gd name="T59" fmla="*/ 7319362 h 431"/>
                  <a:gd name="T60" fmla="*/ 67801683 w 1246"/>
                  <a:gd name="T61" fmla="*/ 6624179 h 431"/>
                  <a:gd name="T62" fmla="*/ 73868117 w 1246"/>
                  <a:gd name="T63" fmla="*/ 6624179 h 431"/>
                  <a:gd name="T64" fmla="*/ 80300387 w 1246"/>
                  <a:gd name="T65" fmla="*/ 9393740 h 431"/>
                  <a:gd name="T66" fmla="*/ 86186595 w 1246"/>
                  <a:gd name="T67" fmla="*/ 10091140 h 431"/>
                  <a:gd name="T68" fmla="*/ 93242022 w 1246"/>
                  <a:gd name="T69" fmla="*/ 10481930 h 431"/>
                  <a:gd name="T70" fmla="*/ 97946376 w 1246"/>
                  <a:gd name="T71" fmla="*/ 13713284 h 431"/>
                  <a:gd name="T72" fmla="*/ 93880019 w 1246"/>
                  <a:gd name="T73" fmla="*/ 13866032 h 431"/>
                  <a:gd name="T74" fmla="*/ 90365899 w 1246"/>
                  <a:gd name="T75" fmla="*/ 14733630 h 431"/>
                  <a:gd name="T76" fmla="*/ 88020603 w 1246"/>
                  <a:gd name="T77" fmla="*/ 17970004 h 431"/>
                  <a:gd name="T78" fmla="*/ 82383950 w 1246"/>
                  <a:gd name="T79" fmla="*/ 19718817 h 431"/>
                  <a:gd name="T80" fmla="*/ 81831858 w 1246"/>
                  <a:gd name="T81" fmla="*/ 22394285 h 431"/>
                  <a:gd name="T82" fmla="*/ 79372410 w 1246"/>
                  <a:gd name="T83" fmla="*/ 25933859 h 431"/>
                  <a:gd name="T84" fmla="*/ 81676233 w 1246"/>
                  <a:gd name="T85" fmla="*/ 18651633 h 431"/>
                  <a:gd name="T86" fmla="*/ 80702312 w 1246"/>
                  <a:gd name="T87" fmla="*/ 18274312 h 431"/>
                  <a:gd name="T88" fmla="*/ 76890944 w 1246"/>
                  <a:gd name="T89" fmla="*/ 19949072 h 431"/>
                  <a:gd name="T90" fmla="*/ 68654710 w 1246"/>
                  <a:gd name="T91" fmla="*/ 20871553 h 431"/>
                  <a:gd name="T92" fmla="*/ 67514238 w 1246"/>
                  <a:gd name="T93" fmla="*/ 23877681 h 431"/>
                  <a:gd name="T94" fmla="*/ 65016603 w 1246"/>
                  <a:gd name="T95" fmla="*/ 32480879 h 431"/>
                  <a:gd name="T96" fmla="*/ 64180081 w 1246"/>
                  <a:gd name="T97" fmla="*/ 31142064 h 431"/>
                  <a:gd name="T98" fmla="*/ 59758472 w 1246"/>
                  <a:gd name="T99" fmla="*/ 25050063 h 431"/>
                  <a:gd name="T100" fmla="*/ 53483277 w 1246"/>
                  <a:gd name="T101" fmla="*/ 27263274 h 431"/>
                  <a:gd name="T102" fmla="*/ 43412062 w 1246"/>
                  <a:gd name="T103" fmla="*/ 25626801 h 431"/>
                  <a:gd name="T104" fmla="*/ 36750264 w 1246"/>
                  <a:gd name="T105" fmla="*/ 28053782 h 431"/>
                  <a:gd name="T106" fmla="*/ 30244004 w 1246"/>
                  <a:gd name="T107" fmla="*/ 24433828 h 431"/>
                  <a:gd name="T108" fmla="*/ 23553108 w 1246"/>
                  <a:gd name="T109" fmla="*/ 23643293 h 431"/>
                  <a:gd name="T110" fmla="*/ 19522515 w 1246"/>
                  <a:gd name="T111" fmla="*/ 26879659 h 431"/>
                  <a:gd name="T112" fmla="*/ 12786161 w 1246"/>
                  <a:gd name="T113" fmla="*/ 27570473 h 431"/>
                  <a:gd name="T114" fmla="*/ 12633720 w 1246"/>
                  <a:gd name="T115" fmla="*/ 30655888 h 431"/>
                  <a:gd name="T116" fmla="*/ 11839531 w 1246"/>
                  <a:gd name="T117" fmla="*/ 33662275 h 431"/>
                  <a:gd name="T118" fmla="*/ 6814185 w 1246"/>
                  <a:gd name="T119" fmla="*/ 31748788 h 431"/>
                  <a:gd name="T120" fmla="*/ 6662907 w 1246"/>
                  <a:gd name="T121" fmla="*/ 29504389 h 431"/>
                  <a:gd name="T122" fmla="*/ 3952828 w 1246"/>
                  <a:gd name="T123" fmla="*/ 25438625 h 43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246" h="431">
                    <a:moveTo>
                      <a:pt x="16" y="286"/>
                    </a:moveTo>
                    <a:cubicBezTo>
                      <a:pt x="13" y="285"/>
                      <a:pt x="8" y="284"/>
                      <a:pt x="6" y="284"/>
                    </a:cubicBezTo>
                    <a:cubicBezTo>
                      <a:pt x="5" y="284"/>
                      <a:pt x="5" y="278"/>
                      <a:pt x="4" y="276"/>
                    </a:cubicBezTo>
                    <a:cubicBezTo>
                      <a:pt x="4" y="274"/>
                      <a:pt x="3" y="268"/>
                      <a:pt x="2" y="268"/>
                    </a:cubicBezTo>
                    <a:cubicBezTo>
                      <a:pt x="1" y="267"/>
                      <a:pt x="0" y="261"/>
                      <a:pt x="1" y="258"/>
                    </a:cubicBezTo>
                    <a:cubicBezTo>
                      <a:pt x="5" y="247"/>
                      <a:pt x="5" y="247"/>
                      <a:pt x="5" y="247"/>
                    </a:cubicBezTo>
                    <a:cubicBezTo>
                      <a:pt x="6" y="247"/>
                      <a:pt x="6" y="243"/>
                      <a:pt x="7" y="242"/>
                    </a:cubicBezTo>
                    <a:cubicBezTo>
                      <a:pt x="9" y="242"/>
                      <a:pt x="18" y="242"/>
                      <a:pt x="19" y="242"/>
                    </a:cubicBezTo>
                    <a:cubicBezTo>
                      <a:pt x="20" y="242"/>
                      <a:pt x="22" y="241"/>
                      <a:pt x="22" y="240"/>
                    </a:cubicBezTo>
                    <a:cubicBezTo>
                      <a:pt x="22" y="239"/>
                      <a:pt x="15" y="238"/>
                      <a:pt x="14" y="237"/>
                    </a:cubicBezTo>
                    <a:cubicBezTo>
                      <a:pt x="13" y="236"/>
                      <a:pt x="10" y="234"/>
                      <a:pt x="10" y="232"/>
                    </a:cubicBezTo>
                    <a:cubicBezTo>
                      <a:pt x="10" y="232"/>
                      <a:pt x="10" y="232"/>
                      <a:pt x="8" y="232"/>
                    </a:cubicBezTo>
                    <a:cubicBezTo>
                      <a:pt x="12" y="227"/>
                      <a:pt x="12" y="227"/>
                      <a:pt x="12" y="227"/>
                    </a:cubicBezTo>
                    <a:cubicBezTo>
                      <a:pt x="14" y="225"/>
                      <a:pt x="30" y="212"/>
                      <a:pt x="31" y="209"/>
                    </a:cubicBezTo>
                    <a:cubicBezTo>
                      <a:pt x="32" y="206"/>
                      <a:pt x="31" y="203"/>
                      <a:pt x="28" y="202"/>
                    </a:cubicBezTo>
                    <a:cubicBezTo>
                      <a:pt x="26" y="201"/>
                      <a:pt x="21" y="199"/>
                      <a:pt x="21" y="197"/>
                    </a:cubicBezTo>
                    <a:cubicBezTo>
                      <a:pt x="20" y="196"/>
                      <a:pt x="25" y="192"/>
                      <a:pt x="24" y="190"/>
                    </a:cubicBezTo>
                    <a:cubicBezTo>
                      <a:pt x="23" y="188"/>
                      <a:pt x="18" y="187"/>
                      <a:pt x="18" y="184"/>
                    </a:cubicBezTo>
                    <a:cubicBezTo>
                      <a:pt x="19" y="180"/>
                      <a:pt x="20" y="177"/>
                      <a:pt x="20" y="174"/>
                    </a:cubicBezTo>
                    <a:cubicBezTo>
                      <a:pt x="20" y="172"/>
                      <a:pt x="20" y="168"/>
                      <a:pt x="19" y="166"/>
                    </a:cubicBezTo>
                    <a:cubicBezTo>
                      <a:pt x="18" y="163"/>
                      <a:pt x="13" y="160"/>
                      <a:pt x="14" y="157"/>
                    </a:cubicBezTo>
                    <a:cubicBezTo>
                      <a:pt x="14" y="154"/>
                      <a:pt x="20" y="150"/>
                      <a:pt x="20" y="147"/>
                    </a:cubicBezTo>
                    <a:cubicBezTo>
                      <a:pt x="20" y="145"/>
                      <a:pt x="13" y="143"/>
                      <a:pt x="11" y="141"/>
                    </a:cubicBezTo>
                    <a:cubicBezTo>
                      <a:pt x="10" y="139"/>
                      <a:pt x="10" y="136"/>
                      <a:pt x="10" y="136"/>
                    </a:cubicBezTo>
                    <a:cubicBezTo>
                      <a:pt x="12" y="131"/>
                      <a:pt x="12" y="131"/>
                      <a:pt x="12" y="131"/>
                    </a:cubicBezTo>
                    <a:cubicBezTo>
                      <a:pt x="14" y="132"/>
                      <a:pt x="16" y="132"/>
                      <a:pt x="16" y="130"/>
                    </a:cubicBezTo>
                    <a:cubicBezTo>
                      <a:pt x="16" y="124"/>
                      <a:pt x="19" y="127"/>
                      <a:pt x="21" y="125"/>
                    </a:cubicBezTo>
                    <a:cubicBezTo>
                      <a:pt x="22" y="123"/>
                      <a:pt x="23" y="119"/>
                      <a:pt x="23" y="119"/>
                    </a:cubicBezTo>
                    <a:cubicBezTo>
                      <a:pt x="26" y="120"/>
                      <a:pt x="34" y="122"/>
                      <a:pt x="35" y="122"/>
                    </a:cubicBezTo>
                    <a:cubicBezTo>
                      <a:pt x="36" y="122"/>
                      <a:pt x="35" y="118"/>
                      <a:pt x="38" y="119"/>
                    </a:cubicBezTo>
                    <a:cubicBezTo>
                      <a:pt x="41" y="119"/>
                      <a:pt x="45" y="119"/>
                      <a:pt x="45" y="120"/>
                    </a:cubicBezTo>
                    <a:cubicBezTo>
                      <a:pt x="45" y="121"/>
                      <a:pt x="41" y="122"/>
                      <a:pt x="41" y="124"/>
                    </a:cubicBezTo>
                    <a:cubicBezTo>
                      <a:pt x="41" y="125"/>
                      <a:pt x="46" y="125"/>
                      <a:pt x="50" y="125"/>
                    </a:cubicBezTo>
                    <a:cubicBezTo>
                      <a:pt x="54" y="126"/>
                      <a:pt x="61" y="126"/>
                      <a:pt x="64" y="127"/>
                    </a:cubicBezTo>
                    <a:cubicBezTo>
                      <a:pt x="68" y="128"/>
                      <a:pt x="80" y="133"/>
                      <a:pt x="83" y="136"/>
                    </a:cubicBezTo>
                    <a:cubicBezTo>
                      <a:pt x="86" y="138"/>
                      <a:pt x="98" y="144"/>
                      <a:pt x="100" y="144"/>
                    </a:cubicBezTo>
                    <a:cubicBezTo>
                      <a:pt x="102" y="144"/>
                      <a:pt x="105" y="145"/>
                      <a:pt x="105" y="146"/>
                    </a:cubicBezTo>
                    <a:cubicBezTo>
                      <a:pt x="106" y="147"/>
                      <a:pt x="105" y="151"/>
                      <a:pt x="106" y="152"/>
                    </a:cubicBezTo>
                    <a:cubicBezTo>
                      <a:pt x="107" y="154"/>
                      <a:pt x="108" y="157"/>
                      <a:pt x="105" y="159"/>
                    </a:cubicBezTo>
                    <a:cubicBezTo>
                      <a:pt x="103" y="160"/>
                      <a:pt x="100" y="165"/>
                      <a:pt x="93" y="166"/>
                    </a:cubicBezTo>
                    <a:cubicBezTo>
                      <a:pt x="79" y="169"/>
                      <a:pt x="75" y="165"/>
                      <a:pt x="73" y="164"/>
                    </a:cubicBezTo>
                    <a:cubicBezTo>
                      <a:pt x="70" y="164"/>
                      <a:pt x="64" y="163"/>
                      <a:pt x="61" y="162"/>
                    </a:cubicBezTo>
                    <a:cubicBezTo>
                      <a:pt x="58" y="160"/>
                      <a:pt x="52" y="158"/>
                      <a:pt x="49" y="157"/>
                    </a:cubicBezTo>
                    <a:cubicBezTo>
                      <a:pt x="46" y="156"/>
                      <a:pt x="44" y="155"/>
                      <a:pt x="42" y="154"/>
                    </a:cubicBezTo>
                    <a:cubicBezTo>
                      <a:pt x="39" y="153"/>
                      <a:pt x="36" y="153"/>
                      <a:pt x="35" y="154"/>
                    </a:cubicBezTo>
                    <a:cubicBezTo>
                      <a:pt x="34" y="154"/>
                      <a:pt x="38" y="157"/>
                      <a:pt x="39" y="159"/>
                    </a:cubicBezTo>
                    <a:cubicBezTo>
                      <a:pt x="41" y="160"/>
                      <a:pt x="46" y="164"/>
                      <a:pt x="50" y="166"/>
                    </a:cubicBezTo>
                    <a:cubicBezTo>
                      <a:pt x="53" y="168"/>
                      <a:pt x="57" y="169"/>
                      <a:pt x="57" y="171"/>
                    </a:cubicBezTo>
                    <a:cubicBezTo>
                      <a:pt x="56" y="173"/>
                      <a:pt x="53" y="176"/>
                      <a:pt x="54" y="177"/>
                    </a:cubicBezTo>
                    <a:cubicBezTo>
                      <a:pt x="55" y="178"/>
                      <a:pt x="58" y="182"/>
                      <a:pt x="58" y="183"/>
                    </a:cubicBezTo>
                    <a:cubicBezTo>
                      <a:pt x="58" y="185"/>
                      <a:pt x="58" y="187"/>
                      <a:pt x="59" y="188"/>
                    </a:cubicBezTo>
                    <a:cubicBezTo>
                      <a:pt x="61" y="190"/>
                      <a:pt x="66" y="189"/>
                      <a:pt x="66" y="190"/>
                    </a:cubicBezTo>
                    <a:cubicBezTo>
                      <a:pt x="67" y="192"/>
                      <a:pt x="69" y="194"/>
                      <a:pt x="72" y="195"/>
                    </a:cubicBezTo>
                    <a:cubicBezTo>
                      <a:pt x="74" y="196"/>
                      <a:pt x="80" y="197"/>
                      <a:pt x="81" y="196"/>
                    </a:cubicBezTo>
                    <a:cubicBezTo>
                      <a:pt x="82" y="195"/>
                      <a:pt x="83" y="191"/>
                      <a:pt x="81" y="189"/>
                    </a:cubicBezTo>
                    <a:cubicBezTo>
                      <a:pt x="79" y="187"/>
                      <a:pt x="76" y="188"/>
                      <a:pt x="74" y="187"/>
                    </a:cubicBezTo>
                    <a:cubicBezTo>
                      <a:pt x="73" y="186"/>
                      <a:pt x="70" y="184"/>
                      <a:pt x="70" y="183"/>
                    </a:cubicBezTo>
                    <a:cubicBezTo>
                      <a:pt x="70" y="182"/>
                      <a:pt x="72" y="179"/>
                      <a:pt x="73" y="179"/>
                    </a:cubicBezTo>
                    <a:cubicBezTo>
                      <a:pt x="74" y="179"/>
                      <a:pt x="78" y="179"/>
                      <a:pt x="79" y="181"/>
                    </a:cubicBezTo>
                    <a:cubicBezTo>
                      <a:pt x="80" y="182"/>
                      <a:pt x="92" y="187"/>
                      <a:pt x="94" y="187"/>
                    </a:cubicBezTo>
                    <a:cubicBezTo>
                      <a:pt x="95" y="187"/>
                      <a:pt x="99" y="186"/>
                      <a:pt x="100" y="185"/>
                    </a:cubicBezTo>
                    <a:cubicBezTo>
                      <a:pt x="102" y="183"/>
                      <a:pt x="100" y="182"/>
                      <a:pt x="99" y="180"/>
                    </a:cubicBezTo>
                    <a:cubicBezTo>
                      <a:pt x="97" y="178"/>
                      <a:pt x="95" y="177"/>
                      <a:pt x="95" y="175"/>
                    </a:cubicBezTo>
                    <a:cubicBezTo>
                      <a:pt x="95" y="174"/>
                      <a:pt x="98" y="172"/>
                      <a:pt x="98" y="172"/>
                    </a:cubicBezTo>
                    <a:cubicBezTo>
                      <a:pt x="98" y="172"/>
                      <a:pt x="103" y="170"/>
                      <a:pt x="105" y="169"/>
                    </a:cubicBezTo>
                    <a:cubicBezTo>
                      <a:pt x="106" y="168"/>
                      <a:pt x="114" y="162"/>
                      <a:pt x="115" y="162"/>
                    </a:cubicBezTo>
                    <a:cubicBezTo>
                      <a:pt x="116" y="162"/>
                      <a:pt x="120" y="162"/>
                      <a:pt x="121" y="164"/>
                    </a:cubicBezTo>
                    <a:cubicBezTo>
                      <a:pt x="123" y="165"/>
                      <a:pt x="126" y="169"/>
                      <a:pt x="128" y="169"/>
                    </a:cubicBezTo>
                    <a:cubicBezTo>
                      <a:pt x="131" y="168"/>
                      <a:pt x="131" y="162"/>
                      <a:pt x="132" y="160"/>
                    </a:cubicBezTo>
                    <a:cubicBezTo>
                      <a:pt x="132" y="158"/>
                      <a:pt x="132" y="155"/>
                      <a:pt x="130" y="155"/>
                    </a:cubicBezTo>
                    <a:cubicBezTo>
                      <a:pt x="128" y="154"/>
                      <a:pt x="126" y="154"/>
                      <a:pt x="126" y="152"/>
                    </a:cubicBezTo>
                    <a:cubicBezTo>
                      <a:pt x="126" y="151"/>
                      <a:pt x="130" y="148"/>
                      <a:pt x="130" y="146"/>
                    </a:cubicBezTo>
                    <a:cubicBezTo>
                      <a:pt x="130" y="143"/>
                      <a:pt x="129" y="139"/>
                      <a:pt x="127" y="138"/>
                    </a:cubicBezTo>
                    <a:cubicBezTo>
                      <a:pt x="125" y="137"/>
                      <a:pt x="122" y="135"/>
                      <a:pt x="123" y="134"/>
                    </a:cubicBezTo>
                    <a:cubicBezTo>
                      <a:pt x="123" y="133"/>
                      <a:pt x="128" y="135"/>
                      <a:pt x="130" y="135"/>
                    </a:cubicBezTo>
                    <a:cubicBezTo>
                      <a:pt x="131" y="135"/>
                      <a:pt x="141" y="135"/>
                      <a:pt x="142" y="136"/>
                    </a:cubicBezTo>
                    <a:cubicBezTo>
                      <a:pt x="144" y="137"/>
                      <a:pt x="150" y="144"/>
                      <a:pt x="149" y="145"/>
                    </a:cubicBezTo>
                    <a:cubicBezTo>
                      <a:pt x="148" y="146"/>
                      <a:pt x="141" y="146"/>
                      <a:pt x="139" y="146"/>
                    </a:cubicBezTo>
                    <a:cubicBezTo>
                      <a:pt x="137" y="146"/>
                      <a:pt x="135" y="149"/>
                      <a:pt x="135" y="151"/>
                    </a:cubicBezTo>
                    <a:cubicBezTo>
                      <a:pt x="135" y="153"/>
                      <a:pt x="139" y="153"/>
                      <a:pt x="140" y="154"/>
                    </a:cubicBezTo>
                    <a:cubicBezTo>
                      <a:pt x="141" y="156"/>
                      <a:pt x="142" y="159"/>
                      <a:pt x="146" y="159"/>
                    </a:cubicBezTo>
                    <a:cubicBezTo>
                      <a:pt x="149" y="159"/>
                      <a:pt x="155" y="159"/>
                      <a:pt x="156" y="157"/>
                    </a:cubicBezTo>
                    <a:cubicBezTo>
                      <a:pt x="157" y="155"/>
                      <a:pt x="156" y="147"/>
                      <a:pt x="158" y="147"/>
                    </a:cubicBezTo>
                    <a:cubicBezTo>
                      <a:pt x="160" y="147"/>
                      <a:pt x="167" y="146"/>
                      <a:pt x="170" y="144"/>
                    </a:cubicBezTo>
                    <a:cubicBezTo>
                      <a:pt x="173" y="143"/>
                      <a:pt x="180" y="137"/>
                      <a:pt x="182" y="137"/>
                    </a:cubicBezTo>
                    <a:cubicBezTo>
                      <a:pt x="184" y="137"/>
                      <a:pt x="188" y="135"/>
                      <a:pt x="191" y="134"/>
                    </a:cubicBezTo>
                    <a:cubicBezTo>
                      <a:pt x="195" y="134"/>
                      <a:pt x="206" y="129"/>
                      <a:pt x="208" y="129"/>
                    </a:cubicBezTo>
                    <a:cubicBezTo>
                      <a:pt x="210" y="128"/>
                      <a:pt x="204" y="136"/>
                      <a:pt x="204" y="137"/>
                    </a:cubicBezTo>
                    <a:cubicBezTo>
                      <a:pt x="204" y="139"/>
                      <a:pt x="207" y="140"/>
                      <a:pt x="210" y="140"/>
                    </a:cubicBezTo>
                    <a:cubicBezTo>
                      <a:pt x="213" y="139"/>
                      <a:pt x="218" y="134"/>
                      <a:pt x="220" y="134"/>
                    </a:cubicBezTo>
                    <a:cubicBezTo>
                      <a:pt x="222" y="134"/>
                      <a:pt x="224" y="136"/>
                      <a:pt x="227" y="136"/>
                    </a:cubicBezTo>
                    <a:cubicBezTo>
                      <a:pt x="229" y="135"/>
                      <a:pt x="235" y="132"/>
                      <a:pt x="238" y="131"/>
                    </a:cubicBezTo>
                    <a:cubicBezTo>
                      <a:pt x="241" y="130"/>
                      <a:pt x="243" y="130"/>
                      <a:pt x="244" y="132"/>
                    </a:cubicBezTo>
                    <a:cubicBezTo>
                      <a:pt x="245" y="133"/>
                      <a:pt x="241" y="138"/>
                      <a:pt x="244" y="138"/>
                    </a:cubicBezTo>
                    <a:cubicBezTo>
                      <a:pt x="248" y="138"/>
                      <a:pt x="250" y="137"/>
                      <a:pt x="250" y="137"/>
                    </a:cubicBezTo>
                    <a:cubicBezTo>
                      <a:pt x="251" y="136"/>
                      <a:pt x="258" y="132"/>
                      <a:pt x="256" y="129"/>
                    </a:cubicBezTo>
                    <a:cubicBezTo>
                      <a:pt x="254" y="127"/>
                      <a:pt x="253" y="124"/>
                      <a:pt x="252" y="122"/>
                    </a:cubicBezTo>
                    <a:cubicBezTo>
                      <a:pt x="250" y="120"/>
                      <a:pt x="241" y="117"/>
                      <a:pt x="240" y="115"/>
                    </a:cubicBezTo>
                    <a:cubicBezTo>
                      <a:pt x="239" y="114"/>
                      <a:pt x="239" y="112"/>
                      <a:pt x="241" y="111"/>
                    </a:cubicBezTo>
                    <a:cubicBezTo>
                      <a:pt x="243" y="110"/>
                      <a:pt x="245" y="111"/>
                      <a:pt x="247" y="113"/>
                    </a:cubicBezTo>
                    <a:cubicBezTo>
                      <a:pt x="249" y="114"/>
                      <a:pt x="256" y="118"/>
                      <a:pt x="257" y="118"/>
                    </a:cubicBezTo>
                    <a:cubicBezTo>
                      <a:pt x="264" y="119"/>
                      <a:pt x="272" y="118"/>
                      <a:pt x="276" y="119"/>
                    </a:cubicBezTo>
                    <a:cubicBezTo>
                      <a:pt x="280" y="121"/>
                      <a:pt x="290" y="126"/>
                      <a:pt x="291" y="126"/>
                    </a:cubicBezTo>
                    <a:cubicBezTo>
                      <a:pt x="292" y="127"/>
                      <a:pt x="307" y="134"/>
                      <a:pt x="308" y="135"/>
                    </a:cubicBezTo>
                    <a:cubicBezTo>
                      <a:pt x="309" y="136"/>
                      <a:pt x="311" y="141"/>
                      <a:pt x="313" y="141"/>
                    </a:cubicBezTo>
                    <a:cubicBezTo>
                      <a:pt x="316" y="141"/>
                      <a:pt x="318" y="133"/>
                      <a:pt x="319" y="131"/>
                    </a:cubicBezTo>
                    <a:cubicBezTo>
                      <a:pt x="320" y="129"/>
                      <a:pt x="314" y="129"/>
                      <a:pt x="313" y="127"/>
                    </a:cubicBezTo>
                    <a:cubicBezTo>
                      <a:pt x="313" y="125"/>
                      <a:pt x="310" y="122"/>
                      <a:pt x="309" y="122"/>
                    </a:cubicBezTo>
                    <a:cubicBezTo>
                      <a:pt x="308" y="121"/>
                      <a:pt x="303" y="121"/>
                      <a:pt x="302" y="121"/>
                    </a:cubicBezTo>
                    <a:cubicBezTo>
                      <a:pt x="302" y="120"/>
                      <a:pt x="303" y="117"/>
                      <a:pt x="303" y="116"/>
                    </a:cubicBezTo>
                    <a:cubicBezTo>
                      <a:pt x="303" y="114"/>
                      <a:pt x="308" y="106"/>
                      <a:pt x="307" y="105"/>
                    </a:cubicBezTo>
                    <a:cubicBezTo>
                      <a:pt x="305" y="104"/>
                      <a:pt x="300" y="107"/>
                      <a:pt x="299" y="104"/>
                    </a:cubicBezTo>
                    <a:cubicBezTo>
                      <a:pt x="299" y="101"/>
                      <a:pt x="301" y="98"/>
                      <a:pt x="303" y="98"/>
                    </a:cubicBezTo>
                    <a:cubicBezTo>
                      <a:pt x="304" y="97"/>
                      <a:pt x="312" y="95"/>
                      <a:pt x="313" y="93"/>
                    </a:cubicBezTo>
                    <a:cubicBezTo>
                      <a:pt x="313" y="91"/>
                      <a:pt x="319" y="75"/>
                      <a:pt x="321" y="74"/>
                    </a:cubicBezTo>
                    <a:cubicBezTo>
                      <a:pt x="322" y="74"/>
                      <a:pt x="334" y="76"/>
                      <a:pt x="336" y="76"/>
                    </a:cubicBezTo>
                    <a:cubicBezTo>
                      <a:pt x="339" y="76"/>
                      <a:pt x="347" y="78"/>
                      <a:pt x="347" y="79"/>
                    </a:cubicBezTo>
                    <a:cubicBezTo>
                      <a:pt x="348" y="81"/>
                      <a:pt x="348" y="84"/>
                      <a:pt x="346" y="86"/>
                    </a:cubicBezTo>
                    <a:cubicBezTo>
                      <a:pt x="345" y="88"/>
                      <a:pt x="340" y="93"/>
                      <a:pt x="340" y="95"/>
                    </a:cubicBezTo>
                    <a:cubicBezTo>
                      <a:pt x="340" y="97"/>
                      <a:pt x="346" y="99"/>
                      <a:pt x="346" y="102"/>
                    </a:cubicBezTo>
                    <a:cubicBezTo>
                      <a:pt x="347" y="104"/>
                      <a:pt x="347" y="110"/>
                      <a:pt x="346" y="111"/>
                    </a:cubicBezTo>
                    <a:cubicBezTo>
                      <a:pt x="345" y="113"/>
                      <a:pt x="343" y="112"/>
                      <a:pt x="344" y="115"/>
                    </a:cubicBezTo>
                    <a:cubicBezTo>
                      <a:pt x="345" y="117"/>
                      <a:pt x="346" y="119"/>
                      <a:pt x="346" y="121"/>
                    </a:cubicBezTo>
                    <a:cubicBezTo>
                      <a:pt x="346" y="123"/>
                      <a:pt x="344" y="127"/>
                      <a:pt x="345" y="130"/>
                    </a:cubicBezTo>
                    <a:cubicBezTo>
                      <a:pt x="346" y="132"/>
                      <a:pt x="354" y="135"/>
                      <a:pt x="353" y="137"/>
                    </a:cubicBezTo>
                    <a:cubicBezTo>
                      <a:pt x="352" y="138"/>
                      <a:pt x="347" y="139"/>
                      <a:pt x="348" y="142"/>
                    </a:cubicBezTo>
                    <a:cubicBezTo>
                      <a:pt x="349" y="144"/>
                      <a:pt x="350" y="147"/>
                      <a:pt x="349" y="147"/>
                    </a:cubicBezTo>
                    <a:cubicBezTo>
                      <a:pt x="349" y="148"/>
                      <a:pt x="342" y="153"/>
                      <a:pt x="340" y="155"/>
                    </a:cubicBezTo>
                    <a:cubicBezTo>
                      <a:pt x="339" y="157"/>
                      <a:pt x="330" y="160"/>
                      <a:pt x="328" y="159"/>
                    </a:cubicBezTo>
                    <a:cubicBezTo>
                      <a:pt x="326" y="158"/>
                      <a:pt x="320" y="156"/>
                      <a:pt x="319" y="158"/>
                    </a:cubicBezTo>
                    <a:cubicBezTo>
                      <a:pt x="318" y="160"/>
                      <a:pt x="322" y="163"/>
                      <a:pt x="325" y="164"/>
                    </a:cubicBezTo>
                    <a:cubicBezTo>
                      <a:pt x="328" y="165"/>
                      <a:pt x="341" y="166"/>
                      <a:pt x="343" y="166"/>
                    </a:cubicBezTo>
                    <a:cubicBezTo>
                      <a:pt x="345" y="166"/>
                      <a:pt x="344" y="160"/>
                      <a:pt x="347" y="160"/>
                    </a:cubicBezTo>
                    <a:cubicBezTo>
                      <a:pt x="349" y="160"/>
                      <a:pt x="354" y="159"/>
                      <a:pt x="355" y="158"/>
                    </a:cubicBezTo>
                    <a:cubicBezTo>
                      <a:pt x="357" y="157"/>
                      <a:pt x="355" y="152"/>
                      <a:pt x="356" y="151"/>
                    </a:cubicBezTo>
                    <a:cubicBezTo>
                      <a:pt x="357" y="150"/>
                      <a:pt x="362" y="150"/>
                      <a:pt x="362" y="147"/>
                    </a:cubicBezTo>
                    <a:cubicBezTo>
                      <a:pt x="362" y="144"/>
                      <a:pt x="363" y="141"/>
                      <a:pt x="362" y="140"/>
                    </a:cubicBezTo>
                    <a:cubicBezTo>
                      <a:pt x="361" y="139"/>
                      <a:pt x="360" y="137"/>
                      <a:pt x="360" y="136"/>
                    </a:cubicBezTo>
                    <a:cubicBezTo>
                      <a:pt x="361" y="134"/>
                      <a:pt x="363" y="132"/>
                      <a:pt x="363" y="132"/>
                    </a:cubicBezTo>
                    <a:cubicBezTo>
                      <a:pt x="363" y="132"/>
                      <a:pt x="374" y="130"/>
                      <a:pt x="376" y="130"/>
                    </a:cubicBezTo>
                    <a:cubicBezTo>
                      <a:pt x="377" y="131"/>
                      <a:pt x="381" y="136"/>
                      <a:pt x="381" y="137"/>
                    </a:cubicBezTo>
                    <a:cubicBezTo>
                      <a:pt x="381" y="138"/>
                      <a:pt x="379" y="144"/>
                      <a:pt x="380" y="146"/>
                    </a:cubicBezTo>
                    <a:cubicBezTo>
                      <a:pt x="382" y="148"/>
                      <a:pt x="385" y="150"/>
                      <a:pt x="386" y="150"/>
                    </a:cubicBezTo>
                    <a:cubicBezTo>
                      <a:pt x="386" y="150"/>
                      <a:pt x="389" y="148"/>
                      <a:pt x="390" y="148"/>
                    </a:cubicBezTo>
                    <a:cubicBezTo>
                      <a:pt x="391" y="148"/>
                      <a:pt x="386" y="145"/>
                      <a:pt x="386" y="144"/>
                    </a:cubicBezTo>
                    <a:cubicBezTo>
                      <a:pt x="385" y="143"/>
                      <a:pt x="385" y="141"/>
                      <a:pt x="387" y="141"/>
                    </a:cubicBezTo>
                    <a:cubicBezTo>
                      <a:pt x="389" y="141"/>
                      <a:pt x="389" y="139"/>
                      <a:pt x="388" y="137"/>
                    </a:cubicBezTo>
                    <a:cubicBezTo>
                      <a:pt x="387" y="136"/>
                      <a:pt x="385" y="132"/>
                      <a:pt x="385" y="130"/>
                    </a:cubicBezTo>
                    <a:cubicBezTo>
                      <a:pt x="384" y="128"/>
                      <a:pt x="379" y="127"/>
                      <a:pt x="377" y="126"/>
                    </a:cubicBezTo>
                    <a:cubicBezTo>
                      <a:pt x="375" y="125"/>
                      <a:pt x="372" y="124"/>
                      <a:pt x="368" y="125"/>
                    </a:cubicBezTo>
                    <a:cubicBezTo>
                      <a:pt x="364" y="126"/>
                      <a:pt x="359" y="128"/>
                      <a:pt x="357" y="127"/>
                    </a:cubicBezTo>
                    <a:cubicBezTo>
                      <a:pt x="355" y="127"/>
                      <a:pt x="357" y="124"/>
                      <a:pt x="356" y="122"/>
                    </a:cubicBezTo>
                    <a:cubicBezTo>
                      <a:pt x="355" y="120"/>
                      <a:pt x="354" y="116"/>
                      <a:pt x="356" y="114"/>
                    </a:cubicBezTo>
                    <a:cubicBezTo>
                      <a:pt x="358" y="113"/>
                      <a:pt x="362" y="110"/>
                      <a:pt x="361" y="107"/>
                    </a:cubicBezTo>
                    <a:cubicBezTo>
                      <a:pt x="360" y="104"/>
                      <a:pt x="351" y="98"/>
                      <a:pt x="351" y="96"/>
                    </a:cubicBezTo>
                    <a:cubicBezTo>
                      <a:pt x="351" y="94"/>
                      <a:pt x="354" y="91"/>
                      <a:pt x="354" y="91"/>
                    </a:cubicBezTo>
                    <a:cubicBezTo>
                      <a:pt x="354" y="91"/>
                      <a:pt x="363" y="89"/>
                      <a:pt x="363" y="88"/>
                    </a:cubicBezTo>
                    <a:cubicBezTo>
                      <a:pt x="363" y="87"/>
                      <a:pt x="366" y="82"/>
                      <a:pt x="363" y="79"/>
                    </a:cubicBezTo>
                    <a:cubicBezTo>
                      <a:pt x="361" y="76"/>
                      <a:pt x="357" y="75"/>
                      <a:pt x="358" y="73"/>
                    </a:cubicBezTo>
                    <a:cubicBezTo>
                      <a:pt x="359" y="72"/>
                      <a:pt x="363" y="73"/>
                      <a:pt x="365" y="73"/>
                    </a:cubicBezTo>
                    <a:cubicBezTo>
                      <a:pt x="366" y="74"/>
                      <a:pt x="371" y="79"/>
                      <a:pt x="371" y="81"/>
                    </a:cubicBezTo>
                    <a:cubicBezTo>
                      <a:pt x="371" y="83"/>
                      <a:pt x="368" y="90"/>
                      <a:pt x="368" y="92"/>
                    </a:cubicBezTo>
                    <a:cubicBezTo>
                      <a:pt x="367" y="94"/>
                      <a:pt x="366" y="96"/>
                      <a:pt x="368" y="98"/>
                    </a:cubicBezTo>
                    <a:cubicBezTo>
                      <a:pt x="370" y="100"/>
                      <a:pt x="375" y="101"/>
                      <a:pt x="377" y="101"/>
                    </a:cubicBezTo>
                    <a:cubicBezTo>
                      <a:pt x="380" y="101"/>
                      <a:pt x="382" y="101"/>
                      <a:pt x="384" y="101"/>
                    </a:cubicBezTo>
                    <a:cubicBezTo>
                      <a:pt x="385" y="102"/>
                      <a:pt x="389" y="105"/>
                      <a:pt x="390" y="104"/>
                    </a:cubicBezTo>
                    <a:cubicBezTo>
                      <a:pt x="391" y="103"/>
                      <a:pt x="390" y="100"/>
                      <a:pt x="390" y="99"/>
                    </a:cubicBezTo>
                    <a:cubicBezTo>
                      <a:pt x="389" y="97"/>
                      <a:pt x="388" y="97"/>
                      <a:pt x="386" y="97"/>
                    </a:cubicBezTo>
                    <a:cubicBezTo>
                      <a:pt x="385" y="97"/>
                      <a:pt x="380" y="96"/>
                      <a:pt x="378" y="95"/>
                    </a:cubicBezTo>
                    <a:cubicBezTo>
                      <a:pt x="376" y="93"/>
                      <a:pt x="373" y="92"/>
                      <a:pt x="373" y="90"/>
                    </a:cubicBezTo>
                    <a:cubicBezTo>
                      <a:pt x="374" y="89"/>
                      <a:pt x="377" y="88"/>
                      <a:pt x="378" y="88"/>
                    </a:cubicBezTo>
                    <a:cubicBezTo>
                      <a:pt x="379" y="88"/>
                      <a:pt x="382" y="91"/>
                      <a:pt x="384" y="91"/>
                    </a:cubicBezTo>
                    <a:cubicBezTo>
                      <a:pt x="386" y="91"/>
                      <a:pt x="389" y="91"/>
                      <a:pt x="389" y="89"/>
                    </a:cubicBezTo>
                    <a:cubicBezTo>
                      <a:pt x="389" y="87"/>
                      <a:pt x="386" y="84"/>
                      <a:pt x="384" y="84"/>
                    </a:cubicBezTo>
                    <a:cubicBezTo>
                      <a:pt x="381" y="84"/>
                      <a:pt x="379" y="83"/>
                      <a:pt x="379" y="82"/>
                    </a:cubicBezTo>
                    <a:cubicBezTo>
                      <a:pt x="379" y="81"/>
                      <a:pt x="384" y="80"/>
                      <a:pt x="385" y="80"/>
                    </a:cubicBezTo>
                    <a:cubicBezTo>
                      <a:pt x="386" y="79"/>
                      <a:pt x="389" y="80"/>
                      <a:pt x="390" y="81"/>
                    </a:cubicBezTo>
                    <a:cubicBezTo>
                      <a:pt x="391" y="83"/>
                      <a:pt x="394" y="84"/>
                      <a:pt x="395" y="84"/>
                    </a:cubicBezTo>
                    <a:cubicBezTo>
                      <a:pt x="398" y="83"/>
                      <a:pt x="403" y="86"/>
                      <a:pt x="404" y="86"/>
                    </a:cubicBezTo>
                    <a:cubicBezTo>
                      <a:pt x="406" y="86"/>
                      <a:pt x="411" y="92"/>
                      <a:pt x="414" y="92"/>
                    </a:cubicBezTo>
                    <a:cubicBezTo>
                      <a:pt x="417" y="93"/>
                      <a:pt x="424" y="92"/>
                      <a:pt x="424" y="93"/>
                    </a:cubicBezTo>
                    <a:cubicBezTo>
                      <a:pt x="425" y="97"/>
                      <a:pt x="419" y="96"/>
                      <a:pt x="419" y="98"/>
                    </a:cubicBezTo>
                    <a:cubicBezTo>
                      <a:pt x="419" y="100"/>
                      <a:pt x="418" y="101"/>
                      <a:pt x="420" y="103"/>
                    </a:cubicBezTo>
                    <a:cubicBezTo>
                      <a:pt x="422" y="104"/>
                      <a:pt x="420" y="106"/>
                      <a:pt x="419" y="108"/>
                    </a:cubicBezTo>
                    <a:cubicBezTo>
                      <a:pt x="418" y="110"/>
                      <a:pt x="417" y="111"/>
                      <a:pt x="420" y="113"/>
                    </a:cubicBezTo>
                    <a:cubicBezTo>
                      <a:pt x="422" y="115"/>
                      <a:pt x="429" y="119"/>
                      <a:pt x="430" y="119"/>
                    </a:cubicBezTo>
                    <a:cubicBezTo>
                      <a:pt x="432" y="120"/>
                      <a:pt x="434" y="121"/>
                      <a:pt x="435" y="120"/>
                    </a:cubicBezTo>
                    <a:cubicBezTo>
                      <a:pt x="435" y="119"/>
                      <a:pt x="427" y="113"/>
                      <a:pt x="427" y="112"/>
                    </a:cubicBezTo>
                    <a:cubicBezTo>
                      <a:pt x="427" y="110"/>
                      <a:pt x="432" y="110"/>
                      <a:pt x="431" y="108"/>
                    </a:cubicBezTo>
                    <a:cubicBezTo>
                      <a:pt x="430" y="105"/>
                      <a:pt x="428" y="101"/>
                      <a:pt x="428" y="99"/>
                    </a:cubicBezTo>
                    <a:cubicBezTo>
                      <a:pt x="429" y="97"/>
                      <a:pt x="432" y="95"/>
                      <a:pt x="431" y="92"/>
                    </a:cubicBezTo>
                    <a:cubicBezTo>
                      <a:pt x="429" y="90"/>
                      <a:pt x="426" y="88"/>
                      <a:pt x="424" y="87"/>
                    </a:cubicBezTo>
                    <a:cubicBezTo>
                      <a:pt x="422" y="85"/>
                      <a:pt x="413" y="82"/>
                      <a:pt x="410" y="82"/>
                    </a:cubicBezTo>
                    <a:cubicBezTo>
                      <a:pt x="408" y="82"/>
                      <a:pt x="411" y="76"/>
                      <a:pt x="410" y="74"/>
                    </a:cubicBezTo>
                    <a:cubicBezTo>
                      <a:pt x="408" y="72"/>
                      <a:pt x="404" y="68"/>
                      <a:pt x="405" y="67"/>
                    </a:cubicBezTo>
                    <a:cubicBezTo>
                      <a:pt x="407" y="66"/>
                      <a:pt x="411" y="65"/>
                      <a:pt x="414" y="65"/>
                    </a:cubicBezTo>
                    <a:cubicBezTo>
                      <a:pt x="417" y="65"/>
                      <a:pt x="438" y="63"/>
                      <a:pt x="441" y="63"/>
                    </a:cubicBezTo>
                    <a:cubicBezTo>
                      <a:pt x="443" y="63"/>
                      <a:pt x="455" y="63"/>
                      <a:pt x="455" y="60"/>
                    </a:cubicBezTo>
                    <a:cubicBezTo>
                      <a:pt x="455" y="58"/>
                      <a:pt x="455" y="56"/>
                      <a:pt x="454" y="55"/>
                    </a:cubicBezTo>
                    <a:cubicBezTo>
                      <a:pt x="452" y="54"/>
                      <a:pt x="448" y="55"/>
                      <a:pt x="448" y="53"/>
                    </a:cubicBezTo>
                    <a:cubicBezTo>
                      <a:pt x="448" y="51"/>
                      <a:pt x="440" y="53"/>
                      <a:pt x="440" y="51"/>
                    </a:cubicBezTo>
                    <a:cubicBezTo>
                      <a:pt x="441" y="49"/>
                      <a:pt x="449" y="49"/>
                      <a:pt x="451" y="48"/>
                    </a:cubicBezTo>
                    <a:cubicBezTo>
                      <a:pt x="453" y="48"/>
                      <a:pt x="455" y="45"/>
                      <a:pt x="457" y="45"/>
                    </a:cubicBezTo>
                    <a:cubicBezTo>
                      <a:pt x="460" y="44"/>
                      <a:pt x="467" y="38"/>
                      <a:pt x="471" y="37"/>
                    </a:cubicBezTo>
                    <a:cubicBezTo>
                      <a:pt x="476" y="36"/>
                      <a:pt x="495" y="32"/>
                      <a:pt x="497" y="32"/>
                    </a:cubicBezTo>
                    <a:cubicBezTo>
                      <a:pt x="499" y="32"/>
                      <a:pt x="502" y="27"/>
                      <a:pt x="503" y="27"/>
                    </a:cubicBezTo>
                    <a:cubicBezTo>
                      <a:pt x="504" y="26"/>
                      <a:pt x="514" y="26"/>
                      <a:pt x="518" y="25"/>
                    </a:cubicBezTo>
                    <a:cubicBezTo>
                      <a:pt x="521" y="25"/>
                      <a:pt x="533" y="21"/>
                      <a:pt x="533" y="23"/>
                    </a:cubicBezTo>
                    <a:cubicBezTo>
                      <a:pt x="533" y="25"/>
                      <a:pt x="530" y="27"/>
                      <a:pt x="531" y="28"/>
                    </a:cubicBezTo>
                    <a:cubicBezTo>
                      <a:pt x="531" y="29"/>
                      <a:pt x="545" y="25"/>
                      <a:pt x="548" y="25"/>
                    </a:cubicBezTo>
                    <a:cubicBezTo>
                      <a:pt x="551" y="25"/>
                      <a:pt x="546" y="20"/>
                      <a:pt x="547" y="20"/>
                    </a:cubicBezTo>
                    <a:cubicBezTo>
                      <a:pt x="548" y="20"/>
                      <a:pt x="560" y="21"/>
                      <a:pt x="562" y="20"/>
                    </a:cubicBezTo>
                    <a:cubicBezTo>
                      <a:pt x="563" y="19"/>
                      <a:pt x="565" y="18"/>
                      <a:pt x="565" y="16"/>
                    </a:cubicBezTo>
                    <a:cubicBezTo>
                      <a:pt x="565" y="15"/>
                      <a:pt x="562" y="13"/>
                      <a:pt x="563" y="12"/>
                    </a:cubicBezTo>
                    <a:cubicBezTo>
                      <a:pt x="565" y="11"/>
                      <a:pt x="574" y="5"/>
                      <a:pt x="576" y="3"/>
                    </a:cubicBezTo>
                    <a:cubicBezTo>
                      <a:pt x="578" y="2"/>
                      <a:pt x="586" y="0"/>
                      <a:pt x="589" y="0"/>
                    </a:cubicBezTo>
                    <a:cubicBezTo>
                      <a:pt x="591" y="0"/>
                      <a:pt x="600" y="2"/>
                      <a:pt x="601" y="4"/>
                    </a:cubicBezTo>
                    <a:cubicBezTo>
                      <a:pt x="602" y="5"/>
                      <a:pt x="602" y="6"/>
                      <a:pt x="602" y="7"/>
                    </a:cubicBezTo>
                    <a:cubicBezTo>
                      <a:pt x="602" y="8"/>
                      <a:pt x="589" y="10"/>
                      <a:pt x="589" y="11"/>
                    </a:cubicBezTo>
                    <a:cubicBezTo>
                      <a:pt x="590" y="13"/>
                      <a:pt x="598" y="13"/>
                      <a:pt x="601" y="13"/>
                    </a:cubicBezTo>
                    <a:cubicBezTo>
                      <a:pt x="604" y="12"/>
                      <a:pt x="612" y="11"/>
                      <a:pt x="612" y="13"/>
                    </a:cubicBezTo>
                    <a:cubicBezTo>
                      <a:pt x="612" y="15"/>
                      <a:pt x="603" y="19"/>
                      <a:pt x="607" y="19"/>
                    </a:cubicBezTo>
                    <a:cubicBezTo>
                      <a:pt x="610" y="20"/>
                      <a:pt x="615" y="19"/>
                      <a:pt x="616" y="19"/>
                    </a:cubicBezTo>
                    <a:cubicBezTo>
                      <a:pt x="618" y="19"/>
                      <a:pt x="617" y="15"/>
                      <a:pt x="619" y="15"/>
                    </a:cubicBezTo>
                    <a:cubicBezTo>
                      <a:pt x="620" y="15"/>
                      <a:pt x="630" y="15"/>
                      <a:pt x="635" y="15"/>
                    </a:cubicBezTo>
                    <a:cubicBezTo>
                      <a:pt x="639" y="15"/>
                      <a:pt x="643" y="16"/>
                      <a:pt x="648" y="18"/>
                    </a:cubicBezTo>
                    <a:cubicBezTo>
                      <a:pt x="653" y="20"/>
                      <a:pt x="656" y="23"/>
                      <a:pt x="658" y="25"/>
                    </a:cubicBezTo>
                    <a:cubicBezTo>
                      <a:pt x="660" y="28"/>
                      <a:pt x="662" y="28"/>
                      <a:pt x="662" y="30"/>
                    </a:cubicBezTo>
                    <a:cubicBezTo>
                      <a:pt x="662" y="32"/>
                      <a:pt x="657" y="32"/>
                      <a:pt x="657" y="33"/>
                    </a:cubicBezTo>
                    <a:cubicBezTo>
                      <a:pt x="657" y="34"/>
                      <a:pt x="662" y="35"/>
                      <a:pt x="660" y="38"/>
                    </a:cubicBezTo>
                    <a:cubicBezTo>
                      <a:pt x="658" y="41"/>
                      <a:pt x="648" y="46"/>
                      <a:pt x="647" y="46"/>
                    </a:cubicBezTo>
                    <a:cubicBezTo>
                      <a:pt x="645" y="46"/>
                      <a:pt x="634" y="51"/>
                      <a:pt x="632" y="53"/>
                    </a:cubicBezTo>
                    <a:cubicBezTo>
                      <a:pt x="630" y="54"/>
                      <a:pt x="623" y="60"/>
                      <a:pt x="621" y="61"/>
                    </a:cubicBezTo>
                    <a:cubicBezTo>
                      <a:pt x="620" y="61"/>
                      <a:pt x="611" y="62"/>
                      <a:pt x="608" y="63"/>
                    </a:cubicBezTo>
                    <a:cubicBezTo>
                      <a:pt x="605" y="65"/>
                      <a:pt x="604" y="69"/>
                      <a:pt x="603" y="70"/>
                    </a:cubicBezTo>
                    <a:cubicBezTo>
                      <a:pt x="602" y="70"/>
                      <a:pt x="599" y="75"/>
                      <a:pt x="601" y="75"/>
                    </a:cubicBezTo>
                    <a:cubicBezTo>
                      <a:pt x="603" y="76"/>
                      <a:pt x="608" y="71"/>
                      <a:pt x="611" y="71"/>
                    </a:cubicBezTo>
                    <a:cubicBezTo>
                      <a:pt x="613" y="71"/>
                      <a:pt x="617" y="69"/>
                      <a:pt x="620" y="69"/>
                    </a:cubicBezTo>
                    <a:cubicBezTo>
                      <a:pt x="624" y="69"/>
                      <a:pt x="634" y="68"/>
                      <a:pt x="634" y="66"/>
                    </a:cubicBezTo>
                    <a:cubicBezTo>
                      <a:pt x="634" y="64"/>
                      <a:pt x="628" y="64"/>
                      <a:pt x="628" y="63"/>
                    </a:cubicBezTo>
                    <a:cubicBezTo>
                      <a:pt x="629" y="62"/>
                      <a:pt x="633" y="59"/>
                      <a:pt x="634" y="59"/>
                    </a:cubicBezTo>
                    <a:cubicBezTo>
                      <a:pt x="635" y="59"/>
                      <a:pt x="640" y="62"/>
                      <a:pt x="643" y="62"/>
                    </a:cubicBezTo>
                    <a:cubicBezTo>
                      <a:pt x="647" y="63"/>
                      <a:pt x="653" y="63"/>
                      <a:pt x="653" y="62"/>
                    </a:cubicBezTo>
                    <a:cubicBezTo>
                      <a:pt x="653" y="61"/>
                      <a:pt x="653" y="60"/>
                      <a:pt x="654" y="59"/>
                    </a:cubicBezTo>
                    <a:cubicBezTo>
                      <a:pt x="655" y="59"/>
                      <a:pt x="658" y="63"/>
                      <a:pt x="659" y="64"/>
                    </a:cubicBezTo>
                    <a:cubicBezTo>
                      <a:pt x="660" y="65"/>
                      <a:pt x="666" y="65"/>
                      <a:pt x="668" y="65"/>
                    </a:cubicBezTo>
                    <a:cubicBezTo>
                      <a:pt x="670" y="64"/>
                      <a:pt x="675" y="63"/>
                      <a:pt x="678" y="63"/>
                    </a:cubicBezTo>
                    <a:cubicBezTo>
                      <a:pt x="681" y="63"/>
                      <a:pt x="700" y="65"/>
                      <a:pt x="700" y="66"/>
                    </a:cubicBezTo>
                    <a:cubicBezTo>
                      <a:pt x="701" y="67"/>
                      <a:pt x="696" y="69"/>
                      <a:pt x="697" y="70"/>
                    </a:cubicBezTo>
                    <a:cubicBezTo>
                      <a:pt x="699" y="71"/>
                      <a:pt x="705" y="71"/>
                      <a:pt x="709" y="72"/>
                    </a:cubicBezTo>
                    <a:cubicBezTo>
                      <a:pt x="713" y="73"/>
                      <a:pt x="733" y="76"/>
                      <a:pt x="734" y="74"/>
                    </a:cubicBezTo>
                    <a:cubicBezTo>
                      <a:pt x="735" y="73"/>
                      <a:pt x="731" y="68"/>
                      <a:pt x="733" y="66"/>
                    </a:cubicBezTo>
                    <a:cubicBezTo>
                      <a:pt x="734" y="65"/>
                      <a:pt x="738" y="61"/>
                      <a:pt x="741" y="61"/>
                    </a:cubicBezTo>
                    <a:cubicBezTo>
                      <a:pt x="744" y="60"/>
                      <a:pt x="745" y="62"/>
                      <a:pt x="749" y="64"/>
                    </a:cubicBezTo>
                    <a:cubicBezTo>
                      <a:pt x="753" y="65"/>
                      <a:pt x="760" y="68"/>
                      <a:pt x="761" y="67"/>
                    </a:cubicBezTo>
                    <a:cubicBezTo>
                      <a:pt x="761" y="66"/>
                      <a:pt x="763" y="64"/>
                      <a:pt x="765" y="65"/>
                    </a:cubicBezTo>
                    <a:cubicBezTo>
                      <a:pt x="768" y="65"/>
                      <a:pt x="771" y="67"/>
                      <a:pt x="774" y="69"/>
                    </a:cubicBezTo>
                    <a:cubicBezTo>
                      <a:pt x="777" y="70"/>
                      <a:pt x="781" y="73"/>
                      <a:pt x="781" y="74"/>
                    </a:cubicBezTo>
                    <a:cubicBezTo>
                      <a:pt x="781" y="75"/>
                      <a:pt x="782" y="80"/>
                      <a:pt x="779" y="80"/>
                    </a:cubicBezTo>
                    <a:cubicBezTo>
                      <a:pt x="776" y="80"/>
                      <a:pt x="781" y="82"/>
                      <a:pt x="781" y="84"/>
                    </a:cubicBezTo>
                    <a:cubicBezTo>
                      <a:pt x="781" y="86"/>
                      <a:pt x="775" y="88"/>
                      <a:pt x="775" y="89"/>
                    </a:cubicBezTo>
                    <a:cubicBezTo>
                      <a:pt x="775" y="90"/>
                      <a:pt x="777" y="93"/>
                      <a:pt x="779" y="94"/>
                    </a:cubicBezTo>
                    <a:cubicBezTo>
                      <a:pt x="780" y="95"/>
                      <a:pt x="783" y="100"/>
                      <a:pt x="785" y="101"/>
                    </a:cubicBezTo>
                    <a:cubicBezTo>
                      <a:pt x="787" y="101"/>
                      <a:pt x="791" y="103"/>
                      <a:pt x="792" y="103"/>
                    </a:cubicBezTo>
                    <a:cubicBezTo>
                      <a:pt x="793" y="103"/>
                      <a:pt x="791" y="106"/>
                      <a:pt x="795" y="105"/>
                    </a:cubicBezTo>
                    <a:cubicBezTo>
                      <a:pt x="798" y="105"/>
                      <a:pt x="799" y="100"/>
                      <a:pt x="800" y="98"/>
                    </a:cubicBezTo>
                    <a:cubicBezTo>
                      <a:pt x="801" y="96"/>
                      <a:pt x="804" y="88"/>
                      <a:pt x="806" y="88"/>
                    </a:cubicBezTo>
                    <a:cubicBezTo>
                      <a:pt x="808" y="88"/>
                      <a:pt x="806" y="92"/>
                      <a:pt x="808" y="94"/>
                    </a:cubicBezTo>
                    <a:cubicBezTo>
                      <a:pt x="810" y="95"/>
                      <a:pt x="816" y="97"/>
                      <a:pt x="819" y="96"/>
                    </a:cubicBezTo>
                    <a:cubicBezTo>
                      <a:pt x="822" y="96"/>
                      <a:pt x="824" y="93"/>
                      <a:pt x="827" y="93"/>
                    </a:cubicBezTo>
                    <a:cubicBezTo>
                      <a:pt x="830" y="93"/>
                      <a:pt x="834" y="94"/>
                      <a:pt x="838" y="95"/>
                    </a:cubicBezTo>
                    <a:cubicBezTo>
                      <a:pt x="842" y="96"/>
                      <a:pt x="844" y="100"/>
                      <a:pt x="846" y="99"/>
                    </a:cubicBezTo>
                    <a:cubicBezTo>
                      <a:pt x="847" y="98"/>
                      <a:pt x="847" y="93"/>
                      <a:pt x="848" y="93"/>
                    </a:cubicBezTo>
                    <a:cubicBezTo>
                      <a:pt x="849" y="93"/>
                      <a:pt x="854" y="93"/>
                      <a:pt x="854" y="94"/>
                    </a:cubicBezTo>
                    <a:cubicBezTo>
                      <a:pt x="855" y="95"/>
                      <a:pt x="854" y="96"/>
                      <a:pt x="856" y="96"/>
                    </a:cubicBezTo>
                    <a:cubicBezTo>
                      <a:pt x="858" y="96"/>
                      <a:pt x="860" y="96"/>
                      <a:pt x="861" y="95"/>
                    </a:cubicBezTo>
                    <a:cubicBezTo>
                      <a:pt x="862" y="94"/>
                      <a:pt x="859" y="91"/>
                      <a:pt x="860" y="89"/>
                    </a:cubicBezTo>
                    <a:cubicBezTo>
                      <a:pt x="860" y="88"/>
                      <a:pt x="862" y="87"/>
                      <a:pt x="862" y="86"/>
                    </a:cubicBezTo>
                    <a:cubicBezTo>
                      <a:pt x="862" y="85"/>
                      <a:pt x="854" y="85"/>
                      <a:pt x="854" y="84"/>
                    </a:cubicBezTo>
                    <a:cubicBezTo>
                      <a:pt x="854" y="83"/>
                      <a:pt x="859" y="81"/>
                      <a:pt x="859" y="81"/>
                    </a:cubicBezTo>
                    <a:cubicBezTo>
                      <a:pt x="859" y="81"/>
                      <a:pt x="861" y="80"/>
                      <a:pt x="862" y="80"/>
                    </a:cubicBezTo>
                    <a:cubicBezTo>
                      <a:pt x="863" y="80"/>
                      <a:pt x="868" y="81"/>
                      <a:pt x="869" y="81"/>
                    </a:cubicBezTo>
                    <a:cubicBezTo>
                      <a:pt x="870" y="80"/>
                      <a:pt x="866" y="75"/>
                      <a:pt x="867" y="75"/>
                    </a:cubicBezTo>
                    <a:cubicBezTo>
                      <a:pt x="868" y="74"/>
                      <a:pt x="871" y="75"/>
                      <a:pt x="872" y="75"/>
                    </a:cubicBezTo>
                    <a:cubicBezTo>
                      <a:pt x="873" y="75"/>
                      <a:pt x="877" y="78"/>
                      <a:pt x="880" y="78"/>
                    </a:cubicBezTo>
                    <a:cubicBezTo>
                      <a:pt x="883" y="78"/>
                      <a:pt x="903" y="80"/>
                      <a:pt x="906" y="80"/>
                    </a:cubicBezTo>
                    <a:cubicBezTo>
                      <a:pt x="909" y="81"/>
                      <a:pt x="912" y="83"/>
                      <a:pt x="915" y="83"/>
                    </a:cubicBezTo>
                    <a:cubicBezTo>
                      <a:pt x="918" y="83"/>
                      <a:pt x="929" y="84"/>
                      <a:pt x="931" y="84"/>
                    </a:cubicBezTo>
                    <a:cubicBezTo>
                      <a:pt x="934" y="85"/>
                      <a:pt x="938" y="88"/>
                      <a:pt x="937" y="90"/>
                    </a:cubicBezTo>
                    <a:cubicBezTo>
                      <a:pt x="937" y="91"/>
                      <a:pt x="933" y="91"/>
                      <a:pt x="934" y="93"/>
                    </a:cubicBezTo>
                    <a:cubicBezTo>
                      <a:pt x="935" y="95"/>
                      <a:pt x="942" y="95"/>
                      <a:pt x="945" y="96"/>
                    </a:cubicBezTo>
                    <a:cubicBezTo>
                      <a:pt x="947" y="98"/>
                      <a:pt x="952" y="101"/>
                      <a:pt x="953" y="102"/>
                    </a:cubicBezTo>
                    <a:cubicBezTo>
                      <a:pt x="955" y="104"/>
                      <a:pt x="960" y="105"/>
                      <a:pt x="963" y="104"/>
                    </a:cubicBezTo>
                    <a:cubicBezTo>
                      <a:pt x="967" y="104"/>
                      <a:pt x="981" y="100"/>
                      <a:pt x="986" y="101"/>
                    </a:cubicBezTo>
                    <a:cubicBezTo>
                      <a:pt x="992" y="101"/>
                      <a:pt x="1002" y="103"/>
                      <a:pt x="1005" y="103"/>
                    </a:cubicBezTo>
                    <a:cubicBezTo>
                      <a:pt x="1008" y="104"/>
                      <a:pt x="1015" y="109"/>
                      <a:pt x="1015" y="111"/>
                    </a:cubicBezTo>
                    <a:cubicBezTo>
                      <a:pt x="1015" y="113"/>
                      <a:pt x="1008" y="116"/>
                      <a:pt x="1012" y="119"/>
                    </a:cubicBezTo>
                    <a:cubicBezTo>
                      <a:pt x="1016" y="121"/>
                      <a:pt x="1019" y="121"/>
                      <a:pt x="1020" y="121"/>
                    </a:cubicBezTo>
                    <a:cubicBezTo>
                      <a:pt x="1022" y="122"/>
                      <a:pt x="1020" y="128"/>
                      <a:pt x="1023" y="127"/>
                    </a:cubicBezTo>
                    <a:cubicBezTo>
                      <a:pt x="1027" y="126"/>
                      <a:pt x="1030" y="122"/>
                      <a:pt x="1033" y="121"/>
                    </a:cubicBezTo>
                    <a:cubicBezTo>
                      <a:pt x="1037" y="121"/>
                      <a:pt x="1045" y="119"/>
                      <a:pt x="1046" y="120"/>
                    </a:cubicBezTo>
                    <a:cubicBezTo>
                      <a:pt x="1048" y="120"/>
                      <a:pt x="1064" y="123"/>
                      <a:pt x="1066" y="123"/>
                    </a:cubicBezTo>
                    <a:cubicBezTo>
                      <a:pt x="1068" y="123"/>
                      <a:pt x="1072" y="119"/>
                      <a:pt x="1074" y="118"/>
                    </a:cubicBezTo>
                    <a:cubicBezTo>
                      <a:pt x="1075" y="118"/>
                      <a:pt x="1076" y="120"/>
                      <a:pt x="1077" y="122"/>
                    </a:cubicBezTo>
                    <a:cubicBezTo>
                      <a:pt x="1078" y="123"/>
                      <a:pt x="1076" y="127"/>
                      <a:pt x="1078" y="127"/>
                    </a:cubicBezTo>
                    <a:cubicBezTo>
                      <a:pt x="1081" y="128"/>
                      <a:pt x="1085" y="127"/>
                      <a:pt x="1086" y="128"/>
                    </a:cubicBezTo>
                    <a:cubicBezTo>
                      <a:pt x="1087" y="129"/>
                      <a:pt x="1085" y="133"/>
                      <a:pt x="1088" y="133"/>
                    </a:cubicBezTo>
                    <a:cubicBezTo>
                      <a:pt x="1091" y="133"/>
                      <a:pt x="1099" y="132"/>
                      <a:pt x="1098" y="129"/>
                    </a:cubicBezTo>
                    <a:cubicBezTo>
                      <a:pt x="1097" y="126"/>
                      <a:pt x="1093" y="121"/>
                      <a:pt x="1093" y="120"/>
                    </a:cubicBezTo>
                    <a:cubicBezTo>
                      <a:pt x="1093" y="118"/>
                      <a:pt x="1092" y="115"/>
                      <a:pt x="1094" y="115"/>
                    </a:cubicBezTo>
                    <a:cubicBezTo>
                      <a:pt x="1096" y="114"/>
                      <a:pt x="1111" y="117"/>
                      <a:pt x="1116" y="118"/>
                    </a:cubicBezTo>
                    <a:cubicBezTo>
                      <a:pt x="1122" y="118"/>
                      <a:pt x="1134" y="118"/>
                      <a:pt x="1136" y="118"/>
                    </a:cubicBezTo>
                    <a:cubicBezTo>
                      <a:pt x="1139" y="118"/>
                      <a:pt x="1144" y="120"/>
                      <a:pt x="1148" y="122"/>
                    </a:cubicBezTo>
                    <a:cubicBezTo>
                      <a:pt x="1152" y="123"/>
                      <a:pt x="1161" y="125"/>
                      <a:pt x="1163" y="126"/>
                    </a:cubicBezTo>
                    <a:cubicBezTo>
                      <a:pt x="1165" y="128"/>
                      <a:pt x="1173" y="131"/>
                      <a:pt x="1175" y="133"/>
                    </a:cubicBezTo>
                    <a:cubicBezTo>
                      <a:pt x="1177" y="134"/>
                      <a:pt x="1198" y="144"/>
                      <a:pt x="1203" y="147"/>
                    </a:cubicBezTo>
                    <a:cubicBezTo>
                      <a:pt x="1208" y="151"/>
                      <a:pt x="1207" y="154"/>
                      <a:pt x="1207" y="155"/>
                    </a:cubicBezTo>
                    <a:cubicBezTo>
                      <a:pt x="1207" y="156"/>
                      <a:pt x="1206" y="160"/>
                      <a:pt x="1208" y="161"/>
                    </a:cubicBezTo>
                    <a:cubicBezTo>
                      <a:pt x="1210" y="162"/>
                      <a:pt x="1213" y="165"/>
                      <a:pt x="1214" y="163"/>
                    </a:cubicBezTo>
                    <a:cubicBezTo>
                      <a:pt x="1214" y="161"/>
                      <a:pt x="1212" y="154"/>
                      <a:pt x="1213" y="154"/>
                    </a:cubicBezTo>
                    <a:cubicBezTo>
                      <a:pt x="1214" y="154"/>
                      <a:pt x="1229" y="156"/>
                      <a:pt x="1230" y="156"/>
                    </a:cubicBezTo>
                    <a:cubicBezTo>
                      <a:pt x="1231" y="157"/>
                      <a:pt x="1246" y="165"/>
                      <a:pt x="1246" y="167"/>
                    </a:cubicBezTo>
                    <a:cubicBezTo>
                      <a:pt x="1246" y="168"/>
                      <a:pt x="1240" y="169"/>
                      <a:pt x="1240" y="170"/>
                    </a:cubicBezTo>
                    <a:cubicBezTo>
                      <a:pt x="1240" y="171"/>
                      <a:pt x="1237" y="173"/>
                      <a:pt x="1234" y="174"/>
                    </a:cubicBezTo>
                    <a:cubicBezTo>
                      <a:pt x="1232" y="175"/>
                      <a:pt x="1225" y="172"/>
                      <a:pt x="1225" y="173"/>
                    </a:cubicBezTo>
                    <a:cubicBezTo>
                      <a:pt x="1225" y="175"/>
                      <a:pt x="1228" y="180"/>
                      <a:pt x="1227" y="181"/>
                    </a:cubicBezTo>
                    <a:cubicBezTo>
                      <a:pt x="1226" y="182"/>
                      <a:pt x="1221" y="183"/>
                      <a:pt x="1221" y="185"/>
                    </a:cubicBezTo>
                    <a:cubicBezTo>
                      <a:pt x="1221" y="187"/>
                      <a:pt x="1224" y="191"/>
                      <a:pt x="1221" y="191"/>
                    </a:cubicBezTo>
                    <a:cubicBezTo>
                      <a:pt x="1218" y="191"/>
                      <a:pt x="1213" y="189"/>
                      <a:pt x="1210" y="187"/>
                    </a:cubicBezTo>
                    <a:cubicBezTo>
                      <a:pt x="1207" y="185"/>
                      <a:pt x="1199" y="183"/>
                      <a:pt x="1199" y="181"/>
                    </a:cubicBezTo>
                    <a:cubicBezTo>
                      <a:pt x="1199" y="179"/>
                      <a:pt x="1198" y="174"/>
                      <a:pt x="1197" y="174"/>
                    </a:cubicBezTo>
                    <a:cubicBezTo>
                      <a:pt x="1196" y="173"/>
                      <a:pt x="1190" y="173"/>
                      <a:pt x="1189" y="173"/>
                    </a:cubicBezTo>
                    <a:cubicBezTo>
                      <a:pt x="1187" y="173"/>
                      <a:pt x="1186" y="176"/>
                      <a:pt x="1183" y="176"/>
                    </a:cubicBezTo>
                    <a:cubicBezTo>
                      <a:pt x="1179" y="175"/>
                      <a:pt x="1178" y="175"/>
                      <a:pt x="1178" y="173"/>
                    </a:cubicBezTo>
                    <a:cubicBezTo>
                      <a:pt x="1178" y="172"/>
                      <a:pt x="1179" y="166"/>
                      <a:pt x="1178" y="164"/>
                    </a:cubicBezTo>
                    <a:cubicBezTo>
                      <a:pt x="1178" y="163"/>
                      <a:pt x="1169" y="165"/>
                      <a:pt x="1168" y="167"/>
                    </a:cubicBezTo>
                    <a:cubicBezTo>
                      <a:pt x="1167" y="168"/>
                      <a:pt x="1165" y="170"/>
                      <a:pt x="1168" y="172"/>
                    </a:cubicBezTo>
                    <a:cubicBezTo>
                      <a:pt x="1170" y="173"/>
                      <a:pt x="1173" y="173"/>
                      <a:pt x="1172" y="175"/>
                    </a:cubicBezTo>
                    <a:cubicBezTo>
                      <a:pt x="1171" y="176"/>
                      <a:pt x="1163" y="184"/>
                      <a:pt x="1161" y="184"/>
                    </a:cubicBezTo>
                    <a:cubicBezTo>
                      <a:pt x="1158" y="184"/>
                      <a:pt x="1147" y="182"/>
                      <a:pt x="1146" y="182"/>
                    </a:cubicBezTo>
                    <a:cubicBezTo>
                      <a:pt x="1145" y="182"/>
                      <a:pt x="1138" y="181"/>
                      <a:pt x="1137" y="182"/>
                    </a:cubicBezTo>
                    <a:cubicBezTo>
                      <a:pt x="1137" y="183"/>
                      <a:pt x="1137" y="186"/>
                      <a:pt x="1139" y="187"/>
                    </a:cubicBezTo>
                    <a:cubicBezTo>
                      <a:pt x="1141" y="187"/>
                      <a:pt x="1144" y="187"/>
                      <a:pt x="1146" y="187"/>
                    </a:cubicBezTo>
                    <a:cubicBezTo>
                      <a:pt x="1147" y="188"/>
                      <a:pt x="1149" y="192"/>
                      <a:pt x="1151" y="192"/>
                    </a:cubicBezTo>
                    <a:cubicBezTo>
                      <a:pt x="1154" y="192"/>
                      <a:pt x="1154" y="190"/>
                      <a:pt x="1155" y="191"/>
                    </a:cubicBezTo>
                    <a:cubicBezTo>
                      <a:pt x="1156" y="191"/>
                      <a:pt x="1156" y="197"/>
                      <a:pt x="1158" y="199"/>
                    </a:cubicBezTo>
                    <a:cubicBezTo>
                      <a:pt x="1160" y="201"/>
                      <a:pt x="1165" y="207"/>
                      <a:pt x="1164" y="208"/>
                    </a:cubicBezTo>
                    <a:cubicBezTo>
                      <a:pt x="1163" y="209"/>
                      <a:pt x="1159" y="212"/>
                      <a:pt x="1159" y="214"/>
                    </a:cubicBezTo>
                    <a:cubicBezTo>
                      <a:pt x="1159" y="215"/>
                      <a:pt x="1150" y="210"/>
                      <a:pt x="1146" y="211"/>
                    </a:cubicBezTo>
                    <a:cubicBezTo>
                      <a:pt x="1142" y="212"/>
                      <a:pt x="1129" y="218"/>
                      <a:pt x="1126" y="219"/>
                    </a:cubicBezTo>
                    <a:cubicBezTo>
                      <a:pt x="1123" y="220"/>
                      <a:pt x="1111" y="225"/>
                      <a:pt x="1109" y="228"/>
                    </a:cubicBezTo>
                    <a:cubicBezTo>
                      <a:pt x="1106" y="230"/>
                      <a:pt x="1098" y="234"/>
                      <a:pt x="1097" y="235"/>
                    </a:cubicBezTo>
                    <a:cubicBezTo>
                      <a:pt x="1096" y="236"/>
                      <a:pt x="1095" y="241"/>
                      <a:pt x="1093" y="241"/>
                    </a:cubicBezTo>
                    <a:cubicBezTo>
                      <a:pt x="1090" y="241"/>
                      <a:pt x="1088" y="235"/>
                      <a:pt x="1085" y="234"/>
                    </a:cubicBezTo>
                    <a:cubicBezTo>
                      <a:pt x="1081" y="234"/>
                      <a:pt x="1073" y="234"/>
                      <a:pt x="1071" y="236"/>
                    </a:cubicBezTo>
                    <a:cubicBezTo>
                      <a:pt x="1069" y="238"/>
                      <a:pt x="1062" y="245"/>
                      <a:pt x="1061" y="244"/>
                    </a:cubicBezTo>
                    <a:cubicBezTo>
                      <a:pt x="1060" y="243"/>
                      <a:pt x="1063" y="236"/>
                      <a:pt x="1061" y="235"/>
                    </a:cubicBezTo>
                    <a:cubicBezTo>
                      <a:pt x="1059" y="234"/>
                      <a:pt x="1053" y="240"/>
                      <a:pt x="1052" y="241"/>
                    </a:cubicBezTo>
                    <a:cubicBezTo>
                      <a:pt x="1051" y="242"/>
                      <a:pt x="1047" y="238"/>
                      <a:pt x="1045" y="240"/>
                    </a:cubicBezTo>
                    <a:cubicBezTo>
                      <a:pt x="1042" y="242"/>
                      <a:pt x="1039" y="247"/>
                      <a:pt x="1038" y="250"/>
                    </a:cubicBezTo>
                    <a:cubicBezTo>
                      <a:pt x="1037" y="252"/>
                      <a:pt x="1030" y="256"/>
                      <a:pt x="1029" y="260"/>
                    </a:cubicBezTo>
                    <a:cubicBezTo>
                      <a:pt x="1029" y="265"/>
                      <a:pt x="1032" y="266"/>
                      <a:pt x="1033" y="265"/>
                    </a:cubicBezTo>
                    <a:cubicBezTo>
                      <a:pt x="1034" y="265"/>
                      <a:pt x="1037" y="263"/>
                      <a:pt x="1038" y="264"/>
                    </a:cubicBezTo>
                    <a:cubicBezTo>
                      <a:pt x="1039" y="265"/>
                      <a:pt x="1040" y="267"/>
                      <a:pt x="1039" y="268"/>
                    </a:cubicBezTo>
                    <a:cubicBezTo>
                      <a:pt x="1038" y="269"/>
                      <a:pt x="1034" y="272"/>
                      <a:pt x="1034" y="273"/>
                    </a:cubicBezTo>
                    <a:cubicBezTo>
                      <a:pt x="1034" y="274"/>
                      <a:pt x="1034" y="277"/>
                      <a:pt x="1035" y="277"/>
                    </a:cubicBezTo>
                    <a:cubicBezTo>
                      <a:pt x="1036" y="277"/>
                      <a:pt x="1040" y="275"/>
                      <a:pt x="1040" y="276"/>
                    </a:cubicBezTo>
                    <a:cubicBezTo>
                      <a:pt x="1040" y="278"/>
                      <a:pt x="1040" y="285"/>
                      <a:pt x="1039" y="285"/>
                    </a:cubicBezTo>
                    <a:cubicBezTo>
                      <a:pt x="1037" y="285"/>
                      <a:pt x="1033" y="282"/>
                      <a:pt x="1031" y="284"/>
                    </a:cubicBezTo>
                    <a:cubicBezTo>
                      <a:pt x="1029" y="286"/>
                      <a:pt x="1028" y="290"/>
                      <a:pt x="1028" y="291"/>
                    </a:cubicBezTo>
                    <a:cubicBezTo>
                      <a:pt x="1028" y="293"/>
                      <a:pt x="1032" y="298"/>
                      <a:pt x="1031" y="299"/>
                    </a:cubicBezTo>
                    <a:cubicBezTo>
                      <a:pt x="1029" y="300"/>
                      <a:pt x="1026" y="303"/>
                      <a:pt x="1024" y="301"/>
                    </a:cubicBezTo>
                    <a:cubicBezTo>
                      <a:pt x="1023" y="300"/>
                      <a:pt x="1019" y="300"/>
                      <a:pt x="1016" y="302"/>
                    </a:cubicBezTo>
                    <a:cubicBezTo>
                      <a:pt x="1013" y="304"/>
                      <a:pt x="1013" y="308"/>
                      <a:pt x="1013" y="309"/>
                    </a:cubicBezTo>
                    <a:cubicBezTo>
                      <a:pt x="1014" y="311"/>
                      <a:pt x="1014" y="313"/>
                      <a:pt x="1014" y="314"/>
                    </a:cubicBezTo>
                    <a:cubicBezTo>
                      <a:pt x="1014" y="315"/>
                      <a:pt x="1010" y="315"/>
                      <a:pt x="1007" y="316"/>
                    </a:cubicBezTo>
                    <a:cubicBezTo>
                      <a:pt x="1005" y="317"/>
                      <a:pt x="1002" y="318"/>
                      <a:pt x="1002" y="321"/>
                    </a:cubicBezTo>
                    <a:cubicBezTo>
                      <a:pt x="1003" y="324"/>
                      <a:pt x="1002" y="327"/>
                      <a:pt x="1000" y="329"/>
                    </a:cubicBezTo>
                    <a:cubicBezTo>
                      <a:pt x="997" y="331"/>
                      <a:pt x="992" y="338"/>
                      <a:pt x="990" y="337"/>
                    </a:cubicBezTo>
                    <a:cubicBezTo>
                      <a:pt x="987" y="337"/>
                      <a:pt x="987" y="329"/>
                      <a:pt x="987" y="326"/>
                    </a:cubicBezTo>
                    <a:cubicBezTo>
                      <a:pt x="987" y="324"/>
                      <a:pt x="984" y="312"/>
                      <a:pt x="983" y="307"/>
                    </a:cubicBezTo>
                    <a:cubicBezTo>
                      <a:pt x="981" y="302"/>
                      <a:pt x="980" y="284"/>
                      <a:pt x="983" y="279"/>
                    </a:cubicBezTo>
                    <a:cubicBezTo>
                      <a:pt x="985" y="275"/>
                      <a:pt x="989" y="273"/>
                      <a:pt x="989" y="272"/>
                    </a:cubicBezTo>
                    <a:cubicBezTo>
                      <a:pt x="990" y="271"/>
                      <a:pt x="989" y="266"/>
                      <a:pt x="991" y="265"/>
                    </a:cubicBezTo>
                    <a:cubicBezTo>
                      <a:pt x="992" y="264"/>
                      <a:pt x="996" y="265"/>
                      <a:pt x="999" y="263"/>
                    </a:cubicBezTo>
                    <a:cubicBezTo>
                      <a:pt x="1002" y="261"/>
                      <a:pt x="1014" y="253"/>
                      <a:pt x="1016" y="249"/>
                    </a:cubicBezTo>
                    <a:cubicBezTo>
                      <a:pt x="1018" y="246"/>
                      <a:pt x="1027" y="238"/>
                      <a:pt x="1029" y="237"/>
                    </a:cubicBezTo>
                    <a:cubicBezTo>
                      <a:pt x="1031" y="235"/>
                      <a:pt x="1042" y="231"/>
                      <a:pt x="1042" y="230"/>
                    </a:cubicBezTo>
                    <a:cubicBezTo>
                      <a:pt x="1043" y="228"/>
                      <a:pt x="1045" y="225"/>
                      <a:pt x="1045" y="224"/>
                    </a:cubicBezTo>
                    <a:cubicBezTo>
                      <a:pt x="1045" y="222"/>
                      <a:pt x="1046" y="216"/>
                      <a:pt x="1047" y="215"/>
                    </a:cubicBezTo>
                    <a:cubicBezTo>
                      <a:pt x="1049" y="214"/>
                      <a:pt x="1053" y="213"/>
                      <a:pt x="1053" y="212"/>
                    </a:cubicBezTo>
                    <a:cubicBezTo>
                      <a:pt x="1053" y="210"/>
                      <a:pt x="1050" y="208"/>
                      <a:pt x="1046" y="208"/>
                    </a:cubicBezTo>
                    <a:cubicBezTo>
                      <a:pt x="1043" y="209"/>
                      <a:pt x="1038" y="210"/>
                      <a:pt x="1037" y="213"/>
                    </a:cubicBezTo>
                    <a:cubicBezTo>
                      <a:pt x="1037" y="216"/>
                      <a:pt x="1038" y="221"/>
                      <a:pt x="1037" y="222"/>
                    </a:cubicBezTo>
                    <a:cubicBezTo>
                      <a:pt x="1036" y="222"/>
                      <a:pt x="1030" y="221"/>
                      <a:pt x="1028" y="224"/>
                    </a:cubicBezTo>
                    <a:cubicBezTo>
                      <a:pt x="1027" y="227"/>
                      <a:pt x="1020" y="232"/>
                      <a:pt x="1017" y="232"/>
                    </a:cubicBezTo>
                    <a:cubicBezTo>
                      <a:pt x="1014" y="232"/>
                      <a:pt x="1014" y="229"/>
                      <a:pt x="1014" y="227"/>
                    </a:cubicBezTo>
                    <a:cubicBezTo>
                      <a:pt x="1015" y="225"/>
                      <a:pt x="1018" y="218"/>
                      <a:pt x="1016" y="218"/>
                    </a:cubicBezTo>
                    <a:cubicBezTo>
                      <a:pt x="1014" y="217"/>
                      <a:pt x="1011" y="219"/>
                      <a:pt x="1006" y="219"/>
                    </a:cubicBezTo>
                    <a:cubicBezTo>
                      <a:pt x="1002" y="219"/>
                      <a:pt x="993" y="219"/>
                      <a:pt x="991" y="223"/>
                    </a:cubicBezTo>
                    <a:cubicBezTo>
                      <a:pt x="989" y="227"/>
                      <a:pt x="987" y="230"/>
                      <a:pt x="984" y="232"/>
                    </a:cubicBezTo>
                    <a:cubicBezTo>
                      <a:pt x="981" y="233"/>
                      <a:pt x="971" y="240"/>
                      <a:pt x="971" y="242"/>
                    </a:cubicBezTo>
                    <a:cubicBezTo>
                      <a:pt x="971" y="243"/>
                      <a:pt x="969" y="245"/>
                      <a:pt x="971" y="246"/>
                    </a:cubicBezTo>
                    <a:cubicBezTo>
                      <a:pt x="972" y="246"/>
                      <a:pt x="979" y="246"/>
                      <a:pt x="978" y="248"/>
                    </a:cubicBezTo>
                    <a:cubicBezTo>
                      <a:pt x="978" y="251"/>
                      <a:pt x="974" y="253"/>
                      <a:pt x="969" y="253"/>
                    </a:cubicBezTo>
                    <a:cubicBezTo>
                      <a:pt x="965" y="253"/>
                      <a:pt x="960" y="253"/>
                      <a:pt x="956" y="253"/>
                    </a:cubicBezTo>
                    <a:cubicBezTo>
                      <a:pt x="952" y="254"/>
                      <a:pt x="948" y="254"/>
                      <a:pt x="948" y="252"/>
                    </a:cubicBezTo>
                    <a:cubicBezTo>
                      <a:pt x="948" y="251"/>
                      <a:pt x="951" y="246"/>
                      <a:pt x="947" y="246"/>
                    </a:cubicBezTo>
                    <a:cubicBezTo>
                      <a:pt x="942" y="245"/>
                      <a:pt x="936" y="242"/>
                      <a:pt x="933" y="243"/>
                    </a:cubicBezTo>
                    <a:cubicBezTo>
                      <a:pt x="930" y="244"/>
                      <a:pt x="931" y="248"/>
                      <a:pt x="928" y="249"/>
                    </a:cubicBezTo>
                    <a:cubicBezTo>
                      <a:pt x="924" y="249"/>
                      <a:pt x="912" y="248"/>
                      <a:pt x="909" y="248"/>
                    </a:cubicBezTo>
                    <a:cubicBezTo>
                      <a:pt x="906" y="248"/>
                      <a:pt x="894" y="248"/>
                      <a:pt x="890" y="248"/>
                    </a:cubicBezTo>
                    <a:cubicBezTo>
                      <a:pt x="885" y="248"/>
                      <a:pt x="878" y="251"/>
                      <a:pt x="875" y="255"/>
                    </a:cubicBezTo>
                    <a:cubicBezTo>
                      <a:pt x="872" y="259"/>
                      <a:pt x="868" y="262"/>
                      <a:pt x="865" y="265"/>
                    </a:cubicBezTo>
                    <a:cubicBezTo>
                      <a:pt x="861" y="267"/>
                      <a:pt x="854" y="272"/>
                      <a:pt x="852" y="274"/>
                    </a:cubicBezTo>
                    <a:cubicBezTo>
                      <a:pt x="851" y="276"/>
                      <a:pt x="838" y="287"/>
                      <a:pt x="834" y="290"/>
                    </a:cubicBezTo>
                    <a:cubicBezTo>
                      <a:pt x="830" y="292"/>
                      <a:pt x="822" y="296"/>
                      <a:pt x="824" y="298"/>
                    </a:cubicBezTo>
                    <a:cubicBezTo>
                      <a:pt x="826" y="300"/>
                      <a:pt x="829" y="300"/>
                      <a:pt x="831" y="300"/>
                    </a:cubicBezTo>
                    <a:cubicBezTo>
                      <a:pt x="833" y="300"/>
                      <a:pt x="836" y="300"/>
                      <a:pt x="837" y="300"/>
                    </a:cubicBezTo>
                    <a:cubicBezTo>
                      <a:pt x="837" y="300"/>
                      <a:pt x="835" y="308"/>
                      <a:pt x="838" y="308"/>
                    </a:cubicBezTo>
                    <a:cubicBezTo>
                      <a:pt x="840" y="308"/>
                      <a:pt x="840" y="307"/>
                      <a:pt x="842" y="307"/>
                    </a:cubicBezTo>
                    <a:cubicBezTo>
                      <a:pt x="843" y="307"/>
                      <a:pt x="848" y="312"/>
                      <a:pt x="849" y="311"/>
                    </a:cubicBezTo>
                    <a:cubicBezTo>
                      <a:pt x="851" y="311"/>
                      <a:pt x="850" y="303"/>
                      <a:pt x="851" y="303"/>
                    </a:cubicBezTo>
                    <a:cubicBezTo>
                      <a:pt x="853" y="303"/>
                      <a:pt x="858" y="303"/>
                      <a:pt x="859" y="303"/>
                    </a:cubicBezTo>
                    <a:cubicBezTo>
                      <a:pt x="861" y="302"/>
                      <a:pt x="867" y="311"/>
                      <a:pt x="869" y="312"/>
                    </a:cubicBezTo>
                    <a:cubicBezTo>
                      <a:pt x="871" y="313"/>
                      <a:pt x="872" y="315"/>
                      <a:pt x="871" y="317"/>
                    </a:cubicBezTo>
                    <a:cubicBezTo>
                      <a:pt x="870" y="318"/>
                      <a:pt x="870" y="323"/>
                      <a:pt x="869" y="326"/>
                    </a:cubicBezTo>
                    <a:cubicBezTo>
                      <a:pt x="869" y="328"/>
                      <a:pt x="867" y="331"/>
                      <a:pt x="866" y="335"/>
                    </a:cubicBezTo>
                    <a:cubicBezTo>
                      <a:pt x="865" y="339"/>
                      <a:pt x="863" y="359"/>
                      <a:pt x="862" y="361"/>
                    </a:cubicBezTo>
                    <a:cubicBezTo>
                      <a:pt x="862" y="363"/>
                      <a:pt x="853" y="371"/>
                      <a:pt x="851" y="375"/>
                    </a:cubicBezTo>
                    <a:cubicBezTo>
                      <a:pt x="849" y="380"/>
                      <a:pt x="843" y="387"/>
                      <a:pt x="839" y="392"/>
                    </a:cubicBezTo>
                    <a:cubicBezTo>
                      <a:pt x="835" y="397"/>
                      <a:pt x="823" y="410"/>
                      <a:pt x="819" y="412"/>
                    </a:cubicBezTo>
                    <a:cubicBezTo>
                      <a:pt x="815" y="415"/>
                      <a:pt x="810" y="419"/>
                      <a:pt x="806" y="417"/>
                    </a:cubicBezTo>
                    <a:cubicBezTo>
                      <a:pt x="803" y="414"/>
                      <a:pt x="802" y="413"/>
                      <a:pt x="799" y="414"/>
                    </a:cubicBezTo>
                    <a:cubicBezTo>
                      <a:pt x="795" y="415"/>
                      <a:pt x="796" y="417"/>
                      <a:pt x="793" y="419"/>
                    </a:cubicBezTo>
                    <a:cubicBezTo>
                      <a:pt x="792" y="420"/>
                      <a:pt x="792" y="420"/>
                      <a:pt x="790" y="421"/>
                    </a:cubicBezTo>
                    <a:cubicBezTo>
                      <a:pt x="787" y="414"/>
                      <a:pt x="787" y="414"/>
                      <a:pt x="787" y="414"/>
                    </a:cubicBezTo>
                    <a:cubicBezTo>
                      <a:pt x="788" y="413"/>
                      <a:pt x="790" y="413"/>
                      <a:pt x="790" y="413"/>
                    </a:cubicBezTo>
                    <a:cubicBezTo>
                      <a:pt x="792" y="412"/>
                      <a:pt x="793" y="400"/>
                      <a:pt x="792" y="398"/>
                    </a:cubicBezTo>
                    <a:cubicBezTo>
                      <a:pt x="790" y="396"/>
                      <a:pt x="795" y="395"/>
                      <a:pt x="797" y="394"/>
                    </a:cubicBezTo>
                    <a:cubicBezTo>
                      <a:pt x="800" y="393"/>
                      <a:pt x="809" y="395"/>
                      <a:pt x="809" y="395"/>
                    </a:cubicBezTo>
                    <a:cubicBezTo>
                      <a:pt x="810" y="395"/>
                      <a:pt x="814" y="383"/>
                      <a:pt x="815" y="380"/>
                    </a:cubicBezTo>
                    <a:cubicBezTo>
                      <a:pt x="815" y="378"/>
                      <a:pt x="820" y="372"/>
                      <a:pt x="821" y="370"/>
                    </a:cubicBezTo>
                    <a:cubicBezTo>
                      <a:pt x="821" y="369"/>
                      <a:pt x="821" y="365"/>
                      <a:pt x="819" y="363"/>
                    </a:cubicBezTo>
                    <a:cubicBezTo>
                      <a:pt x="817" y="360"/>
                      <a:pt x="806" y="367"/>
                      <a:pt x="804" y="369"/>
                    </a:cubicBezTo>
                    <a:cubicBezTo>
                      <a:pt x="802" y="370"/>
                      <a:pt x="794" y="370"/>
                      <a:pt x="793" y="370"/>
                    </a:cubicBezTo>
                    <a:cubicBezTo>
                      <a:pt x="792" y="370"/>
                      <a:pt x="789" y="359"/>
                      <a:pt x="787" y="357"/>
                    </a:cubicBezTo>
                    <a:cubicBezTo>
                      <a:pt x="785" y="355"/>
                      <a:pt x="771" y="353"/>
                      <a:pt x="768" y="351"/>
                    </a:cubicBezTo>
                    <a:cubicBezTo>
                      <a:pt x="765" y="349"/>
                      <a:pt x="765" y="347"/>
                      <a:pt x="765" y="344"/>
                    </a:cubicBezTo>
                    <a:cubicBezTo>
                      <a:pt x="764" y="342"/>
                      <a:pt x="755" y="320"/>
                      <a:pt x="753" y="318"/>
                    </a:cubicBezTo>
                    <a:cubicBezTo>
                      <a:pt x="752" y="316"/>
                      <a:pt x="743" y="315"/>
                      <a:pt x="738" y="312"/>
                    </a:cubicBezTo>
                    <a:cubicBezTo>
                      <a:pt x="734" y="309"/>
                      <a:pt x="718" y="312"/>
                      <a:pt x="715" y="313"/>
                    </a:cubicBezTo>
                    <a:cubicBezTo>
                      <a:pt x="711" y="314"/>
                      <a:pt x="707" y="318"/>
                      <a:pt x="707" y="320"/>
                    </a:cubicBezTo>
                    <a:cubicBezTo>
                      <a:pt x="707" y="322"/>
                      <a:pt x="713" y="322"/>
                      <a:pt x="713" y="323"/>
                    </a:cubicBezTo>
                    <a:cubicBezTo>
                      <a:pt x="714" y="324"/>
                      <a:pt x="714" y="327"/>
                      <a:pt x="712" y="330"/>
                    </a:cubicBezTo>
                    <a:cubicBezTo>
                      <a:pt x="710" y="333"/>
                      <a:pt x="703" y="342"/>
                      <a:pt x="703" y="344"/>
                    </a:cubicBezTo>
                    <a:cubicBezTo>
                      <a:pt x="702" y="346"/>
                      <a:pt x="695" y="350"/>
                      <a:pt x="694" y="351"/>
                    </a:cubicBezTo>
                    <a:cubicBezTo>
                      <a:pt x="693" y="352"/>
                      <a:pt x="683" y="349"/>
                      <a:pt x="682" y="349"/>
                    </a:cubicBezTo>
                    <a:cubicBezTo>
                      <a:pt x="674" y="346"/>
                      <a:pt x="674" y="346"/>
                      <a:pt x="674" y="346"/>
                    </a:cubicBezTo>
                    <a:cubicBezTo>
                      <a:pt x="671" y="346"/>
                      <a:pt x="663" y="343"/>
                      <a:pt x="658" y="348"/>
                    </a:cubicBezTo>
                    <a:cubicBezTo>
                      <a:pt x="652" y="353"/>
                      <a:pt x="646" y="354"/>
                      <a:pt x="641" y="355"/>
                    </a:cubicBezTo>
                    <a:cubicBezTo>
                      <a:pt x="637" y="355"/>
                      <a:pt x="623" y="355"/>
                      <a:pt x="620" y="353"/>
                    </a:cubicBezTo>
                    <a:cubicBezTo>
                      <a:pt x="618" y="352"/>
                      <a:pt x="616" y="346"/>
                      <a:pt x="614" y="346"/>
                    </a:cubicBezTo>
                    <a:cubicBezTo>
                      <a:pt x="612" y="345"/>
                      <a:pt x="600" y="343"/>
                      <a:pt x="598" y="342"/>
                    </a:cubicBezTo>
                    <a:cubicBezTo>
                      <a:pt x="595" y="342"/>
                      <a:pt x="588" y="345"/>
                      <a:pt x="585" y="345"/>
                    </a:cubicBezTo>
                    <a:cubicBezTo>
                      <a:pt x="581" y="345"/>
                      <a:pt x="574" y="342"/>
                      <a:pt x="573" y="340"/>
                    </a:cubicBezTo>
                    <a:cubicBezTo>
                      <a:pt x="572" y="337"/>
                      <a:pt x="573" y="335"/>
                      <a:pt x="572" y="333"/>
                    </a:cubicBezTo>
                    <a:cubicBezTo>
                      <a:pt x="572" y="331"/>
                      <a:pt x="549" y="326"/>
                      <a:pt x="547" y="325"/>
                    </a:cubicBezTo>
                    <a:cubicBezTo>
                      <a:pt x="545" y="325"/>
                      <a:pt x="540" y="332"/>
                      <a:pt x="540" y="335"/>
                    </a:cubicBezTo>
                    <a:cubicBezTo>
                      <a:pt x="540" y="337"/>
                      <a:pt x="544" y="344"/>
                      <a:pt x="542" y="346"/>
                    </a:cubicBezTo>
                    <a:cubicBezTo>
                      <a:pt x="539" y="348"/>
                      <a:pt x="537" y="350"/>
                      <a:pt x="533" y="349"/>
                    </a:cubicBezTo>
                    <a:cubicBezTo>
                      <a:pt x="529" y="348"/>
                      <a:pt x="517" y="348"/>
                      <a:pt x="515" y="346"/>
                    </a:cubicBezTo>
                    <a:cubicBezTo>
                      <a:pt x="513" y="344"/>
                      <a:pt x="510" y="341"/>
                      <a:pt x="509" y="340"/>
                    </a:cubicBezTo>
                    <a:cubicBezTo>
                      <a:pt x="509" y="339"/>
                      <a:pt x="498" y="340"/>
                      <a:pt x="495" y="341"/>
                    </a:cubicBezTo>
                    <a:cubicBezTo>
                      <a:pt x="491" y="342"/>
                      <a:pt x="482" y="345"/>
                      <a:pt x="479" y="346"/>
                    </a:cubicBezTo>
                    <a:cubicBezTo>
                      <a:pt x="477" y="348"/>
                      <a:pt x="469" y="352"/>
                      <a:pt x="469" y="352"/>
                    </a:cubicBezTo>
                    <a:cubicBezTo>
                      <a:pt x="463" y="356"/>
                      <a:pt x="463" y="356"/>
                      <a:pt x="463" y="356"/>
                    </a:cubicBezTo>
                    <a:cubicBezTo>
                      <a:pt x="463" y="356"/>
                      <a:pt x="460" y="355"/>
                      <a:pt x="458" y="354"/>
                    </a:cubicBezTo>
                    <a:cubicBezTo>
                      <a:pt x="457" y="353"/>
                      <a:pt x="455" y="352"/>
                      <a:pt x="454" y="351"/>
                    </a:cubicBezTo>
                    <a:cubicBezTo>
                      <a:pt x="452" y="349"/>
                      <a:pt x="451" y="351"/>
                      <a:pt x="448" y="351"/>
                    </a:cubicBezTo>
                    <a:cubicBezTo>
                      <a:pt x="445" y="352"/>
                      <a:pt x="443" y="351"/>
                      <a:pt x="440" y="349"/>
                    </a:cubicBezTo>
                    <a:cubicBezTo>
                      <a:pt x="438" y="346"/>
                      <a:pt x="433" y="339"/>
                      <a:pt x="430" y="338"/>
                    </a:cubicBezTo>
                    <a:cubicBezTo>
                      <a:pt x="427" y="337"/>
                      <a:pt x="421" y="340"/>
                      <a:pt x="417" y="338"/>
                    </a:cubicBezTo>
                    <a:cubicBezTo>
                      <a:pt x="413" y="336"/>
                      <a:pt x="412" y="335"/>
                      <a:pt x="410" y="335"/>
                    </a:cubicBezTo>
                    <a:cubicBezTo>
                      <a:pt x="409" y="335"/>
                      <a:pt x="402" y="338"/>
                      <a:pt x="402" y="338"/>
                    </a:cubicBezTo>
                    <a:cubicBezTo>
                      <a:pt x="402" y="338"/>
                      <a:pt x="383" y="312"/>
                      <a:pt x="381" y="310"/>
                    </a:cubicBezTo>
                    <a:cubicBezTo>
                      <a:pt x="380" y="307"/>
                      <a:pt x="378" y="303"/>
                      <a:pt x="377" y="303"/>
                    </a:cubicBezTo>
                    <a:cubicBezTo>
                      <a:pt x="375" y="303"/>
                      <a:pt x="366" y="308"/>
                      <a:pt x="363" y="309"/>
                    </a:cubicBezTo>
                    <a:cubicBezTo>
                      <a:pt x="360" y="310"/>
                      <a:pt x="355" y="312"/>
                      <a:pt x="353" y="312"/>
                    </a:cubicBezTo>
                    <a:cubicBezTo>
                      <a:pt x="351" y="312"/>
                      <a:pt x="352" y="307"/>
                      <a:pt x="352" y="306"/>
                    </a:cubicBezTo>
                    <a:cubicBezTo>
                      <a:pt x="351" y="305"/>
                      <a:pt x="336" y="305"/>
                      <a:pt x="335" y="304"/>
                    </a:cubicBezTo>
                    <a:cubicBezTo>
                      <a:pt x="334" y="303"/>
                      <a:pt x="333" y="294"/>
                      <a:pt x="332" y="293"/>
                    </a:cubicBezTo>
                    <a:cubicBezTo>
                      <a:pt x="331" y="292"/>
                      <a:pt x="321" y="292"/>
                      <a:pt x="320" y="292"/>
                    </a:cubicBezTo>
                    <a:cubicBezTo>
                      <a:pt x="318" y="292"/>
                      <a:pt x="314" y="294"/>
                      <a:pt x="313" y="295"/>
                    </a:cubicBezTo>
                    <a:cubicBezTo>
                      <a:pt x="311" y="296"/>
                      <a:pt x="300" y="299"/>
                      <a:pt x="297" y="300"/>
                    </a:cubicBezTo>
                    <a:cubicBezTo>
                      <a:pt x="294" y="300"/>
                      <a:pt x="271" y="306"/>
                      <a:pt x="268" y="306"/>
                    </a:cubicBezTo>
                    <a:cubicBezTo>
                      <a:pt x="265" y="307"/>
                      <a:pt x="261" y="306"/>
                      <a:pt x="260" y="307"/>
                    </a:cubicBezTo>
                    <a:cubicBezTo>
                      <a:pt x="259" y="307"/>
                      <a:pt x="257" y="317"/>
                      <a:pt x="256" y="317"/>
                    </a:cubicBezTo>
                    <a:cubicBezTo>
                      <a:pt x="256" y="318"/>
                      <a:pt x="258" y="321"/>
                      <a:pt x="258" y="323"/>
                    </a:cubicBezTo>
                    <a:cubicBezTo>
                      <a:pt x="257" y="325"/>
                      <a:pt x="252" y="326"/>
                      <a:pt x="251" y="327"/>
                    </a:cubicBezTo>
                    <a:cubicBezTo>
                      <a:pt x="250" y="329"/>
                      <a:pt x="262" y="332"/>
                      <a:pt x="262" y="333"/>
                    </a:cubicBezTo>
                    <a:cubicBezTo>
                      <a:pt x="262" y="334"/>
                      <a:pt x="262" y="338"/>
                      <a:pt x="260" y="339"/>
                    </a:cubicBezTo>
                    <a:cubicBezTo>
                      <a:pt x="259" y="340"/>
                      <a:pt x="253" y="340"/>
                      <a:pt x="251" y="340"/>
                    </a:cubicBezTo>
                    <a:cubicBezTo>
                      <a:pt x="250" y="340"/>
                      <a:pt x="248" y="341"/>
                      <a:pt x="246" y="341"/>
                    </a:cubicBezTo>
                    <a:cubicBezTo>
                      <a:pt x="244" y="341"/>
                      <a:pt x="237" y="336"/>
                      <a:pt x="236" y="336"/>
                    </a:cubicBezTo>
                    <a:cubicBezTo>
                      <a:pt x="234" y="336"/>
                      <a:pt x="228" y="336"/>
                      <a:pt x="225" y="337"/>
                    </a:cubicBezTo>
                    <a:cubicBezTo>
                      <a:pt x="222" y="337"/>
                      <a:pt x="219" y="341"/>
                      <a:pt x="218" y="342"/>
                    </a:cubicBezTo>
                    <a:cubicBezTo>
                      <a:pt x="217" y="343"/>
                      <a:pt x="210" y="340"/>
                      <a:pt x="209" y="340"/>
                    </a:cubicBezTo>
                    <a:cubicBezTo>
                      <a:pt x="207" y="340"/>
                      <a:pt x="200" y="332"/>
                      <a:pt x="199" y="332"/>
                    </a:cubicBezTo>
                    <a:cubicBezTo>
                      <a:pt x="198" y="331"/>
                      <a:pt x="182" y="330"/>
                      <a:pt x="180" y="330"/>
                    </a:cubicBezTo>
                    <a:cubicBezTo>
                      <a:pt x="179" y="330"/>
                      <a:pt x="167" y="339"/>
                      <a:pt x="165" y="340"/>
                    </a:cubicBezTo>
                    <a:cubicBezTo>
                      <a:pt x="164" y="340"/>
                      <a:pt x="167" y="346"/>
                      <a:pt x="166" y="346"/>
                    </a:cubicBezTo>
                    <a:cubicBezTo>
                      <a:pt x="165" y="347"/>
                      <a:pt x="162" y="350"/>
                      <a:pt x="161" y="350"/>
                    </a:cubicBezTo>
                    <a:cubicBezTo>
                      <a:pt x="160" y="350"/>
                      <a:pt x="155" y="342"/>
                      <a:pt x="154" y="343"/>
                    </a:cubicBezTo>
                    <a:cubicBezTo>
                      <a:pt x="153" y="344"/>
                      <a:pt x="149" y="347"/>
                      <a:pt x="149" y="349"/>
                    </a:cubicBezTo>
                    <a:cubicBezTo>
                      <a:pt x="149" y="350"/>
                      <a:pt x="146" y="363"/>
                      <a:pt x="146" y="363"/>
                    </a:cubicBezTo>
                    <a:cubicBezTo>
                      <a:pt x="146" y="363"/>
                      <a:pt x="151" y="368"/>
                      <a:pt x="153" y="369"/>
                    </a:cubicBezTo>
                    <a:cubicBezTo>
                      <a:pt x="155" y="370"/>
                      <a:pt x="161" y="371"/>
                      <a:pt x="163" y="373"/>
                    </a:cubicBezTo>
                    <a:cubicBezTo>
                      <a:pt x="164" y="375"/>
                      <a:pt x="164" y="378"/>
                      <a:pt x="163" y="379"/>
                    </a:cubicBezTo>
                    <a:cubicBezTo>
                      <a:pt x="168" y="385"/>
                      <a:pt x="168" y="385"/>
                      <a:pt x="168" y="385"/>
                    </a:cubicBezTo>
                    <a:cubicBezTo>
                      <a:pt x="167" y="386"/>
                      <a:pt x="166" y="387"/>
                      <a:pt x="165" y="387"/>
                    </a:cubicBezTo>
                    <a:cubicBezTo>
                      <a:pt x="164" y="389"/>
                      <a:pt x="161" y="389"/>
                      <a:pt x="159" y="389"/>
                    </a:cubicBezTo>
                    <a:cubicBezTo>
                      <a:pt x="157" y="389"/>
                      <a:pt x="155" y="392"/>
                      <a:pt x="154" y="394"/>
                    </a:cubicBezTo>
                    <a:cubicBezTo>
                      <a:pt x="154" y="397"/>
                      <a:pt x="149" y="397"/>
                      <a:pt x="149" y="400"/>
                    </a:cubicBezTo>
                    <a:cubicBezTo>
                      <a:pt x="148" y="402"/>
                      <a:pt x="151" y="402"/>
                      <a:pt x="152" y="403"/>
                    </a:cubicBezTo>
                    <a:cubicBezTo>
                      <a:pt x="154" y="403"/>
                      <a:pt x="156" y="406"/>
                      <a:pt x="155" y="408"/>
                    </a:cubicBezTo>
                    <a:cubicBezTo>
                      <a:pt x="155" y="409"/>
                      <a:pt x="155" y="413"/>
                      <a:pt x="155" y="416"/>
                    </a:cubicBezTo>
                    <a:cubicBezTo>
                      <a:pt x="156" y="418"/>
                      <a:pt x="160" y="422"/>
                      <a:pt x="163" y="425"/>
                    </a:cubicBezTo>
                    <a:cubicBezTo>
                      <a:pt x="159" y="429"/>
                      <a:pt x="159" y="429"/>
                      <a:pt x="159" y="429"/>
                    </a:cubicBezTo>
                    <a:cubicBezTo>
                      <a:pt x="158" y="430"/>
                      <a:pt x="157" y="431"/>
                      <a:pt x="155" y="431"/>
                    </a:cubicBezTo>
                    <a:cubicBezTo>
                      <a:pt x="154" y="431"/>
                      <a:pt x="151" y="429"/>
                      <a:pt x="149" y="427"/>
                    </a:cubicBezTo>
                    <a:cubicBezTo>
                      <a:pt x="148" y="426"/>
                      <a:pt x="147" y="425"/>
                      <a:pt x="146" y="425"/>
                    </a:cubicBezTo>
                    <a:cubicBezTo>
                      <a:pt x="145" y="424"/>
                      <a:pt x="138" y="418"/>
                      <a:pt x="136" y="417"/>
                    </a:cubicBezTo>
                    <a:cubicBezTo>
                      <a:pt x="134" y="417"/>
                      <a:pt x="132" y="417"/>
                      <a:pt x="129" y="418"/>
                    </a:cubicBezTo>
                    <a:cubicBezTo>
                      <a:pt x="126" y="418"/>
                      <a:pt x="125" y="417"/>
                      <a:pt x="123" y="415"/>
                    </a:cubicBezTo>
                    <a:cubicBezTo>
                      <a:pt x="121" y="413"/>
                      <a:pt x="115" y="411"/>
                      <a:pt x="113" y="410"/>
                    </a:cubicBezTo>
                    <a:cubicBezTo>
                      <a:pt x="111" y="409"/>
                      <a:pt x="101" y="407"/>
                      <a:pt x="100" y="407"/>
                    </a:cubicBezTo>
                    <a:cubicBezTo>
                      <a:pt x="99" y="407"/>
                      <a:pt x="97" y="412"/>
                      <a:pt x="97" y="412"/>
                    </a:cubicBezTo>
                    <a:cubicBezTo>
                      <a:pt x="96" y="411"/>
                      <a:pt x="95" y="411"/>
                      <a:pt x="95" y="410"/>
                    </a:cubicBezTo>
                    <a:cubicBezTo>
                      <a:pt x="92" y="408"/>
                      <a:pt x="88" y="403"/>
                      <a:pt x="86" y="403"/>
                    </a:cubicBezTo>
                    <a:cubicBezTo>
                      <a:pt x="83" y="402"/>
                      <a:pt x="79" y="400"/>
                      <a:pt x="77" y="399"/>
                    </a:cubicBezTo>
                    <a:cubicBezTo>
                      <a:pt x="75" y="397"/>
                      <a:pt x="72" y="399"/>
                      <a:pt x="72" y="397"/>
                    </a:cubicBezTo>
                    <a:cubicBezTo>
                      <a:pt x="72" y="396"/>
                      <a:pt x="72" y="392"/>
                      <a:pt x="73" y="392"/>
                    </a:cubicBezTo>
                    <a:cubicBezTo>
                      <a:pt x="74" y="392"/>
                      <a:pt x="78" y="393"/>
                      <a:pt x="79" y="392"/>
                    </a:cubicBezTo>
                    <a:cubicBezTo>
                      <a:pt x="79" y="391"/>
                      <a:pt x="84" y="385"/>
                      <a:pt x="84" y="384"/>
                    </a:cubicBezTo>
                    <a:cubicBezTo>
                      <a:pt x="83" y="383"/>
                      <a:pt x="81" y="381"/>
                      <a:pt x="82" y="381"/>
                    </a:cubicBezTo>
                    <a:cubicBezTo>
                      <a:pt x="83" y="380"/>
                      <a:pt x="92" y="378"/>
                      <a:pt x="92" y="377"/>
                    </a:cubicBezTo>
                    <a:cubicBezTo>
                      <a:pt x="93" y="377"/>
                      <a:pt x="91" y="373"/>
                      <a:pt x="90" y="372"/>
                    </a:cubicBezTo>
                    <a:cubicBezTo>
                      <a:pt x="90" y="372"/>
                      <a:pt x="87" y="373"/>
                      <a:pt x="84" y="374"/>
                    </a:cubicBezTo>
                    <a:cubicBezTo>
                      <a:pt x="84" y="369"/>
                      <a:pt x="84" y="369"/>
                      <a:pt x="84" y="369"/>
                    </a:cubicBezTo>
                    <a:cubicBezTo>
                      <a:pt x="85" y="367"/>
                      <a:pt x="93" y="367"/>
                      <a:pt x="94" y="367"/>
                    </a:cubicBezTo>
                    <a:cubicBezTo>
                      <a:pt x="95" y="368"/>
                      <a:pt x="97" y="364"/>
                      <a:pt x="97" y="362"/>
                    </a:cubicBezTo>
                    <a:cubicBezTo>
                      <a:pt x="97" y="360"/>
                      <a:pt x="98" y="354"/>
                      <a:pt x="98" y="352"/>
                    </a:cubicBezTo>
                    <a:cubicBezTo>
                      <a:pt x="98" y="351"/>
                      <a:pt x="85" y="348"/>
                      <a:pt x="83" y="347"/>
                    </a:cubicBezTo>
                    <a:cubicBezTo>
                      <a:pt x="81" y="346"/>
                      <a:pt x="65" y="344"/>
                      <a:pt x="63" y="342"/>
                    </a:cubicBezTo>
                    <a:cubicBezTo>
                      <a:pt x="62" y="341"/>
                      <a:pt x="61" y="337"/>
                      <a:pt x="60" y="335"/>
                    </a:cubicBezTo>
                    <a:cubicBezTo>
                      <a:pt x="58" y="334"/>
                      <a:pt x="53" y="336"/>
                      <a:pt x="53" y="333"/>
                    </a:cubicBezTo>
                    <a:cubicBezTo>
                      <a:pt x="53" y="330"/>
                      <a:pt x="52" y="324"/>
                      <a:pt x="50" y="323"/>
                    </a:cubicBezTo>
                    <a:cubicBezTo>
                      <a:pt x="49" y="322"/>
                      <a:pt x="42" y="324"/>
                      <a:pt x="40" y="324"/>
                    </a:cubicBezTo>
                    <a:cubicBezTo>
                      <a:pt x="39" y="324"/>
                      <a:pt x="36" y="325"/>
                      <a:pt x="33" y="325"/>
                    </a:cubicBezTo>
                    <a:cubicBezTo>
                      <a:pt x="33" y="325"/>
                      <a:pt x="30" y="317"/>
                      <a:pt x="31" y="316"/>
                    </a:cubicBezTo>
                    <a:cubicBezTo>
                      <a:pt x="31" y="314"/>
                      <a:pt x="40" y="316"/>
                      <a:pt x="40" y="314"/>
                    </a:cubicBezTo>
                    <a:cubicBezTo>
                      <a:pt x="41" y="312"/>
                      <a:pt x="35" y="307"/>
                      <a:pt x="33" y="305"/>
                    </a:cubicBezTo>
                    <a:cubicBezTo>
                      <a:pt x="31" y="302"/>
                      <a:pt x="27" y="299"/>
                      <a:pt x="27" y="297"/>
                    </a:cubicBezTo>
                    <a:cubicBezTo>
                      <a:pt x="27" y="295"/>
                      <a:pt x="29" y="291"/>
                      <a:pt x="27" y="289"/>
                    </a:cubicBezTo>
                    <a:cubicBezTo>
                      <a:pt x="25" y="287"/>
                      <a:pt x="19" y="287"/>
                      <a:pt x="16" y="286"/>
                    </a:cubicBezTo>
                    <a:close/>
                  </a:path>
                </a:pathLst>
              </a:custGeom>
              <a:solidFill>
                <a:srgbClr val="EB780A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6" name="Freeform 106"/>
            <p:cNvSpPr>
              <a:spLocks/>
            </p:cNvSpPr>
            <p:nvPr/>
          </p:nvSpPr>
          <p:spPr bwMode="auto">
            <a:xfrm>
              <a:off x="6244721" y="3777412"/>
              <a:ext cx="405744" cy="145951"/>
            </a:xfrm>
            <a:custGeom>
              <a:avLst/>
              <a:gdLst>
                <a:gd name="T0" fmla="*/ 20917 w 145"/>
                <a:gd name="T1" fmla="*/ 6410 h 56"/>
                <a:gd name="T2" fmla="*/ 0 w 145"/>
                <a:gd name="T3" fmla="*/ 6028 h 56"/>
                <a:gd name="T4" fmla="*/ 9776 w 145"/>
                <a:gd name="T5" fmla="*/ 4203 h 56"/>
                <a:gd name="T6" fmla="*/ 24288 w 145"/>
                <a:gd name="T7" fmla="*/ 3933 h 56"/>
                <a:gd name="T8" fmla="*/ 31111 w 145"/>
                <a:gd name="T9" fmla="*/ 3933 h 56"/>
                <a:gd name="T10" fmla="*/ 81189 w 145"/>
                <a:gd name="T11" fmla="*/ 3933 h 56"/>
                <a:gd name="T12" fmla="*/ 96038 w 145"/>
                <a:gd name="T13" fmla="*/ 3029 h 56"/>
                <a:gd name="T14" fmla="*/ 87247 w 145"/>
                <a:gd name="T15" fmla="*/ 2147 h 56"/>
                <a:gd name="T16" fmla="*/ 101770 w 145"/>
                <a:gd name="T17" fmla="*/ 1976 h 56"/>
                <a:gd name="T18" fmla="*/ 138776 w 145"/>
                <a:gd name="T19" fmla="*/ 2147 h 56"/>
                <a:gd name="T20" fmla="*/ 169149 w 145"/>
                <a:gd name="T21" fmla="*/ 993 h 56"/>
                <a:gd name="T22" fmla="*/ 206080 w 145"/>
                <a:gd name="T23" fmla="*/ 0 h 56"/>
                <a:gd name="T24" fmla="*/ 237418 w 145"/>
                <a:gd name="T25" fmla="*/ 0 h 56"/>
                <a:gd name="T26" fmla="*/ 244437 w 145"/>
                <a:gd name="T27" fmla="*/ 704 h 56"/>
                <a:gd name="T28" fmla="*/ 265303 w 145"/>
                <a:gd name="T29" fmla="*/ 704 h 56"/>
                <a:gd name="T30" fmla="*/ 281137 w 145"/>
                <a:gd name="T31" fmla="*/ 1401 h 56"/>
                <a:gd name="T32" fmla="*/ 317803 w 145"/>
                <a:gd name="T33" fmla="*/ 2147 h 56"/>
                <a:gd name="T34" fmla="*/ 348433 w 145"/>
                <a:gd name="T35" fmla="*/ 2147 h 56"/>
                <a:gd name="T36" fmla="*/ 375917 w 145"/>
                <a:gd name="T37" fmla="*/ 2460 h 56"/>
                <a:gd name="T38" fmla="*/ 409634 w 145"/>
                <a:gd name="T39" fmla="*/ 993 h 56"/>
                <a:gd name="T40" fmla="*/ 437096 w 145"/>
                <a:gd name="T41" fmla="*/ 1236 h 56"/>
                <a:gd name="T42" fmla="*/ 456411 w 145"/>
                <a:gd name="T43" fmla="*/ 2147 h 56"/>
                <a:gd name="T44" fmla="*/ 461701 w 145"/>
                <a:gd name="T45" fmla="*/ 4273 h 56"/>
                <a:gd name="T46" fmla="*/ 486240 w 145"/>
                <a:gd name="T47" fmla="*/ 5427 h 56"/>
                <a:gd name="T48" fmla="*/ 475016 w 145"/>
                <a:gd name="T49" fmla="*/ 6637 h 56"/>
                <a:gd name="T50" fmla="*/ 481850 w 145"/>
                <a:gd name="T51" fmla="*/ 9043 h 56"/>
                <a:gd name="T52" fmla="*/ 491972 w 145"/>
                <a:gd name="T53" fmla="*/ 10800 h 56"/>
                <a:gd name="T54" fmla="*/ 440952 w 145"/>
                <a:gd name="T55" fmla="*/ 10616 h 56"/>
                <a:gd name="T56" fmla="*/ 426174 w 145"/>
                <a:gd name="T57" fmla="*/ 11042 h 56"/>
                <a:gd name="T58" fmla="*/ 413593 w 145"/>
                <a:gd name="T59" fmla="*/ 10281 h 56"/>
                <a:gd name="T60" fmla="*/ 383365 w 145"/>
                <a:gd name="T61" fmla="*/ 11042 h 56"/>
                <a:gd name="T62" fmla="*/ 336097 w 145"/>
                <a:gd name="T63" fmla="*/ 11799 h 56"/>
                <a:gd name="T64" fmla="*/ 317803 w 145"/>
                <a:gd name="T65" fmla="*/ 11376 h 56"/>
                <a:gd name="T66" fmla="*/ 287460 w 145"/>
                <a:gd name="T67" fmla="*/ 11799 h 56"/>
                <a:gd name="T68" fmla="*/ 277787 w 145"/>
                <a:gd name="T69" fmla="*/ 13165 h 56"/>
                <a:gd name="T70" fmla="*/ 265303 w 145"/>
                <a:gd name="T71" fmla="*/ 13619 h 56"/>
                <a:gd name="T72" fmla="*/ 265303 w 145"/>
                <a:gd name="T73" fmla="*/ 13165 h 56"/>
                <a:gd name="T74" fmla="*/ 261234 w 145"/>
                <a:gd name="T75" fmla="*/ 12757 h 56"/>
                <a:gd name="T76" fmla="*/ 265303 w 145"/>
                <a:gd name="T77" fmla="*/ 11042 h 56"/>
                <a:gd name="T78" fmla="*/ 244437 w 145"/>
                <a:gd name="T79" fmla="*/ 11997 h 56"/>
                <a:gd name="T80" fmla="*/ 226174 w 145"/>
                <a:gd name="T81" fmla="*/ 11799 h 56"/>
                <a:gd name="T82" fmla="*/ 200003 w 145"/>
                <a:gd name="T83" fmla="*/ 13165 h 56"/>
                <a:gd name="T84" fmla="*/ 169149 w 145"/>
                <a:gd name="T85" fmla="*/ 13209 h 56"/>
                <a:gd name="T86" fmla="*/ 134942 w 145"/>
                <a:gd name="T87" fmla="*/ 11483 h 56"/>
                <a:gd name="T88" fmla="*/ 122779 w 145"/>
                <a:gd name="T89" fmla="*/ 11483 h 56"/>
                <a:gd name="T90" fmla="*/ 116820 w 145"/>
                <a:gd name="T91" fmla="*/ 12757 h 56"/>
                <a:gd name="T92" fmla="*/ 96038 w 145"/>
                <a:gd name="T93" fmla="*/ 13165 h 56"/>
                <a:gd name="T94" fmla="*/ 81189 w 145"/>
                <a:gd name="T95" fmla="*/ 11799 h 56"/>
                <a:gd name="T96" fmla="*/ 55674 w 145"/>
                <a:gd name="T97" fmla="*/ 11799 h 56"/>
                <a:gd name="T98" fmla="*/ 34765 w 145"/>
                <a:gd name="T99" fmla="*/ 11376 h 56"/>
                <a:gd name="T100" fmla="*/ 40368 w 145"/>
                <a:gd name="T101" fmla="*/ 10616 h 56"/>
                <a:gd name="T102" fmla="*/ 24288 w 145"/>
                <a:gd name="T103" fmla="*/ 9654 h 56"/>
                <a:gd name="T104" fmla="*/ 34765 w 145"/>
                <a:gd name="T105" fmla="*/ 8927 h 56"/>
                <a:gd name="T106" fmla="*/ 5882 w 145"/>
                <a:gd name="T107" fmla="*/ 8140 h 56"/>
                <a:gd name="T108" fmla="*/ 27005 w 145"/>
                <a:gd name="T109" fmla="*/ 7288 h 56"/>
                <a:gd name="T110" fmla="*/ 20917 w 145"/>
                <a:gd name="T111" fmla="*/ 6410 h 5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45" h="56">
                  <a:moveTo>
                    <a:pt x="6" y="26"/>
                  </a:moveTo>
                  <a:cubicBezTo>
                    <a:pt x="6" y="26"/>
                    <a:pt x="0" y="26"/>
                    <a:pt x="0" y="25"/>
                  </a:cubicBezTo>
                  <a:cubicBezTo>
                    <a:pt x="0" y="23"/>
                    <a:pt x="2" y="18"/>
                    <a:pt x="3" y="17"/>
                  </a:cubicBezTo>
                  <a:cubicBezTo>
                    <a:pt x="4" y="17"/>
                    <a:pt x="5" y="16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1" y="17"/>
                    <a:pt x="22" y="16"/>
                    <a:pt x="24" y="16"/>
                  </a:cubicBezTo>
                  <a:cubicBezTo>
                    <a:pt x="27" y="16"/>
                    <a:pt x="28" y="15"/>
                    <a:pt x="28" y="13"/>
                  </a:cubicBezTo>
                  <a:cubicBezTo>
                    <a:pt x="29" y="12"/>
                    <a:pt x="26" y="10"/>
                    <a:pt x="26" y="9"/>
                  </a:cubicBezTo>
                  <a:cubicBezTo>
                    <a:pt x="26" y="8"/>
                    <a:pt x="28" y="8"/>
                    <a:pt x="30" y="8"/>
                  </a:cubicBezTo>
                  <a:cubicBezTo>
                    <a:pt x="32" y="8"/>
                    <a:pt x="38" y="10"/>
                    <a:pt x="41" y="9"/>
                  </a:cubicBezTo>
                  <a:cubicBezTo>
                    <a:pt x="43" y="7"/>
                    <a:pt x="48" y="6"/>
                    <a:pt x="50" y="4"/>
                  </a:cubicBezTo>
                  <a:cubicBezTo>
                    <a:pt x="52" y="3"/>
                    <a:pt x="57" y="0"/>
                    <a:pt x="61" y="0"/>
                  </a:cubicBezTo>
                  <a:cubicBezTo>
                    <a:pt x="65" y="1"/>
                    <a:pt x="67" y="0"/>
                    <a:pt x="70" y="0"/>
                  </a:cubicBezTo>
                  <a:cubicBezTo>
                    <a:pt x="72" y="0"/>
                    <a:pt x="70" y="3"/>
                    <a:pt x="72" y="3"/>
                  </a:cubicBezTo>
                  <a:cubicBezTo>
                    <a:pt x="75" y="4"/>
                    <a:pt x="77" y="2"/>
                    <a:pt x="78" y="3"/>
                  </a:cubicBezTo>
                  <a:cubicBezTo>
                    <a:pt x="79" y="3"/>
                    <a:pt x="79" y="5"/>
                    <a:pt x="83" y="6"/>
                  </a:cubicBezTo>
                  <a:cubicBezTo>
                    <a:pt x="86" y="8"/>
                    <a:pt x="90" y="9"/>
                    <a:pt x="94" y="9"/>
                  </a:cubicBezTo>
                  <a:cubicBezTo>
                    <a:pt x="98" y="10"/>
                    <a:pt x="100" y="9"/>
                    <a:pt x="103" y="9"/>
                  </a:cubicBezTo>
                  <a:cubicBezTo>
                    <a:pt x="107" y="9"/>
                    <a:pt x="109" y="11"/>
                    <a:pt x="111" y="10"/>
                  </a:cubicBezTo>
                  <a:cubicBezTo>
                    <a:pt x="114" y="9"/>
                    <a:pt x="119" y="6"/>
                    <a:pt x="121" y="4"/>
                  </a:cubicBezTo>
                  <a:cubicBezTo>
                    <a:pt x="121" y="4"/>
                    <a:pt x="128" y="5"/>
                    <a:pt x="129" y="5"/>
                  </a:cubicBezTo>
                  <a:cubicBezTo>
                    <a:pt x="131" y="5"/>
                    <a:pt x="132" y="8"/>
                    <a:pt x="135" y="9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20"/>
                    <a:pt x="140" y="20"/>
                    <a:pt x="143" y="22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9"/>
                    <a:pt x="142" y="34"/>
                    <a:pt x="142" y="37"/>
                  </a:cubicBezTo>
                  <a:cubicBezTo>
                    <a:pt x="142" y="40"/>
                    <a:pt x="143" y="40"/>
                    <a:pt x="145" y="44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29" y="43"/>
                    <a:pt x="128" y="44"/>
                    <a:pt x="126" y="45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0" y="42"/>
                    <a:pt x="116" y="44"/>
                    <a:pt x="113" y="45"/>
                  </a:cubicBezTo>
                  <a:cubicBezTo>
                    <a:pt x="110" y="46"/>
                    <a:pt x="101" y="49"/>
                    <a:pt x="99" y="48"/>
                  </a:cubicBezTo>
                  <a:cubicBezTo>
                    <a:pt x="98" y="47"/>
                    <a:pt x="95" y="46"/>
                    <a:pt x="94" y="46"/>
                  </a:cubicBezTo>
                  <a:cubicBezTo>
                    <a:pt x="92" y="46"/>
                    <a:pt x="85" y="46"/>
                    <a:pt x="85" y="48"/>
                  </a:cubicBezTo>
                  <a:cubicBezTo>
                    <a:pt x="85" y="50"/>
                    <a:pt x="84" y="52"/>
                    <a:pt x="82" y="53"/>
                  </a:cubicBezTo>
                  <a:cubicBezTo>
                    <a:pt x="81" y="54"/>
                    <a:pt x="78" y="55"/>
                    <a:pt x="78" y="55"/>
                  </a:cubicBezTo>
                  <a:cubicBezTo>
                    <a:pt x="78" y="54"/>
                    <a:pt x="78" y="54"/>
                    <a:pt x="78" y="53"/>
                  </a:cubicBezTo>
                  <a:cubicBezTo>
                    <a:pt x="77" y="52"/>
                    <a:pt x="77" y="53"/>
                    <a:pt x="77" y="52"/>
                  </a:cubicBezTo>
                  <a:cubicBezTo>
                    <a:pt x="76" y="51"/>
                    <a:pt x="82" y="49"/>
                    <a:pt x="78" y="45"/>
                  </a:cubicBezTo>
                  <a:cubicBezTo>
                    <a:pt x="75" y="43"/>
                    <a:pt x="73" y="49"/>
                    <a:pt x="72" y="49"/>
                  </a:cubicBezTo>
                  <a:cubicBezTo>
                    <a:pt x="70" y="49"/>
                    <a:pt x="69" y="46"/>
                    <a:pt x="67" y="48"/>
                  </a:cubicBezTo>
                  <a:cubicBezTo>
                    <a:pt x="64" y="50"/>
                    <a:pt x="61" y="53"/>
                    <a:pt x="59" y="53"/>
                  </a:cubicBezTo>
                  <a:cubicBezTo>
                    <a:pt x="56" y="53"/>
                    <a:pt x="52" y="56"/>
                    <a:pt x="50" y="54"/>
                  </a:cubicBezTo>
                  <a:cubicBezTo>
                    <a:pt x="48" y="52"/>
                    <a:pt x="43" y="47"/>
                    <a:pt x="40" y="47"/>
                  </a:cubicBezTo>
                  <a:cubicBezTo>
                    <a:pt x="37" y="46"/>
                    <a:pt x="37" y="45"/>
                    <a:pt x="36" y="47"/>
                  </a:cubicBezTo>
                  <a:cubicBezTo>
                    <a:pt x="34" y="48"/>
                    <a:pt x="37" y="52"/>
                    <a:pt x="34" y="52"/>
                  </a:cubicBezTo>
                  <a:cubicBezTo>
                    <a:pt x="32" y="52"/>
                    <a:pt x="31" y="54"/>
                    <a:pt x="28" y="53"/>
                  </a:cubicBezTo>
                  <a:cubicBezTo>
                    <a:pt x="25" y="51"/>
                    <a:pt x="25" y="49"/>
                    <a:pt x="24" y="48"/>
                  </a:cubicBezTo>
                  <a:cubicBezTo>
                    <a:pt x="22" y="48"/>
                    <a:pt x="18" y="48"/>
                    <a:pt x="16" y="48"/>
                  </a:cubicBezTo>
                  <a:cubicBezTo>
                    <a:pt x="13" y="48"/>
                    <a:pt x="11" y="46"/>
                    <a:pt x="10" y="46"/>
                  </a:cubicBezTo>
                  <a:cubicBezTo>
                    <a:pt x="10" y="45"/>
                    <a:pt x="14" y="44"/>
                    <a:pt x="12" y="43"/>
                  </a:cubicBezTo>
                  <a:cubicBezTo>
                    <a:pt x="10" y="41"/>
                    <a:pt x="8" y="40"/>
                    <a:pt x="7" y="39"/>
                  </a:cubicBezTo>
                  <a:cubicBezTo>
                    <a:pt x="5" y="39"/>
                    <a:pt x="12" y="38"/>
                    <a:pt x="10" y="36"/>
                  </a:cubicBezTo>
                  <a:cubicBezTo>
                    <a:pt x="7" y="35"/>
                    <a:pt x="1" y="35"/>
                    <a:pt x="2" y="33"/>
                  </a:cubicBezTo>
                  <a:cubicBezTo>
                    <a:pt x="2" y="31"/>
                    <a:pt x="8" y="31"/>
                    <a:pt x="8" y="30"/>
                  </a:cubicBezTo>
                  <a:cubicBezTo>
                    <a:pt x="8" y="29"/>
                    <a:pt x="7" y="27"/>
                    <a:pt x="6" y="26"/>
                  </a:cubicBezTo>
                  <a:close/>
                </a:path>
              </a:pathLst>
            </a:custGeom>
            <a:solidFill>
              <a:srgbClr val="EB780A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107"/>
            <p:cNvSpPr>
              <a:spLocks/>
            </p:cNvSpPr>
            <p:nvPr/>
          </p:nvSpPr>
          <p:spPr bwMode="auto">
            <a:xfrm>
              <a:off x="6221151" y="4013890"/>
              <a:ext cx="230651" cy="219850"/>
            </a:xfrm>
            <a:custGeom>
              <a:avLst/>
              <a:gdLst>
                <a:gd name="T0" fmla="*/ 197230 w 83"/>
                <a:gd name="T1" fmla="*/ 25099 h 83"/>
                <a:gd name="T2" fmla="*/ 5280 w 83"/>
                <a:gd name="T3" fmla="*/ 25099 h 83"/>
                <a:gd name="T4" fmla="*/ 5280 w 83"/>
                <a:gd name="T5" fmla="*/ 7153 h 83"/>
                <a:gd name="T6" fmla="*/ 0 w 83"/>
                <a:gd name="T7" fmla="*/ 4228 h 83"/>
                <a:gd name="T8" fmla="*/ 13391 w 83"/>
                <a:gd name="T9" fmla="*/ 2466 h 83"/>
                <a:gd name="T10" fmla="*/ 13391 w 83"/>
                <a:gd name="T11" fmla="*/ 698 h 83"/>
                <a:gd name="T12" fmla="*/ 42650 w 83"/>
                <a:gd name="T13" fmla="*/ 698 h 83"/>
                <a:gd name="T14" fmla="*/ 99398 w 83"/>
                <a:gd name="T15" fmla="*/ 2189 h 83"/>
                <a:gd name="T16" fmla="*/ 133796 w 83"/>
                <a:gd name="T17" fmla="*/ 698 h 83"/>
                <a:gd name="T18" fmla="*/ 149244 w 83"/>
                <a:gd name="T19" fmla="*/ 1 h 83"/>
                <a:gd name="T20" fmla="*/ 167246 w 83"/>
                <a:gd name="T21" fmla="*/ 698 h 83"/>
                <a:gd name="T22" fmla="*/ 186642 w 83"/>
                <a:gd name="T23" fmla="*/ 2057 h 83"/>
                <a:gd name="T24" fmla="*/ 215539 w 83"/>
                <a:gd name="T25" fmla="*/ 1435 h 83"/>
                <a:gd name="T26" fmla="*/ 234404 w 83"/>
                <a:gd name="T27" fmla="*/ 6763 h 83"/>
                <a:gd name="T28" fmla="*/ 234404 w 83"/>
                <a:gd name="T29" fmla="*/ 6763 h 83"/>
                <a:gd name="T30" fmla="*/ 220844 w 83"/>
                <a:gd name="T31" fmla="*/ 9696 h 83"/>
                <a:gd name="T32" fmla="*/ 209437 w 83"/>
                <a:gd name="T33" fmla="*/ 8895 h 83"/>
                <a:gd name="T34" fmla="*/ 186906 w 83"/>
                <a:gd name="T35" fmla="*/ 5070 h 83"/>
                <a:gd name="T36" fmla="*/ 176246 w 83"/>
                <a:gd name="T37" fmla="*/ 4989 h 83"/>
                <a:gd name="T38" fmla="*/ 172915 w 83"/>
                <a:gd name="T39" fmla="*/ 5729 h 83"/>
                <a:gd name="T40" fmla="*/ 197230 w 83"/>
                <a:gd name="T41" fmla="*/ 10422 h 83"/>
                <a:gd name="T42" fmla="*/ 212518 w 83"/>
                <a:gd name="T43" fmla="*/ 13259 h 83"/>
                <a:gd name="T44" fmla="*/ 248277 w 83"/>
                <a:gd name="T45" fmla="*/ 20472 h 83"/>
                <a:gd name="T46" fmla="*/ 252029 w 83"/>
                <a:gd name="T47" fmla="*/ 22934 h 83"/>
                <a:gd name="T48" fmla="*/ 237641 w 83"/>
                <a:gd name="T49" fmla="*/ 23373 h 83"/>
                <a:gd name="T50" fmla="*/ 229350 w 83"/>
                <a:gd name="T51" fmla="*/ 24977 h 83"/>
                <a:gd name="T52" fmla="*/ 212518 w 83"/>
                <a:gd name="T53" fmla="*/ 26214 h 83"/>
                <a:gd name="T54" fmla="*/ 197230 w 83"/>
                <a:gd name="T55" fmla="*/ 25099 h 8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3" h="83">
                  <a:moveTo>
                    <a:pt x="65" y="79"/>
                  </a:moveTo>
                  <a:cubicBezTo>
                    <a:pt x="2" y="79"/>
                    <a:pt x="2" y="79"/>
                    <a:pt x="2" y="79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0" y="17"/>
                    <a:pt x="0" y="13"/>
                  </a:cubicBezTo>
                  <a:cubicBezTo>
                    <a:pt x="0" y="10"/>
                    <a:pt x="4" y="10"/>
                    <a:pt x="4" y="8"/>
                  </a:cubicBezTo>
                  <a:cubicBezTo>
                    <a:pt x="4" y="6"/>
                    <a:pt x="4" y="2"/>
                    <a:pt x="4" y="2"/>
                  </a:cubicBezTo>
                  <a:cubicBezTo>
                    <a:pt x="7" y="2"/>
                    <a:pt x="11" y="2"/>
                    <a:pt x="14" y="2"/>
                  </a:cubicBezTo>
                  <a:cubicBezTo>
                    <a:pt x="16" y="2"/>
                    <a:pt x="30" y="7"/>
                    <a:pt x="33" y="7"/>
                  </a:cubicBezTo>
                  <a:cubicBezTo>
                    <a:pt x="37" y="7"/>
                    <a:pt x="42" y="3"/>
                    <a:pt x="44" y="2"/>
                  </a:cubicBezTo>
                  <a:cubicBezTo>
                    <a:pt x="47" y="1"/>
                    <a:pt x="47" y="1"/>
                    <a:pt x="49" y="1"/>
                  </a:cubicBezTo>
                  <a:cubicBezTo>
                    <a:pt x="52" y="0"/>
                    <a:pt x="53" y="1"/>
                    <a:pt x="55" y="2"/>
                  </a:cubicBezTo>
                  <a:cubicBezTo>
                    <a:pt x="57" y="3"/>
                    <a:pt x="59" y="6"/>
                    <a:pt x="61" y="6"/>
                  </a:cubicBezTo>
                  <a:cubicBezTo>
                    <a:pt x="64" y="5"/>
                    <a:pt x="69" y="6"/>
                    <a:pt x="71" y="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5" y="23"/>
                    <a:pt x="74" y="30"/>
                    <a:pt x="73" y="30"/>
                  </a:cubicBezTo>
                  <a:cubicBezTo>
                    <a:pt x="72" y="30"/>
                    <a:pt x="71" y="30"/>
                    <a:pt x="69" y="28"/>
                  </a:cubicBezTo>
                  <a:cubicBezTo>
                    <a:pt x="68" y="26"/>
                    <a:pt x="63" y="18"/>
                    <a:pt x="62" y="16"/>
                  </a:cubicBezTo>
                  <a:cubicBezTo>
                    <a:pt x="61" y="13"/>
                    <a:pt x="59" y="13"/>
                    <a:pt x="58" y="15"/>
                  </a:cubicBezTo>
                  <a:cubicBezTo>
                    <a:pt x="57" y="17"/>
                    <a:pt x="58" y="17"/>
                    <a:pt x="57" y="18"/>
                  </a:cubicBezTo>
                  <a:cubicBezTo>
                    <a:pt x="57" y="20"/>
                    <a:pt x="63" y="31"/>
                    <a:pt x="65" y="33"/>
                  </a:cubicBezTo>
                  <a:cubicBezTo>
                    <a:pt x="67" y="35"/>
                    <a:pt x="68" y="39"/>
                    <a:pt x="70" y="42"/>
                  </a:cubicBezTo>
                  <a:cubicBezTo>
                    <a:pt x="73" y="45"/>
                    <a:pt x="82" y="62"/>
                    <a:pt x="82" y="64"/>
                  </a:cubicBezTo>
                  <a:cubicBezTo>
                    <a:pt x="82" y="65"/>
                    <a:pt x="82" y="69"/>
                    <a:pt x="83" y="72"/>
                  </a:cubicBezTo>
                  <a:cubicBezTo>
                    <a:pt x="83" y="72"/>
                    <a:pt x="80" y="73"/>
                    <a:pt x="78" y="73"/>
                  </a:cubicBezTo>
                  <a:cubicBezTo>
                    <a:pt x="77" y="73"/>
                    <a:pt x="76" y="78"/>
                    <a:pt x="76" y="78"/>
                  </a:cubicBezTo>
                  <a:cubicBezTo>
                    <a:pt x="76" y="78"/>
                    <a:pt x="72" y="81"/>
                    <a:pt x="70" y="82"/>
                  </a:cubicBezTo>
                  <a:cubicBezTo>
                    <a:pt x="68" y="83"/>
                    <a:pt x="67" y="80"/>
                    <a:pt x="65" y="79"/>
                  </a:cubicBezTo>
                  <a:close/>
                </a:path>
              </a:pathLst>
            </a:custGeom>
            <a:solidFill>
              <a:srgbClr val="EB780A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112"/>
            <p:cNvSpPr>
              <a:spLocks/>
            </p:cNvSpPr>
            <p:nvPr/>
          </p:nvSpPr>
          <p:spPr bwMode="auto">
            <a:xfrm>
              <a:off x="6165592" y="3511376"/>
              <a:ext cx="383857" cy="216155"/>
            </a:xfrm>
            <a:custGeom>
              <a:avLst/>
              <a:gdLst>
                <a:gd name="T0" fmla="*/ 3243 w 138"/>
                <a:gd name="T1" fmla="*/ 11820 h 82"/>
                <a:gd name="T2" fmla="*/ 13777 w 138"/>
                <a:gd name="T3" fmla="*/ 10236 h 82"/>
                <a:gd name="T4" fmla="*/ 22762 w 138"/>
                <a:gd name="T5" fmla="*/ 10179 h 82"/>
                <a:gd name="T6" fmla="*/ 19081 w 138"/>
                <a:gd name="T7" fmla="*/ 8284 h 82"/>
                <a:gd name="T8" fmla="*/ 37607 w 138"/>
                <a:gd name="T9" fmla="*/ 6399 h 82"/>
                <a:gd name="T10" fmla="*/ 48343 w 138"/>
                <a:gd name="T11" fmla="*/ 5709 h 82"/>
                <a:gd name="T12" fmla="*/ 37607 w 138"/>
                <a:gd name="T13" fmla="*/ 3349 h 82"/>
                <a:gd name="T14" fmla="*/ 37607 w 138"/>
                <a:gd name="T15" fmla="*/ 2939 h 82"/>
                <a:gd name="T16" fmla="*/ 37607 w 138"/>
                <a:gd name="T17" fmla="*/ 2939 h 82"/>
                <a:gd name="T18" fmla="*/ 62133 w 138"/>
                <a:gd name="T19" fmla="*/ 2060 h 82"/>
                <a:gd name="T20" fmla="*/ 86053 w 138"/>
                <a:gd name="T21" fmla="*/ 1444 h 82"/>
                <a:gd name="T22" fmla="*/ 131961 w 138"/>
                <a:gd name="T23" fmla="*/ 2347 h 82"/>
                <a:gd name="T24" fmla="*/ 173833 w 138"/>
                <a:gd name="T25" fmla="*/ 3349 h 82"/>
                <a:gd name="T26" fmla="*/ 199310 w 138"/>
                <a:gd name="T27" fmla="*/ 3504 h 82"/>
                <a:gd name="T28" fmla="*/ 209317 w 138"/>
                <a:gd name="T29" fmla="*/ 1444 h 82"/>
                <a:gd name="T30" fmla="*/ 225330 w 138"/>
                <a:gd name="T31" fmla="*/ 965 h 82"/>
                <a:gd name="T32" fmla="*/ 246128 w 138"/>
                <a:gd name="T33" fmla="*/ 676 h 82"/>
                <a:gd name="T34" fmla="*/ 277666 w 138"/>
                <a:gd name="T35" fmla="*/ 1 h 82"/>
                <a:gd name="T36" fmla="*/ 287202 w 138"/>
                <a:gd name="T37" fmla="*/ 3349 h 82"/>
                <a:gd name="T38" fmla="*/ 308320 w 138"/>
                <a:gd name="T39" fmla="*/ 4001 h 82"/>
                <a:gd name="T40" fmla="*/ 317194 w 138"/>
                <a:gd name="T41" fmla="*/ 5983 h 82"/>
                <a:gd name="T42" fmla="*/ 378088 w 138"/>
                <a:gd name="T43" fmla="*/ 7370 h 82"/>
                <a:gd name="T44" fmla="*/ 425721 w 138"/>
                <a:gd name="T45" fmla="*/ 8853 h 82"/>
                <a:gd name="T46" fmla="*/ 421126 w 138"/>
                <a:gd name="T47" fmla="*/ 11820 h 82"/>
                <a:gd name="T48" fmla="*/ 412047 w 138"/>
                <a:gd name="T49" fmla="*/ 13201 h 82"/>
                <a:gd name="T50" fmla="*/ 382685 w 138"/>
                <a:gd name="T51" fmla="*/ 13879 h 82"/>
                <a:gd name="T52" fmla="*/ 382685 w 138"/>
                <a:gd name="T53" fmla="*/ 15324 h 82"/>
                <a:gd name="T54" fmla="*/ 363607 w 138"/>
                <a:gd name="T55" fmla="*/ 15659 h 82"/>
                <a:gd name="T56" fmla="*/ 302629 w 138"/>
                <a:gd name="T57" fmla="*/ 18024 h 82"/>
                <a:gd name="T58" fmla="*/ 297456 w 138"/>
                <a:gd name="T59" fmla="*/ 19314 h 82"/>
                <a:gd name="T60" fmla="*/ 315298 w 138"/>
                <a:gd name="T61" fmla="*/ 20322 h 82"/>
                <a:gd name="T62" fmla="*/ 326025 w 138"/>
                <a:gd name="T63" fmla="*/ 20322 h 82"/>
                <a:gd name="T64" fmla="*/ 326025 w 138"/>
                <a:gd name="T65" fmla="*/ 21410 h 82"/>
                <a:gd name="T66" fmla="*/ 292526 w 138"/>
                <a:gd name="T67" fmla="*/ 22791 h 82"/>
                <a:gd name="T68" fmla="*/ 268399 w 138"/>
                <a:gd name="T69" fmla="*/ 23663 h 82"/>
                <a:gd name="T70" fmla="*/ 268399 w 138"/>
                <a:gd name="T71" fmla="*/ 21410 h 82"/>
                <a:gd name="T72" fmla="*/ 246128 w 138"/>
                <a:gd name="T73" fmla="*/ 20839 h 82"/>
                <a:gd name="T74" fmla="*/ 271422 w 138"/>
                <a:gd name="T75" fmla="*/ 19314 h 82"/>
                <a:gd name="T76" fmla="*/ 259887 w 138"/>
                <a:gd name="T77" fmla="*/ 18326 h 82"/>
                <a:gd name="T78" fmla="*/ 228408 w 138"/>
                <a:gd name="T79" fmla="*/ 18326 h 82"/>
                <a:gd name="T80" fmla="*/ 228408 w 138"/>
                <a:gd name="T81" fmla="*/ 16865 h 82"/>
                <a:gd name="T82" fmla="*/ 203113 w 138"/>
                <a:gd name="T83" fmla="*/ 17380 h 82"/>
                <a:gd name="T84" fmla="*/ 180325 w 138"/>
                <a:gd name="T85" fmla="*/ 19803 h 82"/>
                <a:gd name="T86" fmla="*/ 175021 w 138"/>
                <a:gd name="T87" fmla="*/ 20723 h 82"/>
                <a:gd name="T88" fmla="*/ 164282 w 138"/>
                <a:gd name="T89" fmla="*/ 20723 h 82"/>
                <a:gd name="T90" fmla="*/ 154277 w 138"/>
                <a:gd name="T91" fmla="*/ 20322 h 82"/>
                <a:gd name="T92" fmla="*/ 160489 w 138"/>
                <a:gd name="T93" fmla="*/ 18024 h 82"/>
                <a:gd name="T94" fmla="*/ 173833 w 138"/>
                <a:gd name="T95" fmla="*/ 17380 h 82"/>
                <a:gd name="T96" fmla="*/ 173833 w 138"/>
                <a:gd name="T97" fmla="*/ 15005 h 82"/>
                <a:gd name="T98" fmla="*/ 169604 w 138"/>
                <a:gd name="T99" fmla="*/ 13619 h 82"/>
                <a:gd name="T100" fmla="*/ 145730 w 138"/>
                <a:gd name="T101" fmla="*/ 12520 h 82"/>
                <a:gd name="T102" fmla="*/ 117415 w 138"/>
                <a:gd name="T103" fmla="*/ 12181 h 82"/>
                <a:gd name="T104" fmla="*/ 109144 w 138"/>
                <a:gd name="T105" fmla="*/ 12181 h 82"/>
                <a:gd name="T106" fmla="*/ 89449 w 138"/>
                <a:gd name="T107" fmla="*/ 13201 h 82"/>
                <a:gd name="T108" fmla="*/ 66061 w 138"/>
                <a:gd name="T109" fmla="*/ 14019 h 82"/>
                <a:gd name="T110" fmla="*/ 57626 w 138"/>
                <a:gd name="T111" fmla="*/ 13619 h 82"/>
                <a:gd name="T112" fmla="*/ 39921 w 138"/>
                <a:gd name="T113" fmla="*/ 13201 h 82"/>
                <a:gd name="T114" fmla="*/ 19081 w 138"/>
                <a:gd name="T115" fmla="*/ 13027 h 82"/>
                <a:gd name="T116" fmla="*/ 3243 w 138"/>
                <a:gd name="T117" fmla="*/ 11820 h 8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38" h="82">
                  <a:moveTo>
                    <a:pt x="1" y="40"/>
                  </a:moveTo>
                  <a:cubicBezTo>
                    <a:pt x="1" y="39"/>
                    <a:pt x="3" y="35"/>
                    <a:pt x="4" y="35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7" y="33"/>
                    <a:pt x="5" y="29"/>
                    <a:pt x="6" y="28"/>
                  </a:cubicBezTo>
                  <a:cubicBezTo>
                    <a:pt x="6" y="28"/>
                    <a:pt x="12" y="22"/>
                    <a:pt x="12" y="22"/>
                  </a:cubicBezTo>
                  <a:cubicBezTo>
                    <a:pt x="13" y="21"/>
                    <a:pt x="16" y="22"/>
                    <a:pt x="16" y="19"/>
                  </a:cubicBezTo>
                  <a:cubicBezTo>
                    <a:pt x="16" y="17"/>
                    <a:pt x="12" y="14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2" y="6"/>
                    <a:pt x="25" y="5"/>
                    <a:pt x="28" y="5"/>
                  </a:cubicBezTo>
                  <a:cubicBezTo>
                    <a:pt x="31" y="5"/>
                    <a:pt x="41" y="8"/>
                    <a:pt x="43" y="8"/>
                  </a:cubicBezTo>
                  <a:cubicBezTo>
                    <a:pt x="46" y="9"/>
                    <a:pt x="53" y="11"/>
                    <a:pt x="56" y="11"/>
                  </a:cubicBezTo>
                  <a:cubicBezTo>
                    <a:pt x="59" y="12"/>
                    <a:pt x="64" y="13"/>
                    <a:pt x="65" y="12"/>
                  </a:cubicBezTo>
                  <a:cubicBezTo>
                    <a:pt x="67" y="11"/>
                    <a:pt x="67" y="6"/>
                    <a:pt x="68" y="5"/>
                  </a:cubicBezTo>
                  <a:cubicBezTo>
                    <a:pt x="69" y="5"/>
                    <a:pt x="71" y="4"/>
                    <a:pt x="73" y="3"/>
                  </a:cubicBezTo>
                  <a:cubicBezTo>
                    <a:pt x="76" y="3"/>
                    <a:pt x="79" y="2"/>
                    <a:pt x="80" y="2"/>
                  </a:cubicBezTo>
                  <a:cubicBezTo>
                    <a:pt x="82" y="2"/>
                    <a:pt x="89" y="0"/>
                    <a:pt x="90" y="1"/>
                  </a:cubicBezTo>
                  <a:cubicBezTo>
                    <a:pt x="92" y="2"/>
                    <a:pt x="93" y="8"/>
                    <a:pt x="93" y="11"/>
                  </a:cubicBezTo>
                  <a:cubicBezTo>
                    <a:pt x="93" y="14"/>
                    <a:pt x="98" y="12"/>
                    <a:pt x="100" y="13"/>
                  </a:cubicBezTo>
                  <a:cubicBezTo>
                    <a:pt x="101" y="15"/>
                    <a:pt x="102" y="19"/>
                    <a:pt x="103" y="20"/>
                  </a:cubicBezTo>
                  <a:cubicBezTo>
                    <a:pt x="105" y="22"/>
                    <a:pt x="121" y="24"/>
                    <a:pt x="123" y="25"/>
                  </a:cubicBezTo>
                  <a:cubicBezTo>
                    <a:pt x="125" y="26"/>
                    <a:pt x="138" y="29"/>
                    <a:pt x="138" y="30"/>
                  </a:cubicBezTo>
                  <a:cubicBezTo>
                    <a:pt x="138" y="32"/>
                    <a:pt x="137" y="38"/>
                    <a:pt x="137" y="40"/>
                  </a:cubicBezTo>
                  <a:cubicBezTo>
                    <a:pt x="137" y="42"/>
                    <a:pt x="135" y="46"/>
                    <a:pt x="134" y="45"/>
                  </a:cubicBezTo>
                  <a:cubicBezTo>
                    <a:pt x="133" y="45"/>
                    <a:pt x="125" y="45"/>
                    <a:pt x="124" y="47"/>
                  </a:cubicBezTo>
                  <a:cubicBezTo>
                    <a:pt x="124" y="52"/>
                    <a:pt x="124" y="52"/>
                    <a:pt x="124" y="52"/>
                  </a:cubicBezTo>
                  <a:cubicBezTo>
                    <a:pt x="122" y="52"/>
                    <a:pt x="119" y="53"/>
                    <a:pt x="118" y="53"/>
                  </a:cubicBezTo>
                  <a:cubicBezTo>
                    <a:pt x="116" y="53"/>
                    <a:pt x="99" y="60"/>
                    <a:pt x="98" y="61"/>
                  </a:cubicBezTo>
                  <a:cubicBezTo>
                    <a:pt x="96" y="62"/>
                    <a:pt x="96" y="64"/>
                    <a:pt x="96" y="65"/>
                  </a:cubicBezTo>
                  <a:cubicBezTo>
                    <a:pt x="97" y="65"/>
                    <a:pt x="101" y="69"/>
                    <a:pt x="102" y="69"/>
                  </a:cubicBezTo>
                  <a:cubicBezTo>
                    <a:pt x="104" y="69"/>
                    <a:pt x="106" y="69"/>
                    <a:pt x="106" y="69"/>
                  </a:cubicBezTo>
                  <a:cubicBezTo>
                    <a:pt x="107" y="70"/>
                    <a:pt x="106" y="73"/>
                    <a:pt x="106" y="73"/>
                  </a:cubicBezTo>
                  <a:cubicBezTo>
                    <a:pt x="102" y="76"/>
                    <a:pt x="97" y="76"/>
                    <a:pt x="95" y="77"/>
                  </a:cubicBezTo>
                  <a:cubicBezTo>
                    <a:pt x="94" y="78"/>
                    <a:pt x="88" y="82"/>
                    <a:pt x="87" y="80"/>
                  </a:cubicBezTo>
                  <a:cubicBezTo>
                    <a:pt x="86" y="77"/>
                    <a:pt x="89" y="74"/>
                    <a:pt x="87" y="73"/>
                  </a:cubicBezTo>
                  <a:cubicBezTo>
                    <a:pt x="85" y="72"/>
                    <a:pt x="80" y="72"/>
                    <a:pt x="80" y="71"/>
                  </a:cubicBezTo>
                  <a:cubicBezTo>
                    <a:pt x="79" y="70"/>
                    <a:pt x="88" y="66"/>
                    <a:pt x="88" y="65"/>
                  </a:cubicBezTo>
                  <a:cubicBezTo>
                    <a:pt x="88" y="64"/>
                    <a:pt x="86" y="62"/>
                    <a:pt x="84" y="62"/>
                  </a:cubicBezTo>
                  <a:cubicBezTo>
                    <a:pt x="83" y="61"/>
                    <a:pt x="75" y="64"/>
                    <a:pt x="74" y="62"/>
                  </a:cubicBezTo>
                  <a:cubicBezTo>
                    <a:pt x="72" y="60"/>
                    <a:pt x="76" y="58"/>
                    <a:pt x="74" y="57"/>
                  </a:cubicBezTo>
                  <a:cubicBezTo>
                    <a:pt x="72" y="56"/>
                    <a:pt x="67" y="58"/>
                    <a:pt x="66" y="59"/>
                  </a:cubicBezTo>
                  <a:cubicBezTo>
                    <a:pt x="64" y="59"/>
                    <a:pt x="61" y="66"/>
                    <a:pt x="59" y="67"/>
                  </a:cubicBezTo>
                  <a:cubicBezTo>
                    <a:pt x="58" y="68"/>
                    <a:pt x="57" y="69"/>
                    <a:pt x="57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1" y="69"/>
                    <a:pt x="50" y="69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0"/>
                    <a:pt x="56" y="59"/>
                    <a:pt x="56" y="59"/>
                  </a:cubicBezTo>
                  <a:cubicBezTo>
                    <a:pt x="56" y="59"/>
                    <a:pt x="57" y="53"/>
                    <a:pt x="56" y="51"/>
                  </a:cubicBezTo>
                  <a:cubicBezTo>
                    <a:pt x="55" y="50"/>
                    <a:pt x="55" y="48"/>
                    <a:pt x="55" y="46"/>
                  </a:cubicBezTo>
                  <a:cubicBezTo>
                    <a:pt x="54" y="44"/>
                    <a:pt x="49" y="43"/>
                    <a:pt x="47" y="42"/>
                  </a:cubicBezTo>
                  <a:cubicBezTo>
                    <a:pt x="45" y="41"/>
                    <a:pt x="39" y="41"/>
                    <a:pt x="38" y="41"/>
                  </a:cubicBezTo>
                  <a:cubicBezTo>
                    <a:pt x="37" y="41"/>
                    <a:pt x="37" y="41"/>
                    <a:pt x="36" y="41"/>
                  </a:cubicBezTo>
                  <a:cubicBezTo>
                    <a:pt x="33" y="43"/>
                    <a:pt x="30" y="45"/>
                    <a:pt x="29" y="45"/>
                  </a:cubicBezTo>
                  <a:cubicBezTo>
                    <a:pt x="28" y="45"/>
                    <a:pt x="24" y="47"/>
                    <a:pt x="22" y="48"/>
                  </a:cubicBezTo>
                  <a:cubicBezTo>
                    <a:pt x="21" y="48"/>
                    <a:pt x="20" y="47"/>
                    <a:pt x="19" y="46"/>
                  </a:cubicBezTo>
                  <a:cubicBezTo>
                    <a:pt x="17" y="45"/>
                    <a:pt x="14" y="45"/>
                    <a:pt x="13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3"/>
                    <a:pt x="0" y="41"/>
                    <a:pt x="1" y="40"/>
                  </a:cubicBezTo>
                  <a:close/>
                </a:path>
              </a:pathLst>
            </a:custGeom>
            <a:solidFill>
              <a:srgbClr val="EB780A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128"/>
            <p:cNvSpPr>
              <a:spLocks noEditPoints="1"/>
            </p:cNvSpPr>
            <p:nvPr/>
          </p:nvSpPr>
          <p:spPr bwMode="auto">
            <a:xfrm>
              <a:off x="6047741" y="5122376"/>
              <a:ext cx="348502" cy="284511"/>
            </a:xfrm>
            <a:custGeom>
              <a:avLst/>
              <a:gdLst>
                <a:gd name="T0" fmla="*/ 255567 w 125"/>
                <a:gd name="T1" fmla="*/ 15643 h 109"/>
                <a:gd name="T2" fmla="*/ 262703 w 125"/>
                <a:gd name="T3" fmla="*/ 16503 h 109"/>
                <a:gd name="T4" fmla="*/ 282543 w 125"/>
                <a:gd name="T5" fmla="*/ 18125 h 109"/>
                <a:gd name="T6" fmla="*/ 297434 w 125"/>
                <a:gd name="T7" fmla="*/ 16893 h 109"/>
                <a:gd name="T8" fmla="*/ 312525 w 125"/>
                <a:gd name="T9" fmla="*/ 15181 h 109"/>
                <a:gd name="T10" fmla="*/ 293723 w 125"/>
                <a:gd name="T11" fmla="*/ 13466 h 109"/>
                <a:gd name="T12" fmla="*/ 255567 w 125"/>
                <a:gd name="T13" fmla="*/ 15643 h 109"/>
                <a:gd name="T14" fmla="*/ 0 w 125"/>
                <a:gd name="T15" fmla="*/ 13849 h 109"/>
                <a:gd name="T16" fmla="*/ 15374 w 125"/>
                <a:gd name="T17" fmla="*/ 12584 h 109"/>
                <a:gd name="T18" fmla="*/ 32420 w 125"/>
                <a:gd name="T19" fmla="*/ 14119 h 109"/>
                <a:gd name="T20" fmla="*/ 79640 w 125"/>
                <a:gd name="T21" fmla="*/ 13466 h 109"/>
                <a:gd name="T22" fmla="*/ 79640 w 125"/>
                <a:gd name="T23" fmla="*/ 5663 h 109"/>
                <a:gd name="T24" fmla="*/ 96643 w 125"/>
                <a:gd name="T25" fmla="*/ 5663 h 109"/>
                <a:gd name="T26" fmla="*/ 106383 w 125"/>
                <a:gd name="T27" fmla="*/ 9802 h 109"/>
                <a:gd name="T28" fmla="*/ 140629 w 125"/>
                <a:gd name="T29" fmla="*/ 9080 h 109"/>
                <a:gd name="T30" fmla="*/ 160041 w 125"/>
                <a:gd name="T31" fmla="*/ 7203 h 109"/>
                <a:gd name="T32" fmla="*/ 214689 w 125"/>
                <a:gd name="T33" fmla="*/ 7837 h 109"/>
                <a:gd name="T34" fmla="*/ 227455 w 125"/>
                <a:gd name="T35" fmla="*/ 5663 h 109"/>
                <a:gd name="T36" fmla="*/ 252964 w 125"/>
                <a:gd name="T37" fmla="*/ 4775 h 109"/>
                <a:gd name="T38" fmla="*/ 271667 w 125"/>
                <a:gd name="T39" fmla="*/ 2837 h 109"/>
                <a:gd name="T40" fmla="*/ 293723 w 125"/>
                <a:gd name="T41" fmla="*/ 1808 h 109"/>
                <a:gd name="T42" fmla="*/ 312525 w 125"/>
                <a:gd name="T43" fmla="*/ 0 h 109"/>
                <a:gd name="T44" fmla="*/ 335953 w 125"/>
                <a:gd name="T45" fmla="*/ 504 h 109"/>
                <a:gd name="T46" fmla="*/ 357198 w 125"/>
                <a:gd name="T47" fmla="*/ 712 h 109"/>
                <a:gd name="T48" fmla="*/ 357198 w 125"/>
                <a:gd name="T49" fmla="*/ 712 h 109"/>
                <a:gd name="T50" fmla="*/ 361670 w 125"/>
                <a:gd name="T51" fmla="*/ 1280 h 109"/>
                <a:gd name="T52" fmla="*/ 371469 w 125"/>
                <a:gd name="T53" fmla="*/ 4008 h 109"/>
                <a:gd name="T54" fmla="*/ 374748 w 125"/>
                <a:gd name="T55" fmla="*/ 7379 h 109"/>
                <a:gd name="T56" fmla="*/ 374748 w 125"/>
                <a:gd name="T57" fmla="*/ 8001 h 109"/>
                <a:gd name="T58" fmla="*/ 361670 w 125"/>
                <a:gd name="T59" fmla="*/ 7379 h 109"/>
                <a:gd name="T60" fmla="*/ 344945 w 125"/>
                <a:gd name="T61" fmla="*/ 9802 h 109"/>
                <a:gd name="T62" fmla="*/ 350098 w 125"/>
                <a:gd name="T63" fmla="*/ 11072 h 109"/>
                <a:gd name="T64" fmla="*/ 374748 w 125"/>
                <a:gd name="T65" fmla="*/ 9802 h 109"/>
                <a:gd name="T66" fmla="*/ 395047 w 125"/>
                <a:gd name="T67" fmla="*/ 10177 h 109"/>
                <a:gd name="T68" fmla="*/ 395047 w 125"/>
                <a:gd name="T69" fmla="*/ 10880 h 109"/>
                <a:gd name="T70" fmla="*/ 376665 w 125"/>
                <a:gd name="T71" fmla="*/ 14379 h 109"/>
                <a:gd name="T72" fmla="*/ 341568 w 125"/>
                <a:gd name="T73" fmla="*/ 17779 h 109"/>
                <a:gd name="T74" fmla="*/ 265028 w 125"/>
                <a:gd name="T75" fmla="*/ 23780 h 109"/>
                <a:gd name="T76" fmla="*/ 218400 w 125"/>
                <a:gd name="T77" fmla="*/ 25119 h 109"/>
                <a:gd name="T78" fmla="*/ 160041 w 125"/>
                <a:gd name="T79" fmla="*/ 25119 h 109"/>
                <a:gd name="T80" fmla="*/ 125785 w 125"/>
                <a:gd name="T81" fmla="*/ 26027 h 109"/>
                <a:gd name="T82" fmla="*/ 77092 w 125"/>
                <a:gd name="T83" fmla="*/ 27264 h 109"/>
                <a:gd name="T84" fmla="*/ 53688 w 125"/>
                <a:gd name="T85" fmla="*/ 25608 h 109"/>
                <a:gd name="T86" fmla="*/ 42160 w 125"/>
                <a:gd name="T87" fmla="*/ 24656 h 109"/>
                <a:gd name="T88" fmla="*/ 32420 w 125"/>
                <a:gd name="T89" fmla="*/ 22967 h 109"/>
                <a:gd name="T90" fmla="*/ 44237 w 125"/>
                <a:gd name="T91" fmla="*/ 20810 h 109"/>
                <a:gd name="T92" fmla="*/ 35241 w 125"/>
                <a:gd name="T93" fmla="*/ 19496 h 109"/>
                <a:gd name="T94" fmla="*/ 14146 w 125"/>
                <a:gd name="T95" fmla="*/ 16448 h 109"/>
                <a:gd name="T96" fmla="*/ 0 w 125"/>
                <a:gd name="T97" fmla="*/ 13849 h 10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25" h="109">
                  <a:moveTo>
                    <a:pt x="80" y="62"/>
                  </a:moveTo>
                  <a:cubicBezTo>
                    <a:pt x="79" y="64"/>
                    <a:pt x="81" y="65"/>
                    <a:pt x="82" y="66"/>
                  </a:cubicBezTo>
                  <a:cubicBezTo>
                    <a:pt x="82" y="66"/>
                    <a:pt x="87" y="73"/>
                    <a:pt x="88" y="72"/>
                  </a:cubicBezTo>
                  <a:cubicBezTo>
                    <a:pt x="90" y="70"/>
                    <a:pt x="92" y="67"/>
                    <a:pt x="93" y="67"/>
                  </a:cubicBezTo>
                  <a:cubicBezTo>
                    <a:pt x="94" y="67"/>
                    <a:pt x="98" y="62"/>
                    <a:pt x="98" y="60"/>
                  </a:cubicBezTo>
                  <a:cubicBezTo>
                    <a:pt x="98" y="58"/>
                    <a:pt x="95" y="54"/>
                    <a:pt x="92" y="54"/>
                  </a:cubicBezTo>
                  <a:cubicBezTo>
                    <a:pt x="88" y="53"/>
                    <a:pt x="81" y="61"/>
                    <a:pt x="80" y="62"/>
                  </a:cubicBezTo>
                  <a:close/>
                  <a:moveTo>
                    <a:pt x="0" y="55"/>
                  </a:moveTo>
                  <a:cubicBezTo>
                    <a:pt x="1" y="53"/>
                    <a:pt x="3" y="50"/>
                    <a:pt x="5" y="50"/>
                  </a:cubicBezTo>
                  <a:cubicBezTo>
                    <a:pt x="7" y="50"/>
                    <a:pt x="8" y="56"/>
                    <a:pt x="10" y="56"/>
                  </a:cubicBezTo>
                  <a:cubicBezTo>
                    <a:pt x="13" y="56"/>
                    <a:pt x="25" y="54"/>
                    <a:pt x="25" y="54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3" y="23"/>
                    <a:pt x="31" y="39"/>
                    <a:pt x="33" y="39"/>
                  </a:cubicBezTo>
                  <a:cubicBezTo>
                    <a:pt x="34" y="40"/>
                    <a:pt x="42" y="39"/>
                    <a:pt x="44" y="36"/>
                  </a:cubicBezTo>
                  <a:cubicBezTo>
                    <a:pt x="45" y="33"/>
                    <a:pt x="47" y="28"/>
                    <a:pt x="50" y="28"/>
                  </a:cubicBezTo>
                  <a:cubicBezTo>
                    <a:pt x="53" y="29"/>
                    <a:pt x="66" y="33"/>
                    <a:pt x="67" y="31"/>
                  </a:cubicBezTo>
                  <a:cubicBezTo>
                    <a:pt x="68" y="29"/>
                    <a:pt x="70" y="24"/>
                    <a:pt x="71" y="23"/>
                  </a:cubicBezTo>
                  <a:cubicBezTo>
                    <a:pt x="73" y="22"/>
                    <a:pt x="79" y="21"/>
                    <a:pt x="79" y="19"/>
                  </a:cubicBezTo>
                  <a:cubicBezTo>
                    <a:pt x="79" y="17"/>
                    <a:pt x="83" y="12"/>
                    <a:pt x="85" y="11"/>
                  </a:cubicBezTo>
                  <a:cubicBezTo>
                    <a:pt x="87" y="9"/>
                    <a:pt x="89" y="8"/>
                    <a:pt x="92" y="7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1"/>
                    <a:pt x="103" y="2"/>
                    <a:pt x="105" y="2"/>
                  </a:cubicBezTo>
                  <a:cubicBezTo>
                    <a:pt x="107" y="2"/>
                    <a:pt x="111" y="2"/>
                    <a:pt x="112" y="3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4"/>
                    <a:pt x="113" y="4"/>
                    <a:pt x="113" y="5"/>
                  </a:cubicBezTo>
                  <a:cubicBezTo>
                    <a:pt x="113" y="7"/>
                    <a:pt x="114" y="14"/>
                    <a:pt x="116" y="16"/>
                  </a:cubicBezTo>
                  <a:cubicBezTo>
                    <a:pt x="118" y="19"/>
                    <a:pt x="117" y="28"/>
                    <a:pt x="117" y="30"/>
                  </a:cubicBezTo>
                  <a:cubicBezTo>
                    <a:pt x="117" y="30"/>
                    <a:pt x="117" y="31"/>
                    <a:pt x="117" y="32"/>
                  </a:cubicBezTo>
                  <a:cubicBezTo>
                    <a:pt x="117" y="32"/>
                    <a:pt x="116" y="29"/>
                    <a:pt x="113" y="30"/>
                  </a:cubicBezTo>
                  <a:cubicBezTo>
                    <a:pt x="110" y="31"/>
                    <a:pt x="108" y="36"/>
                    <a:pt x="108" y="39"/>
                  </a:cubicBezTo>
                  <a:cubicBezTo>
                    <a:pt x="108" y="41"/>
                    <a:pt x="106" y="43"/>
                    <a:pt x="109" y="44"/>
                  </a:cubicBezTo>
                  <a:cubicBezTo>
                    <a:pt x="119" y="46"/>
                    <a:pt x="117" y="39"/>
                    <a:pt x="117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1"/>
                    <a:pt x="124" y="42"/>
                    <a:pt x="124" y="43"/>
                  </a:cubicBezTo>
                  <a:cubicBezTo>
                    <a:pt x="123" y="46"/>
                    <a:pt x="120" y="54"/>
                    <a:pt x="118" y="57"/>
                  </a:cubicBezTo>
                  <a:cubicBezTo>
                    <a:pt x="115" y="59"/>
                    <a:pt x="109" y="69"/>
                    <a:pt x="107" y="71"/>
                  </a:cubicBezTo>
                  <a:cubicBezTo>
                    <a:pt x="105" y="73"/>
                    <a:pt x="87" y="92"/>
                    <a:pt x="83" y="94"/>
                  </a:cubicBezTo>
                  <a:cubicBezTo>
                    <a:pt x="79" y="96"/>
                    <a:pt x="75" y="100"/>
                    <a:pt x="68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5" y="100"/>
                    <a:pt x="42" y="102"/>
                    <a:pt x="39" y="103"/>
                  </a:cubicBezTo>
                  <a:cubicBezTo>
                    <a:pt x="36" y="103"/>
                    <a:pt x="27" y="109"/>
                    <a:pt x="24" y="108"/>
                  </a:cubicBezTo>
                  <a:cubicBezTo>
                    <a:pt x="21" y="106"/>
                    <a:pt x="20" y="102"/>
                    <a:pt x="17" y="102"/>
                  </a:cubicBezTo>
                  <a:cubicBezTo>
                    <a:pt x="14" y="102"/>
                    <a:pt x="13" y="101"/>
                    <a:pt x="13" y="98"/>
                  </a:cubicBezTo>
                  <a:cubicBezTo>
                    <a:pt x="12" y="95"/>
                    <a:pt x="10" y="92"/>
                    <a:pt x="10" y="91"/>
                  </a:cubicBezTo>
                  <a:cubicBezTo>
                    <a:pt x="10" y="89"/>
                    <a:pt x="14" y="85"/>
                    <a:pt x="14" y="83"/>
                  </a:cubicBezTo>
                  <a:cubicBezTo>
                    <a:pt x="14" y="82"/>
                    <a:pt x="13" y="79"/>
                    <a:pt x="11" y="77"/>
                  </a:cubicBezTo>
                  <a:cubicBezTo>
                    <a:pt x="8" y="74"/>
                    <a:pt x="6" y="70"/>
                    <a:pt x="4" y="65"/>
                  </a:cubicBezTo>
                  <a:cubicBezTo>
                    <a:pt x="3" y="61"/>
                    <a:pt x="2" y="58"/>
                    <a:pt x="0" y="55"/>
                  </a:cubicBezTo>
                  <a:close/>
                </a:path>
              </a:pathLst>
            </a:custGeom>
            <a:solidFill>
              <a:srgbClr val="EB780A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203"/>
            <p:cNvSpPr>
              <a:spLocks/>
            </p:cNvSpPr>
            <p:nvPr/>
          </p:nvSpPr>
          <p:spPr bwMode="auto">
            <a:xfrm>
              <a:off x="4114987" y="4560743"/>
              <a:ext cx="838425" cy="820280"/>
            </a:xfrm>
            <a:custGeom>
              <a:avLst/>
              <a:gdLst>
                <a:gd name="T0" fmla="*/ 23242 w 301"/>
                <a:gd name="T1" fmla="*/ 32292 h 312"/>
                <a:gd name="T2" fmla="*/ 25140 w 301"/>
                <a:gd name="T3" fmla="*/ 26252 h 312"/>
                <a:gd name="T4" fmla="*/ 41594 w 301"/>
                <a:gd name="T5" fmla="*/ 22692 h 312"/>
                <a:gd name="T6" fmla="*/ 101733 w 301"/>
                <a:gd name="T7" fmla="*/ 20707 h 312"/>
                <a:gd name="T8" fmla="*/ 96794 w 301"/>
                <a:gd name="T9" fmla="*/ 12566 h 312"/>
                <a:gd name="T10" fmla="*/ 144620 w 301"/>
                <a:gd name="T11" fmla="*/ 8534 h 312"/>
                <a:gd name="T12" fmla="*/ 169070 w 301"/>
                <a:gd name="T13" fmla="*/ 8534 h 312"/>
                <a:gd name="T14" fmla="*/ 249898 w 301"/>
                <a:gd name="T15" fmla="*/ 7937 h 312"/>
                <a:gd name="T16" fmla="*/ 223529 w 301"/>
                <a:gd name="T17" fmla="*/ 2754 h 312"/>
                <a:gd name="T18" fmla="*/ 318156 w 301"/>
                <a:gd name="T19" fmla="*/ 1935 h 312"/>
                <a:gd name="T20" fmla="*/ 334125 w 301"/>
                <a:gd name="T21" fmla="*/ 1 h 312"/>
                <a:gd name="T22" fmla="*/ 350096 w 301"/>
                <a:gd name="T23" fmla="*/ 3748 h 312"/>
                <a:gd name="T24" fmla="*/ 361803 w 301"/>
                <a:gd name="T25" fmla="*/ 9310 h 312"/>
                <a:gd name="T26" fmla="*/ 415686 w 301"/>
                <a:gd name="T27" fmla="*/ 7937 h 312"/>
                <a:gd name="T28" fmla="*/ 438366 w 301"/>
                <a:gd name="T29" fmla="*/ 7937 h 312"/>
                <a:gd name="T30" fmla="*/ 471211 w 301"/>
                <a:gd name="T31" fmla="*/ 7185 h 312"/>
                <a:gd name="T32" fmla="*/ 510400 w 301"/>
                <a:gd name="T33" fmla="*/ 7591 h 312"/>
                <a:gd name="T34" fmla="*/ 544984 w 301"/>
                <a:gd name="T35" fmla="*/ 2754 h 312"/>
                <a:gd name="T36" fmla="*/ 564471 w 301"/>
                <a:gd name="T37" fmla="*/ 6542 h 312"/>
                <a:gd name="T38" fmla="*/ 559385 w 301"/>
                <a:gd name="T39" fmla="*/ 11597 h 312"/>
                <a:gd name="T40" fmla="*/ 608285 w 301"/>
                <a:gd name="T41" fmla="*/ 12145 h 312"/>
                <a:gd name="T42" fmla="*/ 636851 w 301"/>
                <a:gd name="T43" fmla="*/ 12963 h 312"/>
                <a:gd name="T44" fmla="*/ 708373 w 301"/>
                <a:gd name="T45" fmla="*/ 15509 h 312"/>
                <a:gd name="T46" fmla="*/ 725270 w 301"/>
                <a:gd name="T47" fmla="*/ 17438 h 312"/>
                <a:gd name="T48" fmla="*/ 798370 w 301"/>
                <a:gd name="T49" fmla="*/ 18126 h 312"/>
                <a:gd name="T50" fmla="*/ 890161 w 301"/>
                <a:gd name="T51" fmla="*/ 22692 h 312"/>
                <a:gd name="T52" fmla="*/ 948673 w 301"/>
                <a:gd name="T53" fmla="*/ 28745 h 312"/>
                <a:gd name="T54" fmla="*/ 891556 w 301"/>
                <a:gd name="T55" fmla="*/ 35990 h 312"/>
                <a:gd name="T56" fmla="*/ 844449 w 301"/>
                <a:gd name="T57" fmla="*/ 40906 h 312"/>
                <a:gd name="T58" fmla="*/ 841367 w 301"/>
                <a:gd name="T59" fmla="*/ 48942 h 312"/>
                <a:gd name="T60" fmla="*/ 824867 w 301"/>
                <a:gd name="T61" fmla="*/ 52160 h 312"/>
                <a:gd name="T62" fmla="*/ 800448 w 301"/>
                <a:gd name="T63" fmla="*/ 59115 h 312"/>
                <a:gd name="T64" fmla="*/ 756359 w 301"/>
                <a:gd name="T65" fmla="*/ 62806 h 312"/>
                <a:gd name="T66" fmla="*/ 661281 w 301"/>
                <a:gd name="T67" fmla="*/ 65396 h 312"/>
                <a:gd name="T68" fmla="*/ 614555 w 301"/>
                <a:gd name="T69" fmla="*/ 71403 h 312"/>
                <a:gd name="T70" fmla="*/ 596427 w 301"/>
                <a:gd name="T71" fmla="*/ 76322 h 312"/>
                <a:gd name="T72" fmla="*/ 543599 w 301"/>
                <a:gd name="T73" fmla="*/ 82840 h 312"/>
                <a:gd name="T74" fmla="*/ 500872 w 301"/>
                <a:gd name="T75" fmla="*/ 88222 h 312"/>
                <a:gd name="T76" fmla="*/ 500872 w 301"/>
                <a:gd name="T77" fmla="*/ 85119 h 312"/>
                <a:gd name="T78" fmla="*/ 432779 w 301"/>
                <a:gd name="T79" fmla="*/ 81470 h 312"/>
                <a:gd name="T80" fmla="*/ 405082 w 301"/>
                <a:gd name="T81" fmla="*/ 78841 h 312"/>
                <a:gd name="T82" fmla="*/ 485937 w 301"/>
                <a:gd name="T83" fmla="*/ 72383 h 312"/>
                <a:gd name="T84" fmla="*/ 485937 w 301"/>
                <a:gd name="T85" fmla="*/ 68698 h 312"/>
                <a:gd name="T86" fmla="*/ 471967 w 301"/>
                <a:gd name="T87" fmla="*/ 64727 h 312"/>
                <a:gd name="T88" fmla="*/ 442130 w 301"/>
                <a:gd name="T89" fmla="*/ 61451 h 312"/>
                <a:gd name="T90" fmla="*/ 390315 w 301"/>
                <a:gd name="T91" fmla="*/ 60149 h 312"/>
                <a:gd name="T92" fmla="*/ 395872 w 301"/>
                <a:gd name="T93" fmla="*/ 52160 h 312"/>
                <a:gd name="T94" fmla="*/ 378697 w 301"/>
                <a:gd name="T95" fmla="*/ 47906 h 312"/>
                <a:gd name="T96" fmla="*/ 331531 w 301"/>
                <a:gd name="T97" fmla="*/ 42893 h 312"/>
                <a:gd name="T98" fmla="*/ 293709 w 301"/>
                <a:gd name="T99" fmla="*/ 41540 h 312"/>
                <a:gd name="T100" fmla="*/ 226828 w 301"/>
                <a:gd name="T101" fmla="*/ 38590 h 312"/>
                <a:gd name="T102" fmla="*/ 211604 w 301"/>
                <a:gd name="T103" fmla="*/ 33249 h 312"/>
                <a:gd name="T104" fmla="*/ 131695 w 301"/>
                <a:gd name="T105" fmla="*/ 35990 h 312"/>
                <a:gd name="T106" fmla="*/ 110596 w 301"/>
                <a:gd name="T107" fmla="*/ 35990 h 312"/>
                <a:gd name="T108" fmla="*/ 81660 w 301"/>
                <a:gd name="T109" fmla="*/ 32292 h 31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301" h="312">
                  <a:moveTo>
                    <a:pt x="16" y="119"/>
                  </a:moveTo>
                  <a:cubicBezTo>
                    <a:pt x="13" y="118"/>
                    <a:pt x="9" y="116"/>
                    <a:pt x="7" y="114"/>
                  </a:cubicBezTo>
                  <a:cubicBezTo>
                    <a:pt x="6" y="111"/>
                    <a:pt x="0" y="102"/>
                    <a:pt x="2" y="98"/>
                  </a:cubicBezTo>
                  <a:cubicBezTo>
                    <a:pt x="4" y="95"/>
                    <a:pt x="7" y="95"/>
                    <a:pt x="8" y="93"/>
                  </a:cubicBezTo>
                  <a:cubicBezTo>
                    <a:pt x="9" y="91"/>
                    <a:pt x="5" y="88"/>
                    <a:pt x="6" y="87"/>
                  </a:cubicBezTo>
                  <a:cubicBezTo>
                    <a:pt x="7" y="85"/>
                    <a:pt x="10" y="81"/>
                    <a:pt x="13" y="80"/>
                  </a:cubicBezTo>
                  <a:cubicBezTo>
                    <a:pt x="16" y="78"/>
                    <a:pt x="29" y="76"/>
                    <a:pt x="30" y="76"/>
                  </a:cubicBezTo>
                  <a:cubicBezTo>
                    <a:pt x="31" y="76"/>
                    <a:pt x="31" y="74"/>
                    <a:pt x="32" y="73"/>
                  </a:cubicBezTo>
                  <a:cubicBezTo>
                    <a:pt x="34" y="68"/>
                    <a:pt x="36" y="57"/>
                    <a:pt x="37" y="55"/>
                  </a:cubicBezTo>
                  <a:cubicBezTo>
                    <a:pt x="37" y="52"/>
                    <a:pt x="33" y="46"/>
                    <a:pt x="31" y="44"/>
                  </a:cubicBezTo>
                  <a:cubicBezTo>
                    <a:pt x="30" y="42"/>
                    <a:pt x="32" y="32"/>
                    <a:pt x="33" y="31"/>
                  </a:cubicBezTo>
                  <a:cubicBezTo>
                    <a:pt x="34" y="29"/>
                    <a:pt x="44" y="30"/>
                    <a:pt x="46" y="3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7"/>
                    <a:pt x="54" y="29"/>
                    <a:pt x="54" y="30"/>
                  </a:cubicBezTo>
                  <a:cubicBezTo>
                    <a:pt x="54" y="31"/>
                    <a:pt x="59" y="37"/>
                    <a:pt x="61" y="37"/>
                  </a:cubicBezTo>
                  <a:cubicBezTo>
                    <a:pt x="62" y="37"/>
                    <a:pt x="77" y="29"/>
                    <a:pt x="79" y="28"/>
                  </a:cubicBezTo>
                  <a:cubicBezTo>
                    <a:pt x="82" y="26"/>
                    <a:pt x="77" y="23"/>
                    <a:pt x="76" y="21"/>
                  </a:cubicBezTo>
                  <a:cubicBezTo>
                    <a:pt x="75" y="20"/>
                    <a:pt x="70" y="12"/>
                    <a:pt x="71" y="10"/>
                  </a:cubicBezTo>
                  <a:cubicBezTo>
                    <a:pt x="71" y="9"/>
                    <a:pt x="84" y="13"/>
                    <a:pt x="86" y="13"/>
                  </a:cubicBezTo>
                  <a:cubicBezTo>
                    <a:pt x="86" y="13"/>
                    <a:pt x="100" y="8"/>
                    <a:pt x="101" y="7"/>
                  </a:cubicBezTo>
                  <a:cubicBezTo>
                    <a:pt x="102" y="6"/>
                    <a:pt x="102" y="5"/>
                    <a:pt x="101" y="3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7" y="0"/>
                    <a:pt x="108" y="2"/>
                    <a:pt x="108" y="4"/>
                  </a:cubicBezTo>
                  <a:cubicBezTo>
                    <a:pt x="109" y="5"/>
                    <a:pt x="112" y="12"/>
                    <a:pt x="111" y="13"/>
                  </a:cubicBezTo>
                  <a:cubicBezTo>
                    <a:pt x="110" y="14"/>
                    <a:pt x="107" y="21"/>
                    <a:pt x="108" y="22"/>
                  </a:cubicBezTo>
                  <a:cubicBezTo>
                    <a:pt x="108" y="24"/>
                    <a:pt x="113" y="33"/>
                    <a:pt x="115" y="33"/>
                  </a:cubicBezTo>
                  <a:cubicBezTo>
                    <a:pt x="117" y="33"/>
                    <a:pt x="122" y="31"/>
                    <a:pt x="123" y="30"/>
                  </a:cubicBezTo>
                  <a:cubicBezTo>
                    <a:pt x="124" y="30"/>
                    <a:pt x="129" y="28"/>
                    <a:pt x="132" y="28"/>
                  </a:cubicBezTo>
                  <a:cubicBezTo>
                    <a:pt x="132" y="28"/>
                    <a:pt x="133" y="28"/>
                    <a:pt x="133" y="28"/>
                  </a:cubicBezTo>
                  <a:cubicBezTo>
                    <a:pt x="135" y="28"/>
                    <a:pt x="138" y="28"/>
                    <a:pt x="139" y="28"/>
                  </a:cubicBezTo>
                  <a:cubicBezTo>
                    <a:pt x="140" y="28"/>
                    <a:pt x="138" y="23"/>
                    <a:pt x="140" y="23"/>
                  </a:cubicBezTo>
                  <a:cubicBezTo>
                    <a:pt x="142" y="23"/>
                    <a:pt x="148" y="24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3" y="26"/>
                    <a:pt x="161" y="27"/>
                    <a:pt x="162" y="27"/>
                  </a:cubicBezTo>
                  <a:cubicBezTo>
                    <a:pt x="163" y="26"/>
                    <a:pt x="168" y="19"/>
                    <a:pt x="168" y="18"/>
                  </a:cubicBezTo>
                  <a:cubicBezTo>
                    <a:pt x="173" y="10"/>
                    <a:pt x="173" y="10"/>
                    <a:pt x="173" y="10"/>
                  </a:cubicBezTo>
                  <a:cubicBezTo>
                    <a:pt x="173" y="10"/>
                    <a:pt x="173" y="10"/>
                    <a:pt x="174" y="11"/>
                  </a:cubicBezTo>
                  <a:cubicBezTo>
                    <a:pt x="177" y="15"/>
                    <a:pt x="178" y="17"/>
                    <a:pt x="179" y="23"/>
                  </a:cubicBezTo>
                  <a:cubicBezTo>
                    <a:pt x="180" y="29"/>
                    <a:pt x="183" y="28"/>
                    <a:pt x="185" y="31"/>
                  </a:cubicBezTo>
                  <a:cubicBezTo>
                    <a:pt x="187" y="33"/>
                    <a:pt x="176" y="41"/>
                    <a:pt x="178" y="41"/>
                  </a:cubicBezTo>
                  <a:cubicBezTo>
                    <a:pt x="179" y="41"/>
                    <a:pt x="182" y="42"/>
                    <a:pt x="184" y="42"/>
                  </a:cubicBezTo>
                  <a:cubicBezTo>
                    <a:pt x="186" y="42"/>
                    <a:pt x="191" y="42"/>
                    <a:pt x="193" y="43"/>
                  </a:cubicBezTo>
                  <a:cubicBezTo>
                    <a:pt x="196" y="44"/>
                    <a:pt x="194" y="52"/>
                    <a:pt x="196" y="51"/>
                  </a:cubicBezTo>
                  <a:cubicBezTo>
                    <a:pt x="197" y="50"/>
                    <a:pt x="199" y="47"/>
                    <a:pt x="202" y="46"/>
                  </a:cubicBezTo>
                  <a:cubicBezTo>
                    <a:pt x="205" y="46"/>
                    <a:pt x="211" y="49"/>
                    <a:pt x="215" y="51"/>
                  </a:cubicBezTo>
                  <a:cubicBezTo>
                    <a:pt x="219" y="52"/>
                    <a:pt x="223" y="52"/>
                    <a:pt x="225" y="55"/>
                  </a:cubicBezTo>
                  <a:cubicBezTo>
                    <a:pt x="226" y="59"/>
                    <a:pt x="225" y="63"/>
                    <a:pt x="226" y="64"/>
                  </a:cubicBezTo>
                  <a:cubicBezTo>
                    <a:pt x="227" y="65"/>
                    <a:pt x="228" y="63"/>
                    <a:pt x="230" y="62"/>
                  </a:cubicBezTo>
                  <a:cubicBezTo>
                    <a:pt x="233" y="62"/>
                    <a:pt x="235" y="60"/>
                    <a:pt x="238" y="62"/>
                  </a:cubicBezTo>
                  <a:cubicBezTo>
                    <a:pt x="241" y="65"/>
                    <a:pt x="248" y="64"/>
                    <a:pt x="253" y="64"/>
                  </a:cubicBezTo>
                  <a:cubicBezTo>
                    <a:pt x="259" y="64"/>
                    <a:pt x="260" y="63"/>
                    <a:pt x="266" y="67"/>
                  </a:cubicBezTo>
                  <a:cubicBezTo>
                    <a:pt x="272" y="70"/>
                    <a:pt x="278" y="77"/>
                    <a:pt x="282" y="80"/>
                  </a:cubicBezTo>
                  <a:cubicBezTo>
                    <a:pt x="286" y="83"/>
                    <a:pt x="293" y="79"/>
                    <a:pt x="296" y="82"/>
                  </a:cubicBezTo>
                  <a:cubicBezTo>
                    <a:pt x="298" y="86"/>
                    <a:pt x="300" y="93"/>
                    <a:pt x="301" y="102"/>
                  </a:cubicBezTo>
                  <a:cubicBezTo>
                    <a:pt x="301" y="111"/>
                    <a:pt x="292" y="120"/>
                    <a:pt x="290" y="122"/>
                  </a:cubicBezTo>
                  <a:cubicBezTo>
                    <a:pt x="288" y="124"/>
                    <a:pt x="285" y="124"/>
                    <a:pt x="283" y="127"/>
                  </a:cubicBezTo>
                  <a:cubicBezTo>
                    <a:pt x="282" y="129"/>
                    <a:pt x="275" y="141"/>
                    <a:pt x="274" y="142"/>
                  </a:cubicBezTo>
                  <a:cubicBezTo>
                    <a:pt x="273" y="144"/>
                    <a:pt x="269" y="144"/>
                    <a:pt x="268" y="145"/>
                  </a:cubicBezTo>
                  <a:cubicBezTo>
                    <a:pt x="267" y="147"/>
                    <a:pt x="268" y="159"/>
                    <a:pt x="268" y="163"/>
                  </a:cubicBezTo>
                  <a:cubicBezTo>
                    <a:pt x="269" y="166"/>
                    <a:pt x="267" y="169"/>
                    <a:pt x="267" y="173"/>
                  </a:cubicBezTo>
                  <a:cubicBezTo>
                    <a:pt x="267" y="176"/>
                    <a:pt x="268" y="178"/>
                    <a:pt x="267" y="179"/>
                  </a:cubicBezTo>
                  <a:cubicBezTo>
                    <a:pt x="266" y="180"/>
                    <a:pt x="264" y="181"/>
                    <a:pt x="262" y="184"/>
                  </a:cubicBezTo>
                  <a:cubicBezTo>
                    <a:pt x="260" y="187"/>
                    <a:pt x="263" y="191"/>
                    <a:pt x="263" y="194"/>
                  </a:cubicBezTo>
                  <a:cubicBezTo>
                    <a:pt x="262" y="196"/>
                    <a:pt x="255" y="206"/>
                    <a:pt x="254" y="209"/>
                  </a:cubicBezTo>
                  <a:cubicBezTo>
                    <a:pt x="252" y="211"/>
                    <a:pt x="247" y="222"/>
                    <a:pt x="246" y="222"/>
                  </a:cubicBezTo>
                  <a:cubicBezTo>
                    <a:pt x="245" y="221"/>
                    <a:pt x="242" y="222"/>
                    <a:pt x="240" y="222"/>
                  </a:cubicBezTo>
                  <a:cubicBezTo>
                    <a:pt x="238" y="222"/>
                    <a:pt x="231" y="223"/>
                    <a:pt x="227" y="224"/>
                  </a:cubicBezTo>
                  <a:cubicBezTo>
                    <a:pt x="224" y="224"/>
                    <a:pt x="211" y="230"/>
                    <a:pt x="210" y="231"/>
                  </a:cubicBezTo>
                  <a:cubicBezTo>
                    <a:pt x="208" y="232"/>
                    <a:pt x="199" y="240"/>
                    <a:pt x="197" y="242"/>
                  </a:cubicBezTo>
                  <a:cubicBezTo>
                    <a:pt x="194" y="244"/>
                    <a:pt x="195" y="248"/>
                    <a:pt x="195" y="252"/>
                  </a:cubicBezTo>
                  <a:cubicBezTo>
                    <a:pt x="195" y="256"/>
                    <a:pt x="194" y="264"/>
                    <a:pt x="194" y="266"/>
                  </a:cubicBezTo>
                  <a:cubicBezTo>
                    <a:pt x="194" y="268"/>
                    <a:pt x="191" y="269"/>
                    <a:pt x="189" y="270"/>
                  </a:cubicBezTo>
                  <a:cubicBezTo>
                    <a:pt x="187" y="272"/>
                    <a:pt x="183" y="280"/>
                    <a:pt x="182" y="284"/>
                  </a:cubicBezTo>
                  <a:cubicBezTo>
                    <a:pt x="181" y="287"/>
                    <a:pt x="177" y="291"/>
                    <a:pt x="172" y="293"/>
                  </a:cubicBezTo>
                  <a:cubicBezTo>
                    <a:pt x="167" y="296"/>
                    <a:pt x="167" y="300"/>
                    <a:pt x="164" y="304"/>
                  </a:cubicBezTo>
                  <a:cubicBezTo>
                    <a:pt x="163" y="307"/>
                    <a:pt x="160" y="310"/>
                    <a:pt x="159" y="312"/>
                  </a:cubicBezTo>
                  <a:cubicBezTo>
                    <a:pt x="156" y="309"/>
                    <a:pt x="156" y="309"/>
                    <a:pt x="156" y="309"/>
                  </a:cubicBezTo>
                  <a:cubicBezTo>
                    <a:pt x="155" y="308"/>
                    <a:pt x="158" y="302"/>
                    <a:pt x="159" y="301"/>
                  </a:cubicBezTo>
                  <a:cubicBezTo>
                    <a:pt x="160" y="299"/>
                    <a:pt x="146" y="291"/>
                    <a:pt x="144" y="289"/>
                  </a:cubicBezTo>
                  <a:cubicBezTo>
                    <a:pt x="142" y="287"/>
                    <a:pt x="138" y="289"/>
                    <a:pt x="137" y="288"/>
                  </a:cubicBezTo>
                  <a:cubicBezTo>
                    <a:pt x="136" y="286"/>
                    <a:pt x="137" y="284"/>
                    <a:pt x="133" y="281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133" y="274"/>
                    <a:pt x="138" y="269"/>
                    <a:pt x="141" y="266"/>
                  </a:cubicBezTo>
                  <a:cubicBezTo>
                    <a:pt x="145" y="263"/>
                    <a:pt x="151" y="257"/>
                    <a:pt x="154" y="256"/>
                  </a:cubicBezTo>
                  <a:cubicBezTo>
                    <a:pt x="156" y="255"/>
                    <a:pt x="156" y="250"/>
                    <a:pt x="157" y="249"/>
                  </a:cubicBezTo>
                  <a:cubicBezTo>
                    <a:pt x="158" y="247"/>
                    <a:pt x="156" y="243"/>
                    <a:pt x="154" y="243"/>
                  </a:cubicBezTo>
                  <a:cubicBezTo>
                    <a:pt x="154" y="243"/>
                    <a:pt x="151" y="243"/>
                    <a:pt x="149" y="243"/>
                  </a:cubicBezTo>
                  <a:cubicBezTo>
                    <a:pt x="149" y="241"/>
                    <a:pt x="152" y="230"/>
                    <a:pt x="150" y="229"/>
                  </a:cubicBezTo>
                  <a:cubicBezTo>
                    <a:pt x="149" y="227"/>
                    <a:pt x="143" y="231"/>
                    <a:pt x="142" y="229"/>
                  </a:cubicBezTo>
                  <a:cubicBezTo>
                    <a:pt x="141" y="227"/>
                    <a:pt x="141" y="219"/>
                    <a:pt x="140" y="217"/>
                  </a:cubicBezTo>
                  <a:cubicBezTo>
                    <a:pt x="140" y="215"/>
                    <a:pt x="136" y="215"/>
                    <a:pt x="134" y="215"/>
                  </a:cubicBezTo>
                  <a:cubicBezTo>
                    <a:pt x="132" y="215"/>
                    <a:pt x="124" y="215"/>
                    <a:pt x="124" y="213"/>
                  </a:cubicBezTo>
                  <a:cubicBezTo>
                    <a:pt x="124" y="212"/>
                    <a:pt x="123" y="200"/>
                    <a:pt x="123" y="197"/>
                  </a:cubicBezTo>
                  <a:cubicBezTo>
                    <a:pt x="123" y="194"/>
                    <a:pt x="126" y="186"/>
                    <a:pt x="126" y="184"/>
                  </a:cubicBezTo>
                  <a:cubicBezTo>
                    <a:pt x="127" y="181"/>
                    <a:pt x="121" y="177"/>
                    <a:pt x="120" y="176"/>
                  </a:cubicBezTo>
                  <a:cubicBezTo>
                    <a:pt x="120" y="175"/>
                    <a:pt x="122" y="169"/>
                    <a:pt x="120" y="169"/>
                  </a:cubicBezTo>
                  <a:cubicBezTo>
                    <a:pt x="119" y="169"/>
                    <a:pt x="106" y="168"/>
                    <a:pt x="106" y="167"/>
                  </a:cubicBezTo>
                  <a:cubicBezTo>
                    <a:pt x="106" y="166"/>
                    <a:pt x="105" y="154"/>
                    <a:pt x="105" y="152"/>
                  </a:cubicBezTo>
                  <a:cubicBezTo>
                    <a:pt x="106" y="150"/>
                    <a:pt x="103" y="148"/>
                    <a:pt x="101" y="146"/>
                  </a:cubicBezTo>
                  <a:cubicBezTo>
                    <a:pt x="99" y="145"/>
                    <a:pt x="94" y="147"/>
                    <a:pt x="93" y="147"/>
                  </a:cubicBezTo>
                  <a:cubicBezTo>
                    <a:pt x="91" y="146"/>
                    <a:pt x="86" y="141"/>
                    <a:pt x="84" y="140"/>
                  </a:cubicBezTo>
                  <a:cubicBezTo>
                    <a:pt x="82" y="139"/>
                    <a:pt x="74" y="137"/>
                    <a:pt x="72" y="136"/>
                  </a:cubicBezTo>
                  <a:cubicBezTo>
                    <a:pt x="69" y="135"/>
                    <a:pt x="67" y="129"/>
                    <a:pt x="66" y="127"/>
                  </a:cubicBezTo>
                  <a:cubicBezTo>
                    <a:pt x="66" y="125"/>
                    <a:pt x="68" y="119"/>
                    <a:pt x="67" y="117"/>
                  </a:cubicBezTo>
                  <a:cubicBezTo>
                    <a:pt x="66" y="115"/>
                    <a:pt x="64" y="116"/>
                    <a:pt x="61" y="117"/>
                  </a:cubicBezTo>
                  <a:cubicBezTo>
                    <a:pt x="58" y="117"/>
                    <a:pt x="43" y="126"/>
                    <a:pt x="42" y="12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3" y="126"/>
                    <a:pt x="29" y="126"/>
                    <a:pt x="28" y="126"/>
                  </a:cubicBezTo>
                  <a:cubicBezTo>
                    <a:pt x="26" y="126"/>
                    <a:pt x="27" y="115"/>
                    <a:pt x="26" y="114"/>
                  </a:cubicBezTo>
                  <a:cubicBezTo>
                    <a:pt x="25" y="114"/>
                    <a:pt x="18" y="121"/>
                    <a:pt x="16" y="119"/>
                  </a:cubicBezTo>
                  <a:close/>
                </a:path>
              </a:pathLst>
            </a:custGeom>
            <a:solidFill>
              <a:srgbClr val="EB780A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47" name="Group 205"/>
            <p:cNvGrpSpPr>
              <a:grpSpLocks/>
            </p:cNvGrpSpPr>
            <p:nvPr/>
          </p:nvGrpSpPr>
          <p:grpSpPr bwMode="auto">
            <a:xfrm>
              <a:off x="4128456" y="5118681"/>
              <a:ext cx="427630" cy="796262"/>
              <a:chOff x="1582" y="2905"/>
              <a:chExt cx="310" cy="613"/>
            </a:xfrm>
          </p:grpSpPr>
          <p:sp>
            <p:nvSpPr>
              <p:cNvPr id="222" name="Freeform 206"/>
              <p:cNvSpPr>
                <a:spLocks/>
              </p:cNvSpPr>
              <p:nvPr/>
            </p:nvSpPr>
            <p:spPr bwMode="auto">
              <a:xfrm>
                <a:off x="1657" y="3463"/>
                <a:ext cx="56" cy="55"/>
              </a:xfrm>
              <a:custGeom>
                <a:avLst/>
                <a:gdLst>
                  <a:gd name="T0" fmla="*/ 196608 w 28"/>
                  <a:gd name="T1" fmla="*/ 167279 h 27"/>
                  <a:gd name="T2" fmla="*/ 393216 w 28"/>
                  <a:gd name="T3" fmla="*/ 782740 h 27"/>
                  <a:gd name="T4" fmla="*/ 1048576 w 28"/>
                  <a:gd name="T5" fmla="*/ 1413966 h 27"/>
                  <a:gd name="T6" fmla="*/ 1769472 w 28"/>
                  <a:gd name="T7" fmla="*/ 1674190 h 27"/>
                  <a:gd name="T8" fmla="*/ 1835008 w 28"/>
                  <a:gd name="T9" fmla="*/ 1674190 h 27"/>
                  <a:gd name="T10" fmla="*/ 1638400 w 28"/>
                  <a:gd name="T11" fmla="*/ 2037004 h 27"/>
                  <a:gd name="T12" fmla="*/ 1245184 w 28"/>
                  <a:gd name="T13" fmla="*/ 2122169 h 27"/>
                  <a:gd name="T14" fmla="*/ 1114112 w 28"/>
                  <a:gd name="T15" fmla="*/ 2368047 h 27"/>
                  <a:gd name="T16" fmla="*/ 655360 w 28"/>
                  <a:gd name="T17" fmla="*/ 2122169 h 27"/>
                  <a:gd name="T18" fmla="*/ 0 w 28"/>
                  <a:gd name="T19" fmla="*/ 2037004 h 27"/>
                  <a:gd name="T20" fmla="*/ 0 w 28"/>
                  <a:gd name="T21" fmla="*/ 2037004 h 27"/>
                  <a:gd name="T22" fmla="*/ 0 w 28"/>
                  <a:gd name="T23" fmla="*/ 0 h 27"/>
                  <a:gd name="T24" fmla="*/ 196608 w 28"/>
                  <a:gd name="T25" fmla="*/ 167279 h 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8" h="27">
                    <a:moveTo>
                      <a:pt x="3" y="2"/>
                    </a:moveTo>
                    <a:cubicBezTo>
                      <a:pt x="4" y="3"/>
                      <a:pt x="5" y="6"/>
                      <a:pt x="6" y="9"/>
                    </a:cubicBezTo>
                    <a:cubicBezTo>
                      <a:pt x="8" y="11"/>
                      <a:pt x="12" y="13"/>
                      <a:pt x="16" y="16"/>
                    </a:cubicBezTo>
                    <a:cubicBezTo>
                      <a:pt x="18" y="19"/>
                      <a:pt x="23" y="19"/>
                      <a:pt x="27" y="19"/>
                    </a:cubicBezTo>
                    <a:cubicBezTo>
                      <a:pt x="27" y="19"/>
                      <a:pt x="28" y="18"/>
                      <a:pt x="28" y="19"/>
                    </a:cubicBezTo>
                    <a:cubicBezTo>
                      <a:pt x="28" y="20"/>
                      <a:pt x="27" y="23"/>
                      <a:pt x="25" y="23"/>
                    </a:cubicBezTo>
                    <a:cubicBezTo>
                      <a:pt x="24" y="24"/>
                      <a:pt x="20" y="24"/>
                      <a:pt x="19" y="24"/>
                    </a:cubicBezTo>
                    <a:cubicBezTo>
                      <a:pt x="18" y="25"/>
                      <a:pt x="18" y="27"/>
                      <a:pt x="17" y="27"/>
                    </a:cubicBezTo>
                    <a:cubicBezTo>
                      <a:pt x="16" y="27"/>
                      <a:pt x="12" y="25"/>
                      <a:pt x="10" y="24"/>
                    </a:cubicBezTo>
                    <a:cubicBezTo>
                      <a:pt x="7" y="24"/>
                      <a:pt x="3" y="23"/>
                      <a:pt x="0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3" name="Freeform 207"/>
              <p:cNvSpPr>
                <a:spLocks/>
              </p:cNvSpPr>
              <p:nvPr/>
            </p:nvSpPr>
            <p:spPr bwMode="auto">
              <a:xfrm>
                <a:off x="1582" y="2905"/>
                <a:ext cx="310" cy="546"/>
              </a:xfrm>
              <a:custGeom>
                <a:avLst/>
                <a:gdLst>
                  <a:gd name="T0" fmla="*/ 0 w 153"/>
                  <a:gd name="T1" fmla="*/ 19142192 h 270"/>
                  <a:gd name="T2" fmla="*/ 550240 w 153"/>
                  <a:gd name="T3" fmla="*/ 18450576 h 270"/>
                  <a:gd name="T4" fmla="*/ 1114865 w 153"/>
                  <a:gd name="T5" fmla="*/ 16986371 h 270"/>
                  <a:gd name="T6" fmla="*/ 1436327 w 153"/>
                  <a:gd name="T7" fmla="*/ 15321429 h 270"/>
                  <a:gd name="T8" fmla="*/ 1114865 w 153"/>
                  <a:gd name="T9" fmla="*/ 14232770 h 270"/>
                  <a:gd name="T10" fmla="*/ 1114865 w 153"/>
                  <a:gd name="T11" fmla="*/ 12257544 h 270"/>
                  <a:gd name="T12" fmla="*/ 1512435 w 153"/>
                  <a:gd name="T13" fmla="*/ 10869076 h 270"/>
                  <a:gd name="T14" fmla="*/ 1862306 w 153"/>
                  <a:gd name="T15" fmla="*/ 9241879 h 270"/>
                  <a:gd name="T16" fmla="*/ 2182771 w 153"/>
                  <a:gd name="T17" fmla="*/ 7421068 h 270"/>
                  <a:gd name="T18" fmla="*/ 2182771 w 153"/>
                  <a:gd name="T19" fmla="*/ 5335356 h 270"/>
                  <a:gd name="T20" fmla="*/ 3064411 w 153"/>
                  <a:gd name="T21" fmla="*/ 3293577 h 270"/>
                  <a:gd name="T22" fmla="*/ 3139978 w 153"/>
                  <a:gd name="T23" fmla="*/ 1814716 h 270"/>
                  <a:gd name="T24" fmla="*/ 3950626 w 153"/>
                  <a:gd name="T25" fmla="*/ 538413 h 270"/>
                  <a:gd name="T26" fmla="*/ 5169068 w 153"/>
                  <a:gd name="T27" fmla="*/ 149921 h 270"/>
                  <a:gd name="T28" fmla="*/ 6208937 w 153"/>
                  <a:gd name="T29" fmla="*/ 149921 h 270"/>
                  <a:gd name="T30" fmla="*/ 6681501 w 153"/>
                  <a:gd name="T31" fmla="*/ 303174 h 270"/>
                  <a:gd name="T32" fmla="*/ 9745910 w 153"/>
                  <a:gd name="T33" fmla="*/ 2357226 h 270"/>
                  <a:gd name="T34" fmla="*/ 10243490 w 153"/>
                  <a:gd name="T35" fmla="*/ 3592142 h 270"/>
                  <a:gd name="T36" fmla="*/ 11628655 w 153"/>
                  <a:gd name="T37" fmla="*/ 2432430 h 270"/>
                  <a:gd name="T38" fmla="*/ 12259457 w 153"/>
                  <a:gd name="T39" fmla="*/ 2904611 h 270"/>
                  <a:gd name="T40" fmla="*/ 10990558 w 153"/>
                  <a:gd name="T41" fmla="*/ 4208552 h 270"/>
                  <a:gd name="T42" fmla="*/ 9745910 w 153"/>
                  <a:gd name="T43" fmla="*/ 5411742 h 270"/>
                  <a:gd name="T44" fmla="*/ 9273275 w 153"/>
                  <a:gd name="T45" fmla="*/ 7900466 h 270"/>
                  <a:gd name="T46" fmla="*/ 9922504 w 153"/>
                  <a:gd name="T47" fmla="*/ 8587466 h 270"/>
                  <a:gd name="T48" fmla="*/ 10319035 w 153"/>
                  <a:gd name="T49" fmla="*/ 9540048 h 270"/>
                  <a:gd name="T50" fmla="*/ 9745910 w 153"/>
                  <a:gd name="T51" fmla="*/ 10705709 h 270"/>
                  <a:gd name="T52" fmla="*/ 7012340 w 153"/>
                  <a:gd name="T53" fmla="*/ 11341290 h 270"/>
                  <a:gd name="T54" fmla="*/ 6681501 w 153"/>
                  <a:gd name="T55" fmla="*/ 12759484 h 270"/>
                  <a:gd name="T56" fmla="*/ 5169068 w 153"/>
                  <a:gd name="T57" fmla="*/ 12608499 h 270"/>
                  <a:gd name="T58" fmla="*/ 5341778 w 153"/>
                  <a:gd name="T59" fmla="*/ 13542808 h 270"/>
                  <a:gd name="T60" fmla="*/ 6050635 w 153"/>
                  <a:gd name="T61" fmla="*/ 13922822 h 270"/>
                  <a:gd name="T62" fmla="*/ 5169068 w 153"/>
                  <a:gd name="T63" fmla="*/ 14461243 h 270"/>
                  <a:gd name="T64" fmla="*/ 4935834 w 153"/>
                  <a:gd name="T65" fmla="*/ 15624702 h 270"/>
                  <a:gd name="T66" fmla="*/ 3773300 w 153"/>
                  <a:gd name="T67" fmla="*/ 16049931 h 270"/>
                  <a:gd name="T68" fmla="*/ 4696395 w 153"/>
                  <a:gd name="T69" fmla="*/ 17210379 h 270"/>
                  <a:gd name="T70" fmla="*/ 3773300 w 153"/>
                  <a:gd name="T71" fmla="*/ 18612800 h 270"/>
                  <a:gd name="T72" fmla="*/ 2677190 w 153"/>
                  <a:gd name="T73" fmla="*/ 19947588 h 270"/>
                  <a:gd name="T74" fmla="*/ 2832624 w 153"/>
                  <a:gd name="T75" fmla="*/ 21119405 h 270"/>
                  <a:gd name="T76" fmla="*/ 881575 w 153"/>
                  <a:gd name="T77" fmla="*/ 20956908 h 270"/>
                  <a:gd name="T78" fmla="*/ 708897 w 153"/>
                  <a:gd name="T79" fmla="*/ 19947588 h 27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53" h="270">
                    <a:moveTo>
                      <a:pt x="2" y="254"/>
                    </a:moveTo>
                    <a:cubicBezTo>
                      <a:pt x="1" y="253"/>
                      <a:pt x="0" y="247"/>
                      <a:pt x="0" y="245"/>
                    </a:cubicBezTo>
                    <a:cubicBezTo>
                      <a:pt x="0" y="243"/>
                      <a:pt x="1" y="240"/>
                      <a:pt x="2" y="239"/>
                    </a:cubicBezTo>
                    <a:cubicBezTo>
                      <a:pt x="4" y="238"/>
                      <a:pt x="7" y="237"/>
                      <a:pt x="7" y="236"/>
                    </a:cubicBezTo>
                    <a:cubicBezTo>
                      <a:pt x="8" y="234"/>
                      <a:pt x="8" y="227"/>
                      <a:pt x="9" y="225"/>
                    </a:cubicBezTo>
                    <a:cubicBezTo>
                      <a:pt x="11" y="223"/>
                      <a:pt x="13" y="220"/>
                      <a:pt x="14" y="217"/>
                    </a:cubicBezTo>
                    <a:cubicBezTo>
                      <a:pt x="14" y="215"/>
                      <a:pt x="13" y="207"/>
                      <a:pt x="14" y="206"/>
                    </a:cubicBezTo>
                    <a:cubicBezTo>
                      <a:pt x="16" y="205"/>
                      <a:pt x="18" y="198"/>
                      <a:pt x="18" y="196"/>
                    </a:cubicBezTo>
                    <a:cubicBezTo>
                      <a:pt x="18" y="195"/>
                      <a:pt x="13" y="194"/>
                      <a:pt x="13" y="193"/>
                    </a:cubicBezTo>
                    <a:cubicBezTo>
                      <a:pt x="13" y="191"/>
                      <a:pt x="15" y="183"/>
                      <a:pt x="14" y="182"/>
                    </a:cubicBezTo>
                    <a:cubicBezTo>
                      <a:pt x="10" y="177"/>
                      <a:pt x="16" y="175"/>
                      <a:pt x="16" y="173"/>
                    </a:cubicBezTo>
                    <a:cubicBezTo>
                      <a:pt x="16" y="171"/>
                      <a:pt x="14" y="160"/>
                      <a:pt x="14" y="157"/>
                    </a:cubicBezTo>
                    <a:cubicBezTo>
                      <a:pt x="15" y="155"/>
                      <a:pt x="15" y="148"/>
                      <a:pt x="17" y="146"/>
                    </a:cubicBezTo>
                    <a:cubicBezTo>
                      <a:pt x="18" y="144"/>
                      <a:pt x="20" y="141"/>
                      <a:pt x="19" y="139"/>
                    </a:cubicBezTo>
                    <a:cubicBezTo>
                      <a:pt x="18" y="136"/>
                      <a:pt x="16" y="125"/>
                      <a:pt x="18" y="123"/>
                    </a:cubicBezTo>
                    <a:cubicBezTo>
                      <a:pt x="20" y="122"/>
                      <a:pt x="23" y="120"/>
                      <a:pt x="23" y="118"/>
                    </a:cubicBezTo>
                    <a:cubicBezTo>
                      <a:pt x="23" y="116"/>
                      <a:pt x="27" y="104"/>
                      <a:pt x="27" y="102"/>
                    </a:cubicBezTo>
                    <a:cubicBezTo>
                      <a:pt x="27" y="100"/>
                      <a:pt x="28" y="97"/>
                      <a:pt x="27" y="95"/>
                    </a:cubicBezTo>
                    <a:cubicBezTo>
                      <a:pt x="26" y="92"/>
                      <a:pt x="21" y="79"/>
                      <a:pt x="23" y="77"/>
                    </a:cubicBezTo>
                    <a:cubicBezTo>
                      <a:pt x="25" y="75"/>
                      <a:pt x="27" y="69"/>
                      <a:pt x="27" y="68"/>
                    </a:cubicBezTo>
                    <a:cubicBezTo>
                      <a:pt x="28" y="66"/>
                      <a:pt x="27" y="59"/>
                      <a:pt x="29" y="56"/>
                    </a:cubicBezTo>
                    <a:cubicBezTo>
                      <a:pt x="30" y="53"/>
                      <a:pt x="37" y="44"/>
                      <a:pt x="38" y="42"/>
                    </a:cubicBezTo>
                    <a:cubicBezTo>
                      <a:pt x="39" y="41"/>
                      <a:pt x="38" y="33"/>
                      <a:pt x="38" y="31"/>
                    </a:cubicBezTo>
                    <a:cubicBezTo>
                      <a:pt x="38" y="29"/>
                      <a:pt x="36" y="24"/>
                      <a:pt x="39" y="23"/>
                    </a:cubicBezTo>
                    <a:cubicBezTo>
                      <a:pt x="41" y="21"/>
                      <a:pt x="46" y="18"/>
                      <a:pt x="47" y="18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51" y="6"/>
                      <a:pt x="53" y="3"/>
                      <a:pt x="55" y="1"/>
                    </a:cubicBezTo>
                    <a:cubicBezTo>
                      <a:pt x="56" y="0"/>
                      <a:pt x="61" y="1"/>
                      <a:pt x="64" y="2"/>
                    </a:cubicBezTo>
                    <a:cubicBezTo>
                      <a:pt x="67" y="2"/>
                      <a:pt x="68" y="8"/>
                      <a:pt x="69" y="8"/>
                    </a:cubicBezTo>
                    <a:cubicBezTo>
                      <a:pt x="71" y="8"/>
                      <a:pt x="75" y="2"/>
                      <a:pt x="77" y="2"/>
                    </a:cubicBezTo>
                    <a:cubicBezTo>
                      <a:pt x="79" y="2"/>
                      <a:pt x="81" y="2"/>
                      <a:pt x="82" y="3"/>
                    </a:cubicBezTo>
                    <a:cubicBezTo>
                      <a:pt x="83" y="3"/>
                      <a:pt x="83" y="4"/>
                      <a:pt x="83" y="4"/>
                    </a:cubicBezTo>
                    <a:cubicBezTo>
                      <a:pt x="83" y="7"/>
                      <a:pt x="97" y="17"/>
                      <a:pt x="99" y="18"/>
                    </a:cubicBezTo>
                    <a:cubicBezTo>
                      <a:pt x="103" y="20"/>
                      <a:pt x="121" y="29"/>
                      <a:pt x="121" y="30"/>
                    </a:cubicBezTo>
                    <a:cubicBezTo>
                      <a:pt x="121" y="32"/>
                      <a:pt x="111" y="42"/>
                      <a:pt x="113" y="44"/>
                    </a:cubicBezTo>
                    <a:cubicBezTo>
                      <a:pt x="115" y="46"/>
                      <a:pt x="123" y="46"/>
                      <a:pt x="127" y="46"/>
                    </a:cubicBezTo>
                    <a:cubicBezTo>
                      <a:pt x="131" y="46"/>
                      <a:pt x="137" y="41"/>
                      <a:pt x="139" y="40"/>
                    </a:cubicBezTo>
                    <a:cubicBezTo>
                      <a:pt x="141" y="39"/>
                      <a:pt x="143" y="33"/>
                      <a:pt x="144" y="31"/>
                    </a:cubicBezTo>
                    <a:cubicBezTo>
                      <a:pt x="146" y="31"/>
                      <a:pt x="149" y="31"/>
                      <a:pt x="149" y="31"/>
                    </a:cubicBezTo>
                    <a:cubicBezTo>
                      <a:pt x="151" y="31"/>
                      <a:pt x="153" y="35"/>
                      <a:pt x="152" y="37"/>
                    </a:cubicBezTo>
                    <a:cubicBezTo>
                      <a:pt x="151" y="38"/>
                      <a:pt x="151" y="43"/>
                      <a:pt x="149" y="44"/>
                    </a:cubicBezTo>
                    <a:cubicBezTo>
                      <a:pt x="146" y="45"/>
                      <a:pt x="140" y="51"/>
                      <a:pt x="136" y="54"/>
                    </a:cubicBezTo>
                    <a:cubicBezTo>
                      <a:pt x="133" y="57"/>
                      <a:pt x="128" y="62"/>
                      <a:pt x="124" y="66"/>
                    </a:cubicBezTo>
                    <a:cubicBezTo>
                      <a:pt x="123" y="68"/>
                      <a:pt x="122" y="69"/>
                      <a:pt x="121" y="69"/>
                    </a:cubicBezTo>
                    <a:cubicBezTo>
                      <a:pt x="119" y="71"/>
                      <a:pt x="118" y="75"/>
                      <a:pt x="118" y="77"/>
                    </a:cubicBezTo>
                    <a:cubicBezTo>
                      <a:pt x="118" y="80"/>
                      <a:pt x="115" y="101"/>
                      <a:pt x="115" y="101"/>
                    </a:cubicBezTo>
                    <a:cubicBezTo>
                      <a:pt x="114" y="101"/>
                      <a:pt x="115" y="101"/>
                      <a:pt x="115" y="104"/>
                    </a:cubicBezTo>
                    <a:cubicBezTo>
                      <a:pt x="115" y="108"/>
                      <a:pt x="120" y="108"/>
                      <a:pt x="123" y="110"/>
                    </a:cubicBezTo>
                    <a:cubicBezTo>
                      <a:pt x="126" y="112"/>
                      <a:pt x="123" y="114"/>
                      <a:pt x="123" y="117"/>
                    </a:cubicBezTo>
                    <a:cubicBezTo>
                      <a:pt x="123" y="121"/>
                      <a:pt x="128" y="120"/>
                      <a:pt x="128" y="122"/>
                    </a:cubicBezTo>
                    <a:cubicBezTo>
                      <a:pt x="129" y="124"/>
                      <a:pt x="127" y="127"/>
                      <a:pt x="125" y="129"/>
                    </a:cubicBezTo>
                    <a:cubicBezTo>
                      <a:pt x="123" y="130"/>
                      <a:pt x="122" y="135"/>
                      <a:pt x="121" y="137"/>
                    </a:cubicBezTo>
                    <a:cubicBezTo>
                      <a:pt x="119" y="139"/>
                      <a:pt x="107" y="142"/>
                      <a:pt x="104" y="143"/>
                    </a:cubicBezTo>
                    <a:cubicBezTo>
                      <a:pt x="101" y="145"/>
                      <a:pt x="87" y="144"/>
                      <a:pt x="87" y="145"/>
                    </a:cubicBezTo>
                    <a:cubicBezTo>
                      <a:pt x="87" y="146"/>
                      <a:pt x="87" y="157"/>
                      <a:pt x="87" y="159"/>
                    </a:cubicBezTo>
                    <a:cubicBezTo>
                      <a:pt x="87" y="162"/>
                      <a:pt x="85" y="161"/>
                      <a:pt x="83" y="163"/>
                    </a:cubicBezTo>
                    <a:cubicBezTo>
                      <a:pt x="81" y="164"/>
                      <a:pt x="75" y="164"/>
                      <a:pt x="73" y="164"/>
                    </a:cubicBezTo>
                    <a:cubicBezTo>
                      <a:pt x="71" y="164"/>
                      <a:pt x="66" y="161"/>
                      <a:pt x="64" y="161"/>
                    </a:cubicBezTo>
                    <a:cubicBezTo>
                      <a:pt x="62" y="162"/>
                      <a:pt x="64" y="167"/>
                      <a:pt x="64" y="168"/>
                    </a:cubicBezTo>
                    <a:cubicBezTo>
                      <a:pt x="64" y="170"/>
                      <a:pt x="65" y="172"/>
                      <a:pt x="66" y="173"/>
                    </a:cubicBezTo>
                    <a:cubicBezTo>
                      <a:pt x="67" y="174"/>
                      <a:pt x="72" y="172"/>
                      <a:pt x="74" y="172"/>
                    </a:cubicBezTo>
                    <a:cubicBezTo>
                      <a:pt x="75" y="173"/>
                      <a:pt x="75" y="176"/>
                      <a:pt x="75" y="178"/>
                    </a:cubicBezTo>
                    <a:cubicBezTo>
                      <a:pt x="75" y="179"/>
                      <a:pt x="72" y="181"/>
                      <a:pt x="71" y="181"/>
                    </a:cubicBezTo>
                    <a:cubicBezTo>
                      <a:pt x="69" y="181"/>
                      <a:pt x="66" y="184"/>
                      <a:pt x="64" y="185"/>
                    </a:cubicBezTo>
                    <a:cubicBezTo>
                      <a:pt x="62" y="187"/>
                      <a:pt x="62" y="191"/>
                      <a:pt x="62" y="195"/>
                    </a:cubicBezTo>
                    <a:cubicBezTo>
                      <a:pt x="62" y="198"/>
                      <a:pt x="62" y="200"/>
                      <a:pt x="61" y="200"/>
                    </a:cubicBezTo>
                    <a:cubicBezTo>
                      <a:pt x="60" y="201"/>
                      <a:pt x="58" y="200"/>
                      <a:pt x="55" y="200"/>
                    </a:cubicBezTo>
                    <a:cubicBezTo>
                      <a:pt x="53" y="200"/>
                      <a:pt x="50" y="202"/>
                      <a:pt x="47" y="205"/>
                    </a:cubicBezTo>
                    <a:cubicBezTo>
                      <a:pt x="45" y="209"/>
                      <a:pt x="45" y="213"/>
                      <a:pt x="48" y="216"/>
                    </a:cubicBezTo>
                    <a:cubicBezTo>
                      <a:pt x="51" y="219"/>
                      <a:pt x="56" y="219"/>
                      <a:pt x="58" y="220"/>
                    </a:cubicBezTo>
                    <a:cubicBezTo>
                      <a:pt x="60" y="221"/>
                      <a:pt x="59" y="224"/>
                      <a:pt x="59" y="227"/>
                    </a:cubicBezTo>
                    <a:cubicBezTo>
                      <a:pt x="59" y="230"/>
                      <a:pt x="49" y="236"/>
                      <a:pt x="47" y="238"/>
                    </a:cubicBezTo>
                    <a:cubicBezTo>
                      <a:pt x="45" y="241"/>
                      <a:pt x="43" y="246"/>
                      <a:pt x="43" y="249"/>
                    </a:cubicBezTo>
                    <a:cubicBezTo>
                      <a:pt x="42" y="251"/>
                      <a:pt x="35" y="252"/>
                      <a:pt x="33" y="255"/>
                    </a:cubicBezTo>
                    <a:cubicBezTo>
                      <a:pt x="32" y="257"/>
                      <a:pt x="33" y="263"/>
                      <a:pt x="35" y="266"/>
                    </a:cubicBezTo>
                    <a:cubicBezTo>
                      <a:pt x="37" y="268"/>
                      <a:pt x="37" y="270"/>
                      <a:pt x="35" y="270"/>
                    </a:cubicBezTo>
                    <a:cubicBezTo>
                      <a:pt x="34" y="270"/>
                      <a:pt x="29" y="268"/>
                      <a:pt x="29" y="269"/>
                    </a:cubicBezTo>
                    <a:cubicBezTo>
                      <a:pt x="11" y="268"/>
                      <a:pt x="11" y="268"/>
                      <a:pt x="11" y="268"/>
                    </a:cubicBezTo>
                    <a:cubicBezTo>
                      <a:pt x="9" y="267"/>
                      <a:pt x="8" y="265"/>
                      <a:pt x="8" y="263"/>
                    </a:cubicBezTo>
                    <a:cubicBezTo>
                      <a:pt x="8" y="262"/>
                      <a:pt x="11" y="257"/>
                      <a:pt x="9" y="255"/>
                    </a:cubicBezTo>
                    <a:cubicBezTo>
                      <a:pt x="7" y="254"/>
                      <a:pt x="4" y="255"/>
                      <a:pt x="2" y="254"/>
                    </a:cubicBezTo>
                    <a:close/>
                  </a:path>
                </a:pathLst>
              </a:custGeom>
              <a:solidFill>
                <a:srgbClr val="EB780A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48" name="Group 208"/>
            <p:cNvGrpSpPr>
              <a:grpSpLocks/>
            </p:cNvGrpSpPr>
            <p:nvPr/>
          </p:nvGrpSpPr>
          <p:grpSpPr bwMode="auto">
            <a:xfrm>
              <a:off x="4079632" y="5031849"/>
              <a:ext cx="185194" cy="877551"/>
              <a:chOff x="1547" y="2838"/>
              <a:chExt cx="134" cy="676"/>
            </a:xfrm>
          </p:grpSpPr>
          <p:sp>
            <p:nvSpPr>
              <p:cNvPr id="219" name="Freeform 209"/>
              <p:cNvSpPr>
                <a:spLocks/>
              </p:cNvSpPr>
              <p:nvPr/>
            </p:nvSpPr>
            <p:spPr bwMode="auto">
              <a:xfrm>
                <a:off x="1610" y="3461"/>
                <a:ext cx="47" cy="53"/>
              </a:xfrm>
              <a:custGeom>
                <a:avLst/>
                <a:gdLst>
                  <a:gd name="T0" fmla="*/ 270346 w 23"/>
                  <a:gd name="T1" fmla="*/ 2225007 h 26"/>
                  <a:gd name="T2" fmla="*/ 0 w 23"/>
                  <a:gd name="T3" fmla="*/ 1795424 h 26"/>
                  <a:gd name="T4" fmla="*/ 1214194 w 23"/>
                  <a:gd name="T5" fmla="*/ 1605755 h 26"/>
                  <a:gd name="T6" fmla="*/ 1128911 w 23"/>
                  <a:gd name="T7" fmla="*/ 1259973 h 26"/>
                  <a:gd name="T8" fmla="*/ 1590513 w 23"/>
                  <a:gd name="T9" fmla="*/ 787729 h 26"/>
                  <a:gd name="T10" fmla="*/ 996751 w 23"/>
                  <a:gd name="T11" fmla="*/ 705075 h 26"/>
                  <a:gd name="T12" fmla="*/ 910351 w 23"/>
                  <a:gd name="T13" fmla="*/ 515427 h 26"/>
                  <a:gd name="T14" fmla="*/ 1398125 w 23"/>
                  <a:gd name="T15" fmla="*/ 169680 h 26"/>
                  <a:gd name="T16" fmla="*/ 2036839 w 23"/>
                  <a:gd name="T17" fmla="*/ 0 h 26"/>
                  <a:gd name="T18" fmla="*/ 2125679 w 23"/>
                  <a:gd name="T19" fmla="*/ 83239 h 26"/>
                  <a:gd name="T20" fmla="*/ 2125679 w 23"/>
                  <a:gd name="T21" fmla="*/ 2141767 h 26"/>
                  <a:gd name="T22" fmla="*/ 2125679 w 23"/>
                  <a:gd name="T23" fmla="*/ 2141767 h 26"/>
                  <a:gd name="T24" fmla="*/ 2036839 w 23"/>
                  <a:gd name="T25" fmla="*/ 2141767 h 26"/>
                  <a:gd name="T26" fmla="*/ 270346 w 23"/>
                  <a:gd name="T27" fmla="*/ 2225007 h 2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3" h="26">
                    <a:moveTo>
                      <a:pt x="3" y="25"/>
                    </a:moveTo>
                    <a:cubicBezTo>
                      <a:pt x="1" y="24"/>
                      <a:pt x="0" y="22"/>
                      <a:pt x="0" y="20"/>
                    </a:cubicBezTo>
                    <a:cubicBezTo>
                      <a:pt x="0" y="18"/>
                      <a:pt x="12" y="18"/>
                      <a:pt x="13" y="18"/>
                    </a:cubicBezTo>
                    <a:cubicBezTo>
                      <a:pt x="13" y="18"/>
                      <a:pt x="12" y="15"/>
                      <a:pt x="12" y="14"/>
                    </a:cubicBezTo>
                    <a:cubicBezTo>
                      <a:pt x="12" y="13"/>
                      <a:pt x="18" y="13"/>
                      <a:pt x="17" y="9"/>
                    </a:cubicBezTo>
                    <a:cubicBezTo>
                      <a:pt x="17" y="7"/>
                      <a:pt x="13" y="8"/>
                      <a:pt x="11" y="8"/>
                    </a:cubicBezTo>
                    <a:cubicBezTo>
                      <a:pt x="9" y="8"/>
                      <a:pt x="10" y="8"/>
                      <a:pt x="10" y="6"/>
                    </a:cubicBezTo>
                    <a:cubicBezTo>
                      <a:pt x="10" y="5"/>
                      <a:pt x="12" y="3"/>
                      <a:pt x="15" y="2"/>
                    </a:cubicBezTo>
                    <a:cubicBezTo>
                      <a:pt x="19" y="1"/>
                      <a:pt x="21" y="0"/>
                      <a:pt x="22" y="0"/>
                    </a:cubicBezTo>
                    <a:cubicBezTo>
                      <a:pt x="22" y="0"/>
                      <a:pt x="22" y="0"/>
                      <a:pt x="23" y="1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2" y="24"/>
                      <a:pt x="22" y="24"/>
                    </a:cubicBezTo>
                    <a:cubicBezTo>
                      <a:pt x="20" y="24"/>
                      <a:pt x="5" y="26"/>
                      <a:pt x="3" y="25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0" name="Freeform 210"/>
              <p:cNvSpPr>
                <a:spLocks/>
              </p:cNvSpPr>
              <p:nvPr/>
            </p:nvSpPr>
            <p:spPr bwMode="auto">
              <a:xfrm>
                <a:off x="1551" y="3287"/>
                <a:ext cx="23" cy="29"/>
              </a:xfrm>
              <a:custGeom>
                <a:avLst/>
                <a:gdLst>
                  <a:gd name="T0" fmla="*/ 523867 w 11"/>
                  <a:gd name="T1" fmla="*/ 1049119 h 14"/>
                  <a:gd name="T2" fmla="*/ 0 w 11"/>
                  <a:gd name="T3" fmla="*/ 674878 h 14"/>
                  <a:gd name="T4" fmla="*/ 523867 w 11"/>
                  <a:gd name="T5" fmla="*/ 454938 h 14"/>
                  <a:gd name="T6" fmla="*/ 818079 w 11"/>
                  <a:gd name="T7" fmla="*/ 0 h 14"/>
                  <a:gd name="T8" fmla="*/ 1459831 w 11"/>
                  <a:gd name="T9" fmla="*/ 0 h 14"/>
                  <a:gd name="T10" fmla="*/ 1338178 w 11"/>
                  <a:gd name="T11" fmla="*/ 832070 h 14"/>
                  <a:gd name="T12" fmla="*/ 1228273 w 11"/>
                  <a:gd name="T13" fmla="*/ 1279998 h 14"/>
                  <a:gd name="T14" fmla="*/ 948758 w 11"/>
                  <a:gd name="T15" fmla="*/ 1603019 h 14"/>
                  <a:gd name="T16" fmla="*/ 250545 w 11"/>
                  <a:gd name="T17" fmla="*/ 1498297 h 14"/>
                  <a:gd name="T18" fmla="*/ 523867 w 11"/>
                  <a:gd name="T19" fmla="*/ 1049119 h 1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1" h="14">
                    <a:moveTo>
                      <a:pt x="4" y="9"/>
                    </a:moveTo>
                    <a:cubicBezTo>
                      <a:pt x="4" y="8"/>
                      <a:pt x="0" y="8"/>
                      <a:pt x="0" y="6"/>
                    </a:cubicBezTo>
                    <a:cubicBezTo>
                      <a:pt x="0" y="5"/>
                      <a:pt x="4" y="5"/>
                      <a:pt x="4" y="4"/>
                    </a:cubicBezTo>
                    <a:cubicBezTo>
                      <a:pt x="5" y="3"/>
                      <a:pt x="6" y="0"/>
                      <a:pt x="6" y="0"/>
                    </a:cubicBezTo>
                    <a:cubicBezTo>
                      <a:pt x="7" y="0"/>
                      <a:pt x="11" y="0"/>
                      <a:pt x="11" y="0"/>
                    </a:cubicBezTo>
                    <a:cubicBezTo>
                      <a:pt x="11" y="1"/>
                      <a:pt x="11" y="6"/>
                      <a:pt x="10" y="7"/>
                    </a:cubicBezTo>
                    <a:cubicBezTo>
                      <a:pt x="10" y="8"/>
                      <a:pt x="9" y="10"/>
                      <a:pt x="9" y="11"/>
                    </a:cubicBezTo>
                    <a:cubicBezTo>
                      <a:pt x="8" y="12"/>
                      <a:pt x="8" y="14"/>
                      <a:pt x="7" y="14"/>
                    </a:cubicBezTo>
                    <a:cubicBezTo>
                      <a:pt x="5" y="13"/>
                      <a:pt x="2" y="14"/>
                      <a:pt x="2" y="13"/>
                    </a:cubicBezTo>
                    <a:cubicBezTo>
                      <a:pt x="2" y="12"/>
                      <a:pt x="5" y="9"/>
                      <a:pt x="4" y="9"/>
                    </a:cubicBezTo>
                    <a:close/>
                  </a:path>
                </a:pathLst>
              </a:custGeom>
              <a:solidFill>
                <a:srgbClr val="FF99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1" name="Freeform 211"/>
              <p:cNvSpPr>
                <a:spLocks/>
              </p:cNvSpPr>
              <p:nvPr/>
            </p:nvSpPr>
            <p:spPr bwMode="auto">
              <a:xfrm>
                <a:off x="1547" y="2838"/>
                <a:ext cx="134" cy="658"/>
              </a:xfrm>
              <a:custGeom>
                <a:avLst/>
                <a:gdLst>
                  <a:gd name="T0" fmla="*/ 156971 w 66"/>
                  <a:gd name="T1" fmla="*/ 22713073 h 325"/>
                  <a:gd name="T2" fmla="*/ 156971 w 66"/>
                  <a:gd name="T3" fmla="*/ 22242151 h 325"/>
                  <a:gd name="T4" fmla="*/ 0 w 66"/>
                  <a:gd name="T5" fmla="*/ 21023440 h 325"/>
                  <a:gd name="T6" fmla="*/ 907982 w 66"/>
                  <a:gd name="T7" fmla="*/ 20170921 h 325"/>
                  <a:gd name="T8" fmla="*/ 156971 w 66"/>
                  <a:gd name="T9" fmla="*/ 20004229 h 325"/>
                  <a:gd name="T10" fmla="*/ 318699 w 66"/>
                  <a:gd name="T11" fmla="*/ 19448980 h 325"/>
                  <a:gd name="T12" fmla="*/ 1238103 w 66"/>
                  <a:gd name="T13" fmla="*/ 19374369 h 325"/>
                  <a:gd name="T14" fmla="*/ 1515254 w 66"/>
                  <a:gd name="T15" fmla="*/ 18504568 h 325"/>
                  <a:gd name="T16" fmla="*/ 1594880 w 66"/>
                  <a:gd name="T17" fmla="*/ 17671220 h 325"/>
                  <a:gd name="T18" fmla="*/ 2099256 w 66"/>
                  <a:gd name="T19" fmla="*/ 16489725 h 325"/>
                  <a:gd name="T20" fmla="*/ 1515254 w 66"/>
                  <a:gd name="T21" fmla="*/ 16564468 h 325"/>
                  <a:gd name="T22" fmla="*/ 828388 w 66"/>
                  <a:gd name="T23" fmla="*/ 17286948 h 325"/>
                  <a:gd name="T24" fmla="*/ 985363 w 66"/>
                  <a:gd name="T25" fmla="*/ 16338411 h 325"/>
                  <a:gd name="T26" fmla="*/ 1157882 w 66"/>
                  <a:gd name="T27" fmla="*/ 15867117 h 325"/>
                  <a:gd name="T28" fmla="*/ 1515254 w 66"/>
                  <a:gd name="T29" fmla="*/ 14481865 h 325"/>
                  <a:gd name="T30" fmla="*/ 1157882 w 66"/>
                  <a:gd name="T31" fmla="*/ 12908136 h 325"/>
                  <a:gd name="T32" fmla="*/ 1681879 w 66"/>
                  <a:gd name="T33" fmla="*/ 12370997 h 325"/>
                  <a:gd name="T34" fmla="*/ 2513724 w 66"/>
                  <a:gd name="T35" fmla="*/ 9643170 h 325"/>
                  <a:gd name="T36" fmla="*/ 2667250 w 66"/>
                  <a:gd name="T37" fmla="*/ 8221139 h 325"/>
                  <a:gd name="T38" fmla="*/ 2589897 w 66"/>
                  <a:gd name="T39" fmla="*/ 7253243 h 325"/>
                  <a:gd name="T40" fmla="*/ 3160743 w 66"/>
                  <a:gd name="T41" fmla="*/ 5194699 h 325"/>
                  <a:gd name="T42" fmla="*/ 3499083 w 66"/>
                  <a:gd name="T43" fmla="*/ 2240407 h 325"/>
                  <a:gd name="T44" fmla="*/ 3742821 w 66"/>
                  <a:gd name="T45" fmla="*/ 309165 h 325"/>
                  <a:gd name="T46" fmla="*/ 4352541 w 66"/>
                  <a:gd name="T47" fmla="*/ 625940 h 325"/>
                  <a:gd name="T48" fmla="*/ 4591587 w 66"/>
                  <a:gd name="T49" fmla="*/ 1845556 h 325"/>
                  <a:gd name="T50" fmla="*/ 5415326 w 66"/>
                  <a:gd name="T51" fmla="*/ 3263370 h 325"/>
                  <a:gd name="T52" fmla="*/ 5337900 w 66"/>
                  <a:gd name="T53" fmla="*/ 4060593 h 325"/>
                  <a:gd name="T54" fmla="*/ 4591587 w 66"/>
                  <a:gd name="T55" fmla="*/ 5110603 h 325"/>
                  <a:gd name="T56" fmla="*/ 3827440 w 66"/>
                  <a:gd name="T57" fmla="*/ 7077991 h 325"/>
                  <a:gd name="T58" fmla="*/ 3315406 w 66"/>
                  <a:gd name="T59" fmla="*/ 8764544 h 325"/>
                  <a:gd name="T60" fmla="*/ 3656190 w 66"/>
                  <a:gd name="T61" fmla="*/ 10758867 h 325"/>
                  <a:gd name="T62" fmla="*/ 2908596 w 66"/>
                  <a:gd name="T63" fmla="*/ 12448495 h 325"/>
                  <a:gd name="T64" fmla="*/ 2828973 w 66"/>
                  <a:gd name="T65" fmla="*/ 14254863 h 325"/>
                  <a:gd name="T66" fmla="*/ 2746872 w 66"/>
                  <a:gd name="T67" fmla="*/ 16412071 h 325"/>
                  <a:gd name="T68" fmla="*/ 2513724 w 66"/>
                  <a:gd name="T69" fmla="*/ 18026100 h 325"/>
                  <a:gd name="T70" fmla="*/ 2589897 w 66"/>
                  <a:gd name="T71" fmla="*/ 19055081 h 325"/>
                  <a:gd name="T72" fmla="*/ 2181918 w 66"/>
                  <a:gd name="T73" fmla="*/ 20554742 h 325"/>
                  <a:gd name="T74" fmla="*/ 1594880 w 66"/>
                  <a:gd name="T75" fmla="*/ 21698475 h 325"/>
                  <a:gd name="T76" fmla="*/ 1594880 w 66"/>
                  <a:gd name="T77" fmla="*/ 22869244 h 325"/>
                  <a:gd name="T78" fmla="*/ 2099256 w 66"/>
                  <a:gd name="T79" fmla="*/ 23584862 h 325"/>
                  <a:gd name="T80" fmla="*/ 3827440 w 66"/>
                  <a:gd name="T81" fmla="*/ 24051344 h 325"/>
                  <a:gd name="T82" fmla="*/ 2985944 w 66"/>
                  <a:gd name="T83" fmla="*/ 24556653 h 325"/>
                  <a:gd name="T84" fmla="*/ 2828973 w 66"/>
                  <a:gd name="T85" fmla="*/ 25587719 h 325"/>
                  <a:gd name="T86" fmla="*/ 1515254 w 66"/>
                  <a:gd name="T87" fmla="*/ 25430410 h 325"/>
                  <a:gd name="T88" fmla="*/ 570300 w 66"/>
                  <a:gd name="T89" fmla="*/ 24810188 h 325"/>
                  <a:gd name="T90" fmla="*/ 1313720 w 66"/>
                  <a:gd name="T91" fmla="*/ 24709645 h 325"/>
                  <a:gd name="T92" fmla="*/ 408012 w 66"/>
                  <a:gd name="T93" fmla="*/ 24051344 h 325"/>
                  <a:gd name="T94" fmla="*/ 239042 w 66"/>
                  <a:gd name="T95" fmla="*/ 23584862 h 325"/>
                  <a:gd name="T96" fmla="*/ 318699 w 66"/>
                  <a:gd name="T97" fmla="*/ 23020015 h 32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66" h="325">
                    <a:moveTo>
                      <a:pt x="4" y="289"/>
                    </a:moveTo>
                    <a:cubicBezTo>
                      <a:pt x="2" y="289"/>
                      <a:pt x="2" y="287"/>
                      <a:pt x="2" y="285"/>
                    </a:cubicBezTo>
                    <a:cubicBezTo>
                      <a:pt x="2" y="283"/>
                      <a:pt x="6" y="281"/>
                      <a:pt x="6" y="280"/>
                    </a:cubicBezTo>
                    <a:cubicBezTo>
                      <a:pt x="6" y="280"/>
                      <a:pt x="4" y="279"/>
                      <a:pt x="2" y="279"/>
                    </a:cubicBezTo>
                    <a:cubicBezTo>
                      <a:pt x="0" y="278"/>
                      <a:pt x="1" y="276"/>
                      <a:pt x="0" y="274"/>
                    </a:cubicBezTo>
                    <a:cubicBezTo>
                      <a:pt x="0" y="272"/>
                      <a:pt x="0" y="265"/>
                      <a:pt x="0" y="264"/>
                    </a:cubicBezTo>
                    <a:cubicBezTo>
                      <a:pt x="1" y="263"/>
                      <a:pt x="4" y="260"/>
                      <a:pt x="6" y="259"/>
                    </a:cubicBezTo>
                    <a:cubicBezTo>
                      <a:pt x="7" y="259"/>
                      <a:pt x="10" y="255"/>
                      <a:pt x="11" y="253"/>
                    </a:cubicBezTo>
                    <a:cubicBezTo>
                      <a:pt x="11" y="252"/>
                      <a:pt x="10" y="250"/>
                      <a:pt x="9" y="250"/>
                    </a:cubicBezTo>
                    <a:cubicBezTo>
                      <a:pt x="7" y="250"/>
                      <a:pt x="4" y="250"/>
                      <a:pt x="2" y="251"/>
                    </a:cubicBezTo>
                    <a:cubicBezTo>
                      <a:pt x="1" y="251"/>
                      <a:pt x="0" y="250"/>
                      <a:pt x="0" y="248"/>
                    </a:cubicBezTo>
                    <a:cubicBezTo>
                      <a:pt x="0" y="247"/>
                      <a:pt x="3" y="245"/>
                      <a:pt x="4" y="244"/>
                    </a:cubicBezTo>
                    <a:cubicBezTo>
                      <a:pt x="6" y="242"/>
                      <a:pt x="7" y="240"/>
                      <a:pt x="8" y="241"/>
                    </a:cubicBezTo>
                    <a:cubicBezTo>
                      <a:pt x="10" y="242"/>
                      <a:pt x="14" y="244"/>
                      <a:pt x="15" y="243"/>
                    </a:cubicBezTo>
                    <a:cubicBezTo>
                      <a:pt x="16" y="241"/>
                      <a:pt x="15" y="238"/>
                      <a:pt x="16" y="236"/>
                    </a:cubicBezTo>
                    <a:cubicBezTo>
                      <a:pt x="17" y="235"/>
                      <a:pt x="16" y="232"/>
                      <a:pt x="18" y="232"/>
                    </a:cubicBezTo>
                    <a:cubicBezTo>
                      <a:pt x="20" y="232"/>
                      <a:pt x="21" y="229"/>
                      <a:pt x="21" y="227"/>
                    </a:cubicBezTo>
                    <a:cubicBezTo>
                      <a:pt x="21" y="226"/>
                      <a:pt x="19" y="224"/>
                      <a:pt x="19" y="222"/>
                    </a:cubicBezTo>
                    <a:cubicBezTo>
                      <a:pt x="20" y="221"/>
                      <a:pt x="21" y="215"/>
                      <a:pt x="22" y="213"/>
                    </a:cubicBezTo>
                    <a:cubicBezTo>
                      <a:pt x="23" y="212"/>
                      <a:pt x="24" y="208"/>
                      <a:pt x="25" y="207"/>
                    </a:cubicBezTo>
                    <a:cubicBezTo>
                      <a:pt x="25" y="207"/>
                      <a:pt x="22" y="205"/>
                      <a:pt x="20" y="205"/>
                    </a:cubicBezTo>
                    <a:cubicBezTo>
                      <a:pt x="18" y="205"/>
                      <a:pt x="18" y="207"/>
                      <a:pt x="18" y="208"/>
                    </a:cubicBezTo>
                    <a:cubicBezTo>
                      <a:pt x="18" y="209"/>
                      <a:pt x="16" y="214"/>
                      <a:pt x="15" y="216"/>
                    </a:cubicBezTo>
                    <a:cubicBezTo>
                      <a:pt x="14" y="217"/>
                      <a:pt x="12" y="217"/>
                      <a:pt x="10" y="217"/>
                    </a:cubicBezTo>
                    <a:cubicBezTo>
                      <a:pt x="8" y="217"/>
                      <a:pt x="8" y="215"/>
                      <a:pt x="8" y="214"/>
                    </a:cubicBezTo>
                    <a:cubicBezTo>
                      <a:pt x="9" y="213"/>
                      <a:pt x="12" y="207"/>
                      <a:pt x="12" y="205"/>
                    </a:cubicBezTo>
                    <a:cubicBezTo>
                      <a:pt x="12" y="204"/>
                      <a:pt x="15" y="204"/>
                      <a:pt x="15" y="203"/>
                    </a:cubicBezTo>
                    <a:cubicBezTo>
                      <a:pt x="16" y="202"/>
                      <a:pt x="14" y="200"/>
                      <a:pt x="14" y="199"/>
                    </a:cubicBezTo>
                    <a:cubicBezTo>
                      <a:pt x="14" y="198"/>
                      <a:pt x="13" y="191"/>
                      <a:pt x="14" y="190"/>
                    </a:cubicBezTo>
                    <a:cubicBezTo>
                      <a:pt x="14" y="188"/>
                      <a:pt x="17" y="184"/>
                      <a:pt x="18" y="182"/>
                    </a:cubicBezTo>
                    <a:cubicBezTo>
                      <a:pt x="19" y="180"/>
                      <a:pt x="16" y="175"/>
                      <a:pt x="16" y="172"/>
                    </a:cubicBezTo>
                    <a:cubicBezTo>
                      <a:pt x="14" y="170"/>
                      <a:pt x="13" y="163"/>
                      <a:pt x="14" y="162"/>
                    </a:cubicBezTo>
                    <a:cubicBezTo>
                      <a:pt x="14" y="160"/>
                      <a:pt x="18" y="162"/>
                      <a:pt x="18" y="161"/>
                    </a:cubicBezTo>
                    <a:cubicBezTo>
                      <a:pt x="19" y="160"/>
                      <a:pt x="20" y="158"/>
                      <a:pt x="20" y="155"/>
                    </a:cubicBezTo>
                    <a:cubicBezTo>
                      <a:pt x="22" y="152"/>
                      <a:pt x="25" y="142"/>
                      <a:pt x="27" y="137"/>
                    </a:cubicBezTo>
                    <a:cubicBezTo>
                      <a:pt x="29" y="133"/>
                      <a:pt x="30" y="127"/>
                      <a:pt x="30" y="121"/>
                    </a:cubicBezTo>
                    <a:cubicBezTo>
                      <a:pt x="32" y="115"/>
                      <a:pt x="29" y="106"/>
                      <a:pt x="29" y="105"/>
                    </a:cubicBezTo>
                    <a:cubicBezTo>
                      <a:pt x="29" y="103"/>
                      <a:pt x="32" y="103"/>
                      <a:pt x="32" y="103"/>
                    </a:cubicBezTo>
                    <a:cubicBezTo>
                      <a:pt x="32" y="102"/>
                      <a:pt x="33" y="98"/>
                      <a:pt x="33" y="97"/>
                    </a:cubicBezTo>
                    <a:cubicBezTo>
                      <a:pt x="33" y="95"/>
                      <a:pt x="30" y="93"/>
                      <a:pt x="31" y="91"/>
                    </a:cubicBezTo>
                    <a:cubicBezTo>
                      <a:pt x="32" y="90"/>
                      <a:pt x="34" y="85"/>
                      <a:pt x="35" y="83"/>
                    </a:cubicBezTo>
                    <a:cubicBezTo>
                      <a:pt x="36" y="80"/>
                      <a:pt x="37" y="68"/>
                      <a:pt x="38" y="65"/>
                    </a:cubicBezTo>
                    <a:cubicBezTo>
                      <a:pt x="39" y="61"/>
                      <a:pt x="39" y="48"/>
                      <a:pt x="40" y="44"/>
                    </a:cubicBezTo>
                    <a:cubicBezTo>
                      <a:pt x="41" y="41"/>
                      <a:pt x="42" y="33"/>
                      <a:pt x="42" y="28"/>
                    </a:cubicBezTo>
                    <a:cubicBezTo>
                      <a:pt x="43" y="24"/>
                      <a:pt x="41" y="6"/>
                      <a:pt x="40" y="6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5" y="3"/>
                      <a:pt x="46" y="2"/>
                      <a:pt x="47" y="0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3" y="10"/>
                      <a:pt x="55" y="12"/>
                      <a:pt x="56" y="14"/>
                    </a:cubicBezTo>
                    <a:cubicBezTo>
                      <a:pt x="56" y="16"/>
                      <a:pt x="54" y="20"/>
                      <a:pt x="55" y="23"/>
                    </a:cubicBezTo>
                    <a:cubicBezTo>
                      <a:pt x="56" y="26"/>
                      <a:pt x="58" y="39"/>
                      <a:pt x="58" y="40"/>
                    </a:cubicBezTo>
                    <a:cubicBezTo>
                      <a:pt x="58" y="42"/>
                      <a:pt x="64" y="41"/>
                      <a:pt x="65" y="41"/>
                    </a:cubicBezTo>
                    <a:cubicBezTo>
                      <a:pt x="65" y="41"/>
                      <a:pt x="66" y="41"/>
                      <a:pt x="66" y="40"/>
                    </a:cubicBezTo>
                    <a:cubicBezTo>
                      <a:pt x="64" y="51"/>
                      <a:pt x="64" y="51"/>
                      <a:pt x="64" y="51"/>
                    </a:cubicBezTo>
                    <a:cubicBezTo>
                      <a:pt x="63" y="51"/>
                      <a:pt x="58" y="54"/>
                      <a:pt x="56" y="56"/>
                    </a:cubicBezTo>
                    <a:cubicBezTo>
                      <a:pt x="53" y="57"/>
                      <a:pt x="55" y="62"/>
                      <a:pt x="55" y="64"/>
                    </a:cubicBezTo>
                    <a:cubicBezTo>
                      <a:pt x="55" y="66"/>
                      <a:pt x="56" y="74"/>
                      <a:pt x="55" y="75"/>
                    </a:cubicBezTo>
                    <a:cubicBezTo>
                      <a:pt x="54" y="77"/>
                      <a:pt x="47" y="86"/>
                      <a:pt x="46" y="89"/>
                    </a:cubicBezTo>
                    <a:cubicBezTo>
                      <a:pt x="44" y="92"/>
                      <a:pt x="45" y="99"/>
                      <a:pt x="44" y="101"/>
                    </a:cubicBezTo>
                    <a:cubicBezTo>
                      <a:pt x="44" y="102"/>
                      <a:pt x="42" y="108"/>
                      <a:pt x="40" y="110"/>
                    </a:cubicBezTo>
                    <a:cubicBezTo>
                      <a:pt x="38" y="112"/>
                      <a:pt x="43" y="125"/>
                      <a:pt x="44" y="128"/>
                    </a:cubicBezTo>
                    <a:cubicBezTo>
                      <a:pt x="45" y="130"/>
                      <a:pt x="44" y="133"/>
                      <a:pt x="44" y="135"/>
                    </a:cubicBezTo>
                    <a:cubicBezTo>
                      <a:pt x="44" y="137"/>
                      <a:pt x="40" y="149"/>
                      <a:pt x="40" y="151"/>
                    </a:cubicBezTo>
                    <a:cubicBezTo>
                      <a:pt x="40" y="153"/>
                      <a:pt x="37" y="155"/>
                      <a:pt x="35" y="156"/>
                    </a:cubicBezTo>
                    <a:cubicBezTo>
                      <a:pt x="33" y="158"/>
                      <a:pt x="35" y="169"/>
                      <a:pt x="36" y="172"/>
                    </a:cubicBezTo>
                    <a:cubicBezTo>
                      <a:pt x="37" y="174"/>
                      <a:pt x="35" y="177"/>
                      <a:pt x="34" y="179"/>
                    </a:cubicBezTo>
                    <a:cubicBezTo>
                      <a:pt x="32" y="181"/>
                      <a:pt x="32" y="188"/>
                      <a:pt x="31" y="190"/>
                    </a:cubicBezTo>
                    <a:cubicBezTo>
                      <a:pt x="31" y="193"/>
                      <a:pt x="33" y="204"/>
                      <a:pt x="33" y="206"/>
                    </a:cubicBezTo>
                    <a:cubicBezTo>
                      <a:pt x="33" y="208"/>
                      <a:pt x="27" y="210"/>
                      <a:pt x="31" y="215"/>
                    </a:cubicBezTo>
                    <a:cubicBezTo>
                      <a:pt x="32" y="216"/>
                      <a:pt x="30" y="224"/>
                      <a:pt x="30" y="226"/>
                    </a:cubicBezTo>
                    <a:cubicBezTo>
                      <a:pt x="30" y="227"/>
                      <a:pt x="35" y="228"/>
                      <a:pt x="35" y="229"/>
                    </a:cubicBezTo>
                    <a:cubicBezTo>
                      <a:pt x="35" y="231"/>
                      <a:pt x="33" y="238"/>
                      <a:pt x="31" y="239"/>
                    </a:cubicBezTo>
                    <a:cubicBezTo>
                      <a:pt x="30" y="240"/>
                      <a:pt x="31" y="248"/>
                      <a:pt x="31" y="250"/>
                    </a:cubicBezTo>
                    <a:cubicBezTo>
                      <a:pt x="30" y="253"/>
                      <a:pt x="28" y="256"/>
                      <a:pt x="26" y="258"/>
                    </a:cubicBezTo>
                    <a:cubicBezTo>
                      <a:pt x="25" y="260"/>
                      <a:pt x="25" y="267"/>
                      <a:pt x="24" y="269"/>
                    </a:cubicBezTo>
                    <a:cubicBezTo>
                      <a:pt x="24" y="270"/>
                      <a:pt x="21" y="271"/>
                      <a:pt x="19" y="272"/>
                    </a:cubicBezTo>
                    <a:cubicBezTo>
                      <a:pt x="18" y="273"/>
                      <a:pt x="17" y="276"/>
                      <a:pt x="17" y="278"/>
                    </a:cubicBezTo>
                    <a:cubicBezTo>
                      <a:pt x="17" y="280"/>
                      <a:pt x="18" y="286"/>
                      <a:pt x="19" y="287"/>
                    </a:cubicBezTo>
                    <a:cubicBezTo>
                      <a:pt x="21" y="288"/>
                      <a:pt x="24" y="287"/>
                      <a:pt x="26" y="288"/>
                    </a:cubicBezTo>
                    <a:cubicBezTo>
                      <a:pt x="28" y="290"/>
                      <a:pt x="25" y="295"/>
                      <a:pt x="25" y="296"/>
                    </a:cubicBezTo>
                    <a:cubicBezTo>
                      <a:pt x="25" y="298"/>
                      <a:pt x="26" y="300"/>
                      <a:pt x="28" y="301"/>
                    </a:cubicBezTo>
                    <a:cubicBezTo>
                      <a:pt x="46" y="302"/>
                      <a:pt x="46" y="302"/>
                      <a:pt x="46" y="302"/>
                    </a:cubicBezTo>
                    <a:cubicBezTo>
                      <a:pt x="46" y="303"/>
                      <a:pt x="46" y="306"/>
                      <a:pt x="44" y="306"/>
                    </a:cubicBezTo>
                    <a:cubicBezTo>
                      <a:pt x="41" y="307"/>
                      <a:pt x="37" y="308"/>
                      <a:pt x="36" y="308"/>
                    </a:cubicBezTo>
                    <a:cubicBezTo>
                      <a:pt x="36" y="308"/>
                      <a:pt x="36" y="312"/>
                      <a:pt x="36" y="314"/>
                    </a:cubicBezTo>
                    <a:cubicBezTo>
                      <a:pt x="36" y="316"/>
                      <a:pt x="36" y="319"/>
                      <a:pt x="34" y="321"/>
                    </a:cubicBezTo>
                    <a:cubicBezTo>
                      <a:pt x="32" y="323"/>
                      <a:pt x="24" y="325"/>
                      <a:pt x="22" y="325"/>
                    </a:cubicBezTo>
                    <a:cubicBezTo>
                      <a:pt x="21" y="324"/>
                      <a:pt x="20" y="319"/>
                      <a:pt x="18" y="319"/>
                    </a:cubicBezTo>
                    <a:cubicBezTo>
                      <a:pt x="16" y="319"/>
                      <a:pt x="14" y="317"/>
                      <a:pt x="13" y="316"/>
                    </a:cubicBezTo>
                    <a:cubicBezTo>
                      <a:pt x="12" y="315"/>
                      <a:pt x="6" y="311"/>
                      <a:pt x="7" y="311"/>
                    </a:cubicBezTo>
                    <a:cubicBezTo>
                      <a:pt x="8" y="310"/>
                      <a:pt x="15" y="313"/>
                      <a:pt x="16" y="313"/>
                    </a:cubicBezTo>
                    <a:cubicBezTo>
                      <a:pt x="17" y="313"/>
                      <a:pt x="16" y="311"/>
                      <a:pt x="16" y="310"/>
                    </a:cubicBezTo>
                    <a:cubicBezTo>
                      <a:pt x="15" y="309"/>
                      <a:pt x="10" y="305"/>
                      <a:pt x="9" y="304"/>
                    </a:cubicBezTo>
                    <a:cubicBezTo>
                      <a:pt x="8" y="304"/>
                      <a:pt x="6" y="304"/>
                      <a:pt x="5" y="302"/>
                    </a:cubicBezTo>
                    <a:cubicBezTo>
                      <a:pt x="5" y="301"/>
                      <a:pt x="8" y="300"/>
                      <a:pt x="7" y="296"/>
                    </a:cubicBezTo>
                    <a:cubicBezTo>
                      <a:pt x="7" y="295"/>
                      <a:pt x="3" y="297"/>
                      <a:pt x="3" y="296"/>
                    </a:cubicBezTo>
                    <a:cubicBezTo>
                      <a:pt x="3" y="294"/>
                      <a:pt x="6" y="293"/>
                      <a:pt x="6" y="291"/>
                    </a:cubicBezTo>
                    <a:cubicBezTo>
                      <a:pt x="6" y="290"/>
                      <a:pt x="5" y="290"/>
                      <a:pt x="4" y="289"/>
                    </a:cubicBezTo>
                    <a:close/>
                  </a:path>
                </a:pathLst>
              </a:custGeom>
              <a:solidFill>
                <a:srgbClr val="EB780A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61" name="Freeform 224"/>
            <p:cNvSpPr>
              <a:spLocks/>
            </p:cNvSpPr>
            <p:nvPr/>
          </p:nvSpPr>
          <p:spPr bwMode="auto">
            <a:xfrm>
              <a:off x="3197434" y="3986177"/>
              <a:ext cx="656598" cy="389818"/>
            </a:xfrm>
            <a:custGeom>
              <a:avLst/>
              <a:gdLst>
                <a:gd name="T0" fmla="*/ 0 w 236"/>
                <a:gd name="T1" fmla="*/ 925 h 148"/>
                <a:gd name="T2" fmla="*/ 56619 w 236"/>
                <a:gd name="T3" fmla="*/ 0 h 148"/>
                <a:gd name="T4" fmla="*/ 142667 w 236"/>
                <a:gd name="T5" fmla="*/ 4097 h 148"/>
                <a:gd name="T6" fmla="*/ 209924 w 236"/>
                <a:gd name="T7" fmla="*/ 2874 h 148"/>
                <a:gd name="T8" fmla="*/ 279147 w 236"/>
                <a:gd name="T9" fmla="*/ 5366 h 148"/>
                <a:gd name="T10" fmla="*/ 327744 w 236"/>
                <a:gd name="T11" fmla="*/ 9646 h 148"/>
                <a:gd name="T12" fmla="*/ 378204 w 236"/>
                <a:gd name="T13" fmla="*/ 8126 h 148"/>
                <a:gd name="T14" fmla="*/ 458795 w 236"/>
                <a:gd name="T15" fmla="*/ 17556 h 148"/>
                <a:gd name="T16" fmla="*/ 475757 w 236"/>
                <a:gd name="T17" fmla="*/ 16926 h 148"/>
                <a:gd name="T18" fmla="*/ 461302 w 236"/>
                <a:gd name="T19" fmla="*/ 21253 h 148"/>
                <a:gd name="T20" fmla="*/ 473655 w 236"/>
                <a:gd name="T21" fmla="*/ 27216 h 148"/>
                <a:gd name="T22" fmla="*/ 488144 w 236"/>
                <a:gd name="T23" fmla="*/ 31269 h 148"/>
                <a:gd name="T24" fmla="*/ 529613 w 236"/>
                <a:gd name="T25" fmla="*/ 34403 h 148"/>
                <a:gd name="T26" fmla="*/ 584712 w 236"/>
                <a:gd name="T27" fmla="*/ 34403 h 148"/>
                <a:gd name="T28" fmla="*/ 628060 w 236"/>
                <a:gd name="T29" fmla="*/ 30873 h 148"/>
                <a:gd name="T30" fmla="*/ 681963 w 236"/>
                <a:gd name="T31" fmla="*/ 27216 h 148"/>
                <a:gd name="T32" fmla="*/ 717081 w 236"/>
                <a:gd name="T33" fmla="*/ 27337 h 148"/>
                <a:gd name="T34" fmla="*/ 702471 w 236"/>
                <a:gd name="T35" fmla="*/ 31633 h 148"/>
                <a:gd name="T36" fmla="*/ 681963 w 236"/>
                <a:gd name="T37" fmla="*/ 34065 h 148"/>
                <a:gd name="T38" fmla="*/ 611456 w 236"/>
                <a:gd name="T39" fmla="*/ 36114 h 148"/>
                <a:gd name="T40" fmla="*/ 628060 w 236"/>
                <a:gd name="T41" fmla="*/ 38450 h 148"/>
                <a:gd name="T42" fmla="*/ 602687 w 236"/>
                <a:gd name="T43" fmla="*/ 40415 h 148"/>
                <a:gd name="T44" fmla="*/ 584712 w 236"/>
                <a:gd name="T45" fmla="*/ 43198 h 148"/>
                <a:gd name="T46" fmla="*/ 503968 w 236"/>
                <a:gd name="T47" fmla="*/ 40415 h 148"/>
                <a:gd name="T48" fmla="*/ 399165 w 236"/>
                <a:gd name="T49" fmla="*/ 38285 h 148"/>
                <a:gd name="T50" fmla="*/ 298899 w 236"/>
                <a:gd name="T51" fmla="*/ 33272 h 148"/>
                <a:gd name="T52" fmla="*/ 275370 w 236"/>
                <a:gd name="T53" fmla="*/ 30000 h 148"/>
                <a:gd name="T54" fmla="*/ 269321 w 236"/>
                <a:gd name="T55" fmla="*/ 25331 h 148"/>
                <a:gd name="T56" fmla="*/ 183830 w 236"/>
                <a:gd name="T57" fmla="*/ 17768 h 148"/>
                <a:gd name="T58" fmla="*/ 164639 w 236"/>
                <a:gd name="T59" fmla="*/ 14402 h 148"/>
                <a:gd name="T60" fmla="*/ 138491 w 236"/>
                <a:gd name="T61" fmla="*/ 11585 h 148"/>
                <a:gd name="T62" fmla="*/ 95376 w 236"/>
                <a:gd name="T63" fmla="*/ 4301 h 148"/>
                <a:gd name="T64" fmla="*/ 56619 w 236"/>
                <a:gd name="T65" fmla="*/ 4746 h 148"/>
                <a:gd name="T66" fmla="*/ 76870 w 236"/>
                <a:gd name="T67" fmla="*/ 8327 h 148"/>
                <a:gd name="T68" fmla="*/ 117737 w 236"/>
                <a:gd name="T69" fmla="*/ 13752 h 148"/>
                <a:gd name="T70" fmla="*/ 146166 w 236"/>
                <a:gd name="T71" fmla="*/ 17909 h 148"/>
                <a:gd name="T72" fmla="*/ 170133 w 236"/>
                <a:gd name="T73" fmla="*/ 21253 h 148"/>
                <a:gd name="T74" fmla="*/ 166634 w 236"/>
                <a:gd name="T75" fmla="*/ 24854 h 148"/>
                <a:gd name="T76" fmla="*/ 146166 w 236"/>
                <a:gd name="T77" fmla="*/ 21933 h 148"/>
                <a:gd name="T78" fmla="*/ 117737 w 236"/>
                <a:gd name="T79" fmla="*/ 17556 h 148"/>
                <a:gd name="T80" fmla="*/ 67315 w 236"/>
                <a:gd name="T81" fmla="*/ 14907 h 148"/>
                <a:gd name="T82" fmla="*/ 66069 w 236"/>
                <a:gd name="T83" fmla="*/ 12463 h 148"/>
                <a:gd name="T84" fmla="*/ 34262 w 236"/>
                <a:gd name="T85" fmla="*/ 7767 h 1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36" h="148">
                  <a:moveTo>
                    <a:pt x="4" y="12"/>
                  </a:moveTo>
                  <a:cubicBezTo>
                    <a:pt x="3" y="10"/>
                    <a:pt x="1" y="6"/>
                    <a:pt x="0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10"/>
                    <a:pt x="88" y="16"/>
                    <a:pt x="90" y="18"/>
                  </a:cubicBezTo>
                  <a:cubicBezTo>
                    <a:pt x="93" y="19"/>
                    <a:pt x="94" y="21"/>
                    <a:pt x="95" y="25"/>
                  </a:cubicBezTo>
                  <a:cubicBezTo>
                    <a:pt x="96" y="29"/>
                    <a:pt x="102" y="31"/>
                    <a:pt x="106" y="33"/>
                  </a:cubicBezTo>
                  <a:cubicBezTo>
                    <a:pt x="110" y="34"/>
                    <a:pt x="110" y="27"/>
                    <a:pt x="112" y="26"/>
                  </a:cubicBezTo>
                  <a:cubicBezTo>
                    <a:pt x="114" y="26"/>
                    <a:pt x="117" y="26"/>
                    <a:pt x="122" y="28"/>
                  </a:cubicBezTo>
                  <a:cubicBezTo>
                    <a:pt x="126" y="30"/>
                    <a:pt x="137" y="54"/>
                    <a:pt x="138" y="55"/>
                  </a:cubicBezTo>
                  <a:cubicBezTo>
                    <a:pt x="139" y="56"/>
                    <a:pt x="148" y="60"/>
                    <a:pt x="148" y="60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54" y="59"/>
                    <a:pt x="154" y="59"/>
                    <a:pt x="154" y="60"/>
                  </a:cubicBezTo>
                  <a:cubicBezTo>
                    <a:pt x="154" y="63"/>
                    <a:pt x="149" y="70"/>
                    <a:pt x="149" y="73"/>
                  </a:cubicBezTo>
                  <a:cubicBezTo>
                    <a:pt x="148" y="75"/>
                    <a:pt x="148" y="84"/>
                    <a:pt x="148" y="87"/>
                  </a:cubicBezTo>
                  <a:cubicBezTo>
                    <a:pt x="148" y="89"/>
                    <a:pt x="152" y="92"/>
                    <a:pt x="153" y="93"/>
                  </a:cubicBezTo>
                  <a:cubicBezTo>
                    <a:pt x="154" y="95"/>
                    <a:pt x="151" y="96"/>
                    <a:pt x="151" y="98"/>
                  </a:cubicBezTo>
                  <a:cubicBezTo>
                    <a:pt x="151" y="99"/>
                    <a:pt x="155" y="103"/>
                    <a:pt x="158" y="107"/>
                  </a:cubicBezTo>
                  <a:cubicBezTo>
                    <a:pt x="161" y="110"/>
                    <a:pt x="159" y="111"/>
                    <a:pt x="161" y="115"/>
                  </a:cubicBezTo>
                  <a:cubicBezTo>
                    <a:pt x="164" y="118"/>
                    <a:pt x="168" y="116"/>
                    <a:pt x="171" y="118"/>
                  </a:cubicBezTo>
                  <a:cubicBezTo>
                    <a:pt x="173" y="120"/>
                    <a:pt x="173" y="122"/>
                    <a:pt x="176" y="121"/>
                  </a:cubicBezTo>
                  <a:cubicBezTo>
                    <a:pt x="178" y="120"/>
                    <a:pt x="186" y="119"/>
                    <a:pt x="189" y="118"/>
                  </a:cubicBezTo>
                  <a:cubicBezTo>
                    <a:pt x="192" y="118"/>
                    <a:pt x="198" y="116"/>
                    <a:pt x="200" y="114"/>
                  </a:cubicBezTo>
                  <a:cubicBezTo>
                    <a:pt x="202" y="112"/>
                    <a:pt x="203" y="108"/>
                    <a:pt x="203" y="106"/>
                  </a:cubicBezTo>
                  <a:cubicBezTo>
                    <a:pt x="203" y="105"/>
                    <a:pt x="204" y="99"/>
                    <a:pt x="206" y="97"/>
                  </a:cubicBezTo>
                  <a:cubicBezTo>
                    <a:pt x="208" y="95"/>
                    <a:pt x="216" y="94"/>
                    <a:pt x="220" y="93"/>
                  </a:cubicBezTo>
                  <a:cubicBezTo>
                    <a:pt x="224" y="93"/>
                    <a:pt x="226" y="92"/>
                    <a:pt x="229" y="93"/>
                  </a:cubicBezTo>
                  <a:cubicBezTo>
                    <a:pt x="230" y="93"/>
                    <a:pt x="231" y="94"/>
                    <a:pt x="232" y="94"/>
                  </a:cubicBezTo>
                  <a:cubicBezTo>
                    <a:pt x="236" y="96"/>
                    <a:pt x="231" y="100"/>
                    <a:pt x="230" y="102"/>
                  </a:cubicBezTo>
                  <a:cubicBezTo>
                    <a:pt x="229" y="103"/>
                    <a:pt x="227" y="108"/>
                    <a:pt x="227" y="109"/>
                  </a:cubicBezTo>
                  <a:cubicBezTo>
                    <a:pt x="227" y="111"/>
                    <a:pt x="225" y="116"/>
                    <a:pt x="225" y="119"/>
                  </a:cubicBezTo>
                  <a:cubicBezTo>
                    <a:pt x="220" y="117"/>
                    <a:pt x="220" y="117"/>
                    <a:pt x="220" y="117"/>
                  </a:cubicBezTo>
                  <a:cubicBezTo>
                    <a:pt x="213" y="124"/>
                    <a:pt x="213" y="124"/>
                    <a:pt x="213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3" y="132"/>
                    <a:pt x="203" y="132"/>
                    <a:pt x="203" y="132"/>
                  </a:cubicBezTo>
                  <a:cubicBezTo>
                    <a:pt x="203" y="137"/>
                    <a:pt x="203" y="137"/>
                    <a:pt x="203" y="137"/>
                  </a:cubicBezTo>
                  <a:cubicBezTo>
                    <a:pt x="195" y="139"/>
                    <a:pt x="195" y="139"/>
                    <a:pt x="195" y="139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8" y="147"/>
                    <a:pt x="177" y="137"/>
                    <a:pt x="173" y="136"/>
                  </a:cubicBezTo>
                  <a:cubicBezTo>
                    <a:pt x="169" y="134"/>
                    <a:pt x="166" y="138"/>
                    <a:pt x="163" y="139"/>
                  </a:cubicBezTo>
                  <a:cubicBezTo>
                    <a:pt x="161" y="141"/>
                    <a:pt x="157" y="141"/>
                    <a:pt x="153" y="140"/>
                  </a:cubicBezTo>
                  <a:cubicBezTo>
                    <a:pt x="149" y="139"/>
                    <a:pt x="132" y="132"/>
                    <a:pt x="129" y="131"/>
                  </a:cubicBezTo>
                  <a:cubicBezTo>
                    <a:pt x="127" y="131"/>
                    <a:pt x="115" y="124"/>
                    <a:pt x="113" y="123"/>
                  </a:cubicBezTo>
                  <a:cubicBezTo>
                    <a:pt x="110" y="123"/>
                    <a:pt x="101" y="117"/>
                    <a:pt x="97" y="114"/>
                  </a:cubicBezTo>
                  <a:cubicBezTo>
                    <a:pt x="93" y="112"/>
                    <a:pt x="91" y="109"/>
                    <a:pt x="89" y="108"/>
                  </a:cubicBezTo>
                  <a:cubicBezTo>
                    <a:pt x="88" y="106"/>
                    <a:pt x="87" y="103"/>
                    <a:pt x="89" y="103"/>
                  </a:cubicBezTo>
                  <a:cubicBezTo>
                    <a:pt x="90" y="102"/>
                    <a:pt x="91" y="99"/>
                    <a:pt x="91" y="97"/>
                  </a:cubicBezTo>
                  <a:cubicBezTo>
                    <a:pt x="91" y="95"/>
                    <a:pt x="89" y="89"/>
                    <a:pt x="87" y="87"/>
                  </a:cubicBezTo>
                  <a:cubicBezTo>
                    <a:pt x="86" y="84"/>
                    <a:pt x="74" y="72"/>
                    <a:pt x="71" y="70"/>
                  </a:cubicBezTo>
                  <a:cubicBezTo>
                    <a:pt x="68" y="68"/>
                    <a:pt x="61" y="62"/>
                    <a:pt x="59" y="61"/>
                  </a:cubicBezTo>
                  <a:cubicBezTo>
                    <a:pt x="57" y="61"/>
                    <a:pt x="61" y="57"/>
                    <a:pt x="59" y="54"/>
                  </a:cubicBezTo>
                  <a:cubicBezTo>
                    <a:pt x="59" y="52"/>
                    <a:pt x="54" y="49"/>
                    <a:pt x="53" y="49"/>
                  </a:cubicBezTo>
                  <a:cubicBezTo>
                    <a:pt x="51" y="48"/>
                    <a:pt x="51" y="44"/>
                    <a:pt x="51" y="43"/>
                  </a:cubicBezTo>
                  <a:cubicBezTo>
                    <a:pt x="51" y="41"/>
                    <a:pt x="46" y="41"/>
                    <a:pt x="45" y="40"/>
                  </a:cubicBezTo>
                  <a:cubicBezTo>
                    <a:pt x="43" y="39"/>
                    <a:pt x="36" y="29"/>
                    <a:pt x="35" y="27"/>
                  </a:cubicBezTo>
                  <a:cubicBezTo>
                    <a:pt x="34" y="26"/>
                    <a:pt x="32" y="16"/>
                    <a:pt x="31" y="15"/>
                  </a:cubicBezTo>
                  <a:cubicBezTo>
                    <a:pt x="30" y="15"/>
                    <a:pt x="19" y="10"/>
                    <a:pt x="18" y="10"/>
                  </a:cubicBezTo>
                  <a:cubicBezTo>
                    <a:pt x="17" y="10"/>
                    <a:pt x="18" y="14"/>
                    <a:pt x="18" y="16"/>
                  </a:cubicBezTo>
                  <a:cubicBezTo>
                    <a:pt x="18" y="17"/>
                    <a:pt x="19" y="22"/>
                    <a:pt x="20" y="24"/>
                  </a:cubicBezTo>
                  <a:cubicBezTo>
                    <a:pt x="21" y="26"/>
                    <a:pt x="23" y="27"/>
                    <a:pt x="25" y="29"/>
                  </a:cubicBezTo>
                  <a:cubicBezTo>
                    <a:pt x="27" y="31"/>
                    <a:pt x="30" y="35"/>
                    <a:pt x="31" y="36"/>
                  </a:cubicBezTo>
                  <a:cubicBezTo>
                    <a:pt x="32" y="38"/>
                    <a:pt x="36" y="45"/>
                    <a:pt x="38" y="47"/>
                  </a:cubicBezTo>
                  <a:cubicBezTo>
                    <a:pt x="40" y="49"/>
                    <a:pt x="41" y="51"/>
                    <a:pt x="43" y="54"/>
                  </a:cubicBezTo>
                  <a:cubicBezTo>
                    <a:pt x="44" y="56"/>
                    <a:pt x="45" y="60"/>
                    <a:pt x="47" y="62"/>
                  </a:cubicBezTo>
                  <a:cubicBezTo>
                    <a:pt x="48" y="65"/>
                    <a:pt x="49" y="67"/>
                    <a:pt x="50" y="69"/>
                  </a:cubicBezTo>
                  <a:cubicBezTo>
                    <a:pt x="51" y="72"/>
                    <a:pt x="54" y="71"/>
                    <a:pt x="55" y="73"/>
                  </a:cubicBezTo>
                  <a:cubicBezTo>
                    <a:pt x="56" y="76"/>
                    <a:pt x="60" y="77"/>
                    <a:pt x="60" y="80"/>
                  </a:cubicBezTo>
                  <a:cubicBezTo>
                    <a:pt x="59" y="82"/>
                    <a:pt x="55" y="85"/>
                    <a:pt x="54" y="85"/>
                  </a:cubicBezTo>
                  <a:cubicBezTo>
                    <a:pt x="52" y="84"/>
                    <a:pt x="52" y="80"/>
                    <a:pt x="51" y="79"/>
                  </a:cubicBezTo>
                  <a:cubicBezTo>
                    <a:pt x="51" y="78"/>
                    <a:pt x="47" y="76"/>
                    <a:pt x="47" y="75"/>
                  </a:cubicBezTo>
                  <a:cubicBezTo>
                    <a:pt x="46" y="74"/>
                    <a:pt x="39" y="72"/>
                    <a:pt x="38" y="71"/>
                  </a:cubicBezTo>
                  <a:cubicBezTo>
                    <a:pt x="37" y="69"/>
                    <a:pt x="39" y="63"/>
                    <a:pt x="38" y="60"/>
                  </a:cubicBezTo>
                  <a:cubicBezTo>
                    <a:pt x="37" y="57"/>
                    <a:pt x="33" y="57"/>
                    <a:pt x="31" y="54"/>
                  </a:cubicBezTo>
                  <a:cubicBezTo>
                    <a:pt x="29" y="52"/>
                    <a:pt x="26" y="52"/>
                    <a:pt x="22" y="51"/>
                  </a:cubicBezTo>
                  <a:cubicBezTo>
                    <a:pt x="19" y="49"/>
                    <a:pt x="14" y="43"/>
                    <a:pt x="15" y="43"/>
                  </a:cubicBezTo>
                  <a:cubicBezTo>
                    <a:pt x="16" y="43"/>
                    <a:pt x="20" y="43"/>
                    <a:pt x="21" y="43"/>
                  </a:cubicBezTo>
                  <a:cubicBezTo>
                    <a:pt x="23" y="43"/>
                    <a:pt x="24" y="40"/>
                    <a:pt x="23" y="37"/>
                  </a:cubicBezTo>
                  <a:cubicBezTo>
                    <a:pt x="23" y="35"/>
                    <a:pt x="13" y="29"/>
                    <a:pt x="11" y="27"/>
                  </a:cubicBezTo>
                  <a:cubicBezTo>
                    <a:pt x="9" y="25"/>
                    <a:pt x="6" y="16"/>
                    <a:pt x="4" y="12"/>
                  </a:cubicBezTo>
                  <a:close/>
                </a:path>
              </a:pathLst>
            </a:custGeom>
            <a:solidFill>
              <a:srgbClr val="EB780A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91" name="Traditionalists"/>
          <p:cNvGrpSpPr/>
          <p:nvPr/>
        </p:nvGrpSpPr>
        <p:grpSpPr>
          <a:xfrm>
            <a:off x="2163111" y="2311549"/>
            <a:ext cx="6375733" cy="1899206"/>
            <a:chOff x="2082901" y="2415822"/>
            <a:chExt cx="6375733" cy="1899206"/>
          </a:xfrm>
        </p:grpSpPr>
        <p:sp>
          <p:nvSpPr>
            <p:cNvPr id="8" name="Freeform 14"/>
            <p:cNvSpPr>
              <a:spLocks/>
            </p:cNvSpPr>
            <p:nvPr/>
          </p:nvSpPr>
          <p:spPr bwMode="auto">
            <a:xfrm>
              <a:off x="8381189" y="3860549"/>
              <a:ext cx="77445" cy="103459"/>
            </a:xfrm>
            <a:custGeom>
              <a:avLst/>
              <a:gdLst>
                <a:gd name="T0" fmla="*/ 20892 w 28"/>
                <a:gd name="T1" fmla="*/ 3763 h 39"/>
                <a:gd name="T2" fmla="*/ 12717 w 28"/>
                <a:gd name="T3" fmla="*/ 2076 h 39"/>
                <a:gd name="T4" fmla="*/ 25913 w 28"/>
                <a:gd name="T5" fmla="*/ 701 h 39"/>
                <a:gd name="T6" fmla="*/ 53426 w 28"/>
                <a:gd name="T7" fmla="*/ 0 h 39"/>
                <a:gd name="T8" fmla="*/ 61436 w 28"/>
                <a:gd name="T9" fmla="*/ 1446 h 39"/>
                <a:gd name="T10" fmla="*/ 79334 w 28"/>
                <a:gd name="T11" fmla="*/ 5060 h 39"/>
                <a:gd name="T12" fmla="*/ 74200 w 28"/>
                <a:gd name="T13" fmla="*/ 8825 h 39"/>
                <a:gd name="T14" fmla="*/ 66864 w 28"/>
                <a:gd name="T15" fmla="*/ 10278 h 39"/>
                <a:gd name="T16" fmla="*/ 36728 w 28"/>
                <a:gd name="T17" fmla="*/ 11140 h 39"/>
                <a:gd name="T18" fmla="*/ 13608 w 28"/>
                <a:gd name="T19" fmla="*/ 12672 h 39"/>
                <a:gd name="T20" fmla="*/ 3069 w 28"/>
                <a:gd name="T21" fmla="*/ 10590 h 39"/>
                <a:gd name="T22" fmla="*/ 13608 w 28"/>
                <a:gd name="T23" fmla="*/ 7758 h 39"/>
                <a:gd name="T24" fmla="*/ 5042 w 28"/>
                <a:gd name="T25" fmla="*/ 5136 h 39"/>
                <a:gd name="T26" fmla="*/ 20892 w 28"/>
                <a:gd name="T27" fmla="*/ 3763 h 3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8" h="39">
                  <a:moveTo>
                    <a:pt x="7" y="12"/>
                  </a:moveTo>
                  <a:cubicBezTo>
                    <a:pt x="6" y="11"/>
                    <a:pt x="4" y="6"/>
                    <a:pt x="4" y="6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4" y="6"/>
                    <a:pt x="28" y="12"/>
                    <a:pt x="28" y="15"/>
                  </a:cubicBezTo>
                  <a:cubicBezTo>
                    <a:pt x="28" y="18"/>
                    <a:pt x="27" y="26"/>
                    <a:pt x="26" y="27"/>
                  </a:cubicBezTo>
                  <a:cubicBezTo>
                    <a:pt x="26" y="28"/>
                    <a:pt x="26" y="31"/>
                    <a:pt x="24" y="31"/>
                  </a:cubicBezTo>
                  <a:cubicBezTo>
                    <a:pt x="21" y="31"/>
                    <a:pt x="15" y="33"/>
                    <a:pt x="13" y="34"/>
                  </a:cubicBezTo>
                  <a:cubicBezTo>
                    <a:pt x="10" y="35"/>
                    <a:pt x="7" y="39"/>
                    <a:pt x="5" y="39"/>
                  </a:cubicBezTo>
                  <a:cubicBezTo>
                    <a:pt x="3" y="38"/>
                    <a:pt x="2" y="36"/>
                    <a:pt x="1" y="33"/>
                  </a:cubicBezTo>
                  <a:cubicBezTo>
                    <a:pt x="0" y="31"/>
                    <a:pt x="5" y="26"/>
                    <a:pt x="5" y="24"/>
                  </a:cubicBezTo>
                  <a:cubicBezTo>
                    <a:pt x="5" y="23"/>
                    <a:pt x="1" y="18"/>
                    <a:pt x="2" y="16"/>
                  </a:cubicBezTo>
                  <a:cubicBezTo>
                    <a:pt x="3" y="14"/>
                    <a:pt x="7" y="13"/>
                    <a:pt x="7" y="12"/>
                  </a:cubicBezTo>
                  <a:close/>
                </a:path>
              </a:pathLst>
            </a:custGeom>
            <a:solidFill>
              <a:srgbClr val="AAAA96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6"/>
            <p:cNvSpPr>
              <a:spLocks/>
            </p:cNvSpPr>
            <p:nvPr/>
          </p:nvSpPr>
          <p:spPr bwMode="auto">
            <a:xfrm>
              <a:off x="8254920" y="4159840"/>
              <a:ext cx="42090" cy="70204"/>
            </a:xfrm>
            <a:custGeom>
              <a:avLst/>
              <a:gdLst>
                <a:gd name="T0" fmla="*/ 0 w 15"/>
                <a:gd name="T1" fmla="*/ 4114 h 27"/>
                <a:gd name="T2" fmla="*/ 32255 w 15"/>
                <a:gd name="T3" fmla="*/ 0 h 27"/>
                <a:gd name="T4" fmla="*/ 48325 w 15"/>
                <a:gd name="T5" fmla="*/ 460 h 27"/>
                <a:gd name="T6" fmla="*/ 32255 w 15"/>
                <a:gd name="T7" fmla="*/ 4114 h 27"/>
                <a:gd name="T8" fmla="*/ 21542 w 15"/>
                <a:gd name="T9" fmla="*/ 6423 h 27"/>
                <a:gd name="T10" fmla="*/ 0 w 15"/>
                <a:gd name="T11" fmla="*/ 4114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27">
                  <a:moveTo>
                    <a:pt x="0" y="17"/>
                  </a:moveTo>
                  <a:cubicBezTo>
                    <a:pt x="0" y="14"/>
                    <a:pt x="6" y="2"/>
                    <a:pt x="9" y="0"/>
                  </a:cubicBezTo>
                  <a:cubicBezTo>
                    <a:pt x="9" y="0"/>
                    <a:pt x="14" y="0"/>
                    <a:pt x="14" y="2"/>
                  </a:cubicBezTo>
                  <a:cubicBezTo>
                    <a:pt x="15" y="4"/>
                    <a:pt x="12" y="15"/>
                    <a:pt x="9" y="17"/>
                  </a:cubicBezTo>
                  <a:cubicBezTo>
                    <a:pt x="7" y="19"/>
                    <a:pt x="8" y="26"/>
                    <a:pt x="6" y="27"/>
                  </a:cubicBezTo>
                  <a:cubicBezTo>
                    <a:pt x="4" y="27"/>
                    <a:pt x="1" y="19"/>
                    <a:pt x="0" y="17"/>
                  </a:cubicBezTo>
                  <a:close/>
                </a:path>
              </a:pathLst>
            </a:custGeom>
            <a:solidFill>
              <a:srgbClr val="AAAA96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132"/>
            <p:cNvSpPr>
              <a:spLocks/>
            </p:cNvSpPr>
            <p:nvPr/>
          </p:nvSpPr>
          <p:spPr bwMode="auto">
            <a:xfrm>
              <a:off x="5993867" y="3444867"/>
              <a:ext cx="215499" cy="157036"/>
            </a:xfrm>
            <a:custGeom>
              <a:avLst/>
              <a:gdLst>
                <a:gd name="T0" fmla="*/ 55728 w 77"/>
                <a:gd name="T1" fmla="*/ 1709 h 60"/>
                <a:gd name="T2" fmla="*/ 106080 w 77"/>
                <a:gd name="T3" fmla="*/ 0 h 60"/>
                <a:gd name="T4" fmla="*/ 118423 w 77"/>
                <a:gd name="T5" fmla="*/ 1709 h 60"/>
                <a:gd name="T6" fmla="*/ 145179 w 77"/>
                <a:gd name="T7" fmla="*/ 851 h 60"/>
                <a:gd name="T8" fmla="*/ 148703 w 77"/>
                <a:gd name="T9" fmla="*/ 1709 h 60"/>
                <a:gd name="T10" fmla="*/ 228011 w 77"/>
                <a:gd name="T11" fmla="*/ 1316 h 60"/>
                <a:gd name="T12" fmla="*/ 244741 w 77"/>
                <a:gd name="T13" fmla="*/ 2192 h 60"/>
                <a:gd name="T14" fmla="*/ 244741 w 77"/>
                <a:gd name="T15" fmla="*/ 2641 h 60"/>
                <a:gd name="T16" fmla="*/ 255995 w 77"/>
                <a:gd name="T17" fmla="*/ 5024 h 60"/>
                <a:gd name="T18" fmla="*/ 235468 w 77"/>
                <a:gd name="T19" fmla="*/ 7117 h 60"/>
                <a:gd name="T20" fmla="*/ 251254 w 77"/>
                <a:gd name="T21" fmla="*/ 7977 h 60"/>
                <a:gd name="T22" fmla="*/ 247195 w 77"/>
                <a:gd name="T23" fmla="*/ 9377 h 60"/>
                <a:gd name="T24" fmla="*/ 247195 w 77"/>
                <a:gd name="T25" fmla="*/ 9451 h 60"/>
                <a:gd name="T26" fmla="*/ 261723 w 77"/>
                <a:gd name="T27" fmla="*/ 11598 h 60"/>
                <a:gd name="T28" fmla="*/ 247195 w 77"/>
                <a:gd name="T29" fmla="*/ 12508 h 60"/>
                <a:gd name="T30" fmla="*/ 228011 w 77"/>
                <a:gd name="T31" fmla="*/ 13939 h 60"/>
                <a:gd name="T32" fmla="*/ 231382 w 77"/>
                <a:gd name="T33" fmla="*/ 15615 h 60"/>
                <a:gd name="T34" fmla="*/ 221166 w 77"/>
                <a:gd name="T35" fmla="*/ 15721 h 60"/>
                <a:gd name="T36" fmla="*/ 204321 w 77"/>
                <a:gd name="T37" fmla="*/ 14711 h 60"/>
                <a:gd name="T38" fmla="*/ 184367 w 77"/>
                <a:gd name="T39" fmla="*/ 14518 h 60"/>
                <a:gd name="T40" fmla="*/ 153997 w 77"/>
                <a:gd name="T41" fmla="*/ 15068 h 60"/>
                <a:gd name="T42" fmla="*/ 139191 w 77"/>
                <a:gd name="T43" fmla="*/ 14518 h 60"/>
                <a:gd name="T44" fmla="*/ 122912 w 77"/>
                <a:gd name="T45" fmla="*/ 14283 h 60"/>
                <a:gd name="T46" fmla="*/ 116987 w 77"/>
                <a:gd name="T47" fmla="*/ 13284 h 60"/>
                <a:gd name="T48" fmla="*/ 96146 w 77"/>
                <a:gd name="T49" fmla="*/ 12861 h 60"/>
                <a:gd name="T50" fmla="*/ 76089 w 77"/>
                <a:gd name="T51" fmla="*/ 12508 h 60"/>
                <a:gd name="T52" fmla="*/ 65144 w 77"/>
                <a:gd name="T53" fmla="*/ 12861 h 60"/>
                <a:gd name="T54" fmla="*/ 55728 w 77"/>
                <a:gd name="T55" fmla="*/ 11598 h 60"/>
                <a:gd name="T56" fmla="*/ 34793 w 77"/>
                <a:gd name="T57" fmla="*/ 10711 h 60"/>
                <a:gd name="T58" fmla="*/ 24303 w 77"/>
                <a:gd name="T59" fmla="*/ 10248 h 60"/>
                <a:gd name="T60" fmla="*/ 24303 w 77"/>
                <a:gd name="T61" fmla="*/ 9752 h 60"/>
                <a:gd name="T62" fmla="*/ 14620 w 77"/>
                <a:gd name="T63" fmla="*/ 7977 h 60"/>
                <a:gd name="T64" fmla="*/ 14620 w 77"/>
                <a:gd name="T65" fmla="*/ 6272 h 60"/>
                <a:gd name="T66" fmla="*/ 0 w 77"/>
                <a:gd name="T67" fmla="*/ 5300 h 60"/>
                <a:gd name="T68" fmla="*/ 5994 w 77"/>
                <a:gd name="T69" fmla="*/ 3975 h 60"/>
                <a:gd name="T70" fmla="*/ 3606 w 77"/>
                <a:gd name="T71" fmla="*/ 2641 h 60"/>
                <a:gd name="T72" fmla="*/ 55728 w 77"/>
                <a:gd name="T73" fmla="*/ 1709 h 6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77" h="60">
                  <a:moveTo>
                    <a:pt x="16" y="6"/>
                  </a:moveTo>
                  <a:cubicBezTo>
                    <a:pt x="17" y="5"/>
                    <a:pt x="29" y="0"/>
                    <a:pt x="31" y="0"/>
                  </a:cubicBezTo>
                  <a:cubicBezTo>
                    <a:pt x="33" y="0"/>
                    <a:pt x="34" y="6"/>
                    <a:pt x="35" y="6"/>
                  </a:cubicBezTo>
                  <a:cubicBezTo>
                    <a:pt x="36" y="6"/>
                    <a:pt x="39" y="4"/>
                    <a:pt x="43" y="3"/>
                  </a:cubicBezTo>
                  <a:cubicBezTo>
                    <a:pt x="43" y="3"/>
                    <a:pt x="44" y="5"/>
                    <a:pt x="44" y="6"/>
                  </a:cubicBezTo>
                  <a:cubicBezTo>
                    <a:pt x="46" y="6"/>
                    <a:pt x="66" y="5"/>
                    <a:pt x="67" y="5"/>
                  </a:cubicBezTo>
                  <a:cubicBezTo>
                    <a:pt x="68" y="5"/>
                    <a:pt x="72" y="7"/>
                    <a:pt x="72" y="8"/>
                  </a:cubicBezTo>
                  <a:cubicBezTo>
                    <a:pt x="72" y="9"/>
                    <a:pt x="72" y="9"/>
                    <a:pt x="72" y="10"/>
                  </a:cubicBezTo>
                  <a:cubicBezTo>
                    <a:pt x="73" y="13"/>
                    <a:pt x="75" y="18"/>
                    <a:pt x="75" y="19"/>
                  </a:cubicBezTo>
                  <a:cubicBezTo>
                    <a:pt x="75" y="21"/>
                    <a:pt x="69" y="26"/>
                    <a:pt x="69" y="27"/>
                  </a:cubicBezTo>
                  <a:cubicBezTo>
                    <a:pt x="69" y="28"/>
                    <a:pt x="72" y="29"/>
                    <a:pt x="74" y="30"/>
                  </a:cubicBezTo>
                  <a:cubicBezTo>
                    <a:pt x="75" y="32"/>
                    <a:pt x="74" y="33"/>
                    <a:pt x="73" y="35"/>
                  </a:cubicBezTo>
                  <a:cubicBezTo>
                    <a:pt x="73" y="35"/>
                    <a:pt x="73" y="35"/>
                    <a:pt x="73" y="36"/>
                  </a:cubicBezTo>
                  <a:cubicBezTo>
                    <a:pt x="73" y="39"/>
                    <a:pt x="77" y="42"/>
                    <a:pt x="77" y="44"/>
                  </a:cubicBezTo>
                  <a:cubicBezTo>
                    <a:pt x="77" y="47"/>
                    <a:pt x="74" y="46"/>
                    <a:pt x="73" y="47"/>
                  </a:cubicBezTo>
                  <a:cubicBezTo>
                    <a:pt x="73" y="47"/>
                    <a:pt x="67" y="53"/>
                    <a:pt x="67" y="53"/>
                  </a:cubicBezTo>
                  <a:cubicBezTo>
                    <a:pt x="66" y="54"/>
                    <a:pt x="68" y="58"/>
                    <a:pt x="68" y="59"/>
                  </a:cubicBezTo>
                  <a:cubicBezTo>
                    <a:pt x="67" y="60"/>
                    <a:pt x="66" y="59"/>
                    <a:pt x="65" y="60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56" y="55"/>
                    <a:pt x="54" y="55"/>
                  </a:cubicBezTo>
                  <a:cubicBezTo>
                    <a:pt x="52" y="55"/>
                    <a:pt x="47" y="57"/>
                    <a:pt x="45" y="57"/>
                  </a:cubicBezTo>
                  <a:cubicBezTo>
                    <a:pt x="43" y="57"/>
                    <a:pt x="42" y="56"/>
                    <a:pt x="41" y="55"/>
                  </a:cubicBezTo>
                  <a:cubicBezTo>
                    <a:pt x="40" y="54"/>
                    <a:pt x="36" y="54"/>
                    <a:pt x="36" y="54"/>
                  </a:cubicBezTo>
                  <a:cubicBezTo>
                    <a:pt x="36" y="53"/>
                    <a:pt x="35" y="50"/>
                    <a:pt x="34" y="50"/>
                  </a:cubicBezTo>
                  <a:cubicBezTo>
                    <a:pt x="33" y="50"/>
                    <a:pt x="29" y="50"/>
                    <a:pt x="28" y="49"/>
                  </a:cubicBezTo>
                  <a:cubicBezTo>
                    <a:pt x="26" y="48"/>
                    <a:pt x="23" y="47"/>
                    <a:pt x="22" y="47"/>
                  </a:cubicBezTo>
                  <a:cubicBezTo>
                    <a:pt x="21" y="47"/>
                    <a:pt x="20" y="49"/>
                    <a:pt x="19" y="49"/>
                  </a:cubicBezTo>
                  <a:cubicBezTo>
                    <a:pt x="18" y="48"/>
                    <a:pt x="18" y="45"/>
                    <a:pt x="16" y="44"/>
                  </a:cubicBezTo>
                  <a:cubicBezTo>
                    <a:pt x="15" y="43"/>
                    <a:pt x="10" y="41"/>
                    <a:pt x="10" y="4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8"/>
                    <a:pt x="7" y="37"/>
                    <a:pt x="7" y="37"/>
                  </a:cubicBezTo>
                  <a:cubicBezTo>
                    <a:pt x="7" y="35"/>
                    <a:pt x="4" y="32"/>
                    <a:pt x="4" y="30"/>
                  </a:cubicBezTo>
                  <a:cubicBezTo>
                    <a:pt x="4" y="28"/>
                    <a:pt x="4" y="26"/>
                    <a:pt x="4" y="24"/>
                  </a:cubicBezTo>
                  <a:cubicBezTo>
                    <a:pt x="2" y="23"/>
                    <a:pt x="0" y="21"/>
                    <a:pt x="0" y="20"/>
                  </a:cubicBezTo>
                  <a:cubicBezTo>
                    <a:pt x="0" y="19"/>
                    <a:pt x="2" y="16"/>
                    <a:pt x="2" y="15"/>
                  </a:cubicBezTo>
                  <a:cubicBezTo>
                    <a:pt x="2" y="13"/>
                    <a:pt x="1" y="10"/>
                    <a:pt x="1" y="10"/>
                  </a:cubicBezTo>
                  <a:cubicBezTo>
                    <a:pt x="4" y="9"/>
                    <a:pt x="16" y="7"/>
                    <a:pt x="16" y="6"/>
                  </a:cubicBezTo>
                  <a:close/>
                </a:path>
              </a:pathLst>
            </a:custGeom>
            <a:solidFill>
              <a:srgbClr val="AAAA96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158"/>
            <p:cNvSpPr>
              <a:spLocks/>
            </p:cNvSpPr>
            <p:nvPr/>
          </p:nvSpPr>
          <p:spPr bwMode="auto">
            <a:xfrm>
              <a:off x="5776684" y="3481816"/>
              <a:ext cx="70711" cy="75747"/>
            </a:xfrm>
            <a:custGeom>
              <a:avLst/>
              <a:gdLst>
                <a:gd name="T0" fmla="*/ 3935 w 25"/>
                <a:gd name="T1" fmla="*/ 4448 h 29"/>
                <a:gd name="T2" fmla="*/ 24733 w 25"/>
                <a:gd name="T3" fmla="*/ 2952 h 29"/>
                <a:gd name="T4" fmla="*/ 35814 w 25"/>
                <a:gd name="T5" fmla="*/ 739 h 29"/>
                <a:gd name="T6" fmla="*/ 81367 w 25"/>
                <a:gd name="T7" fmla="*/ 1 h 29"/>
                <a:gd name="T8" fmla="*/ 93774 w 25"/>
                <a:gd name="T9" fmla="*/ 0 h 29"/>
                <a:gd name="T10" fmla="*/ 95941 w 25"/>
                <a:gd name="T11" fmla="*/ 1045 h 29"/>
                <a:gd name="T12" fmla="*/ 95941 w 25"/>
                <a:gd name="T13" fmla="*/ 2225 h 29"/>
                <a:gd name="T14" fmla="*/ 93774 w 25"/>
                <a:gd name="T15" fmla="*/ 4174 h 29"/>
                <a:gd name="T16" fmla="*/ 64596 w 25"/>
                <a:gd name="T17" fmla="*/ 4323 h 29"/>
                <a:gd name="T18" fmla="*/ 69806 w 25"/>
                <a:gd name="T19" fmla="*/ 5245 h 29"/>
                <a:gd name="T20" fmla="*/ 64596 w 25"/>
                <a:gd name="T21" fmla="*/ 6660 h 29"/>
                <a:gd name="T22" fmla="*/ 69806 w 25"/>
                <a:gd name="T23" fmla="*/ 7404 h 29"/>
                <a:gd name="T24" fmla="*/ 48433 w 25"/>
                <a:gd name="T25" fmla="*/ 7329 h 29"/>
                <a:gd name="T26" fmla="*/ 42452 w 25"/>
                <a:gd name="T27" fmla="*/ 5901 h 29"/>
                <a:gd name="T28" fmla="*/ 0 w 25"/>
                <a:gd name="T29" fmla="*/ 5184 h 29"/>
                <a:gd name="T30" fmla="*/ 3935 w 25"/>
                <a:gd name="T31" fmla="*/ 4448 h 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5" h="29">
                  <a:moveTo>
                    <a:pt x="1" y="18"/>
                  </a:moveTo>
                  <a:cubicBezTo>
                    <a:pt x="2" y="17"/>
                    <a:pt x="6" y="13"/>
                    <a:pt x="6" y="11"/>
                  </a:cubicBezTo>
                  <a:cubicBezTo>
                    <a:pt x="6" y="9"/>
                    <a:pt x="8" y="4"/>
                    <a:pt x="9" y="3"/>
                  </a:cubicBezTo>
                  <a:cubicBezTo>
                    <a:pt x="10" y="3"/>
                    <a:pt x="19" y="1"/>
                    <a:pt x="20" y="1"/>
                  </a:cubicBezTo>
                  <a:cubicBezTo>
                    <a:pt x="20" y="1"/>
                    <a:pt x="21" y="0"/>
                    <a:pt x="23" y="0"/>
                  </a:cubicBezTo>
                  <a:cubicBezTo>
                    <a:pt x="23" y="0"/>
                    <a:pt x="24" y="3"/>
                    <a:pt x="24" y="4"/>
                  </a:cubicBezTo>
                  <a:cubicBezTo>
                    <a:pt x="25" y="5"/>
                    <a:pt x="24" y="7"/>
                    <a:pt x="24" y="9"/>
                  </a:cubicBezTo>
                  <a:cubicBezTo>
                    <a:pt x="24" y="11"/>
                    <a:pt x="24" y="15"/>
                    <a:pt x="23" y="16"/>
                  </a:cubicBezTo>
                  <a:cubicBezTo>
                    <a:pt x="22" y="17"/>
                    <a:pt x="17" y="17"/>
                    <a:pt x="16" y="17"/>
                  </a:cubicBezTo>
                  <a:cubicBezTo>
                    <a:pt x="15" y="18"/>
                    <a:pt x="16" y="20"/>
                    <a:pt x="17" y="21"/>
                  </a:cubicBezTo>
                  <a:cubicBezTo>
                    <a:pt x="18" y="22"/>
                    <a:pt x="16" y="25"/>
                    <a:pt x="16" y="26"/>
                  </a:cubicBezTo>
                  <a:cubicBezTo>
                    <a:pt x="16" y="27"/>
                    <a:pt x="16" y="28"/>
                    <a:pt x="17" y="29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8"/>
                    <a:pt x="11" y="24"/>
                    <a:pt x="11" y="23"/>
                  </a:cubicBezTo>
                  <a:cubicBezTo>
                    <a:pt x="11" y="22"/>
                    <a:pt x="1" y="22"/>
                    <a:pt x="0" y="20"/>
                  </a:cubicBezTo>
                  <a:cubicBezTo>
                    <a:pt x="0" y="19"/>
                    <a:pt x="1" y="18"/>
                    <a:pt x="1" y="18"/>
                  </a:cubicBezTo>
                  <a:close/>
                </a:path>
              </a:pathLst>
            </a:custGeom>
            <a:solidFill>
              <a:srgbClr val="AAAA96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8" name="Group 170"/>
            <p:cNvGrpSpPr>
              <a:grpSpLocks/>
            </p:cNvGrpSpPr>
            <p:nvPr/>
          </p:nvGrpSpPr>
          <p:grpSpPr bwMode="auto">
            <a:xfrm>
              <a:off x="5588123" y="3548325"/>
              <a:ext cx="311463" cy="242019"/>
              <a:chOff x="2641" y="1694"/>
              <a:chExt cx="226" cy="186"/>
            </a:xfrm>
          </p:grpSpPr>
          <p:sp>
            <p:nvSpPr>
              <p:cNvPr id="228" name="Freeform 171"/>
              <p:cNvSpPr>
                <a:spLocks/>
              </p:cNvSpPr>
              <p:nvPr/>
            </p:nvSpPr>
            <p:spPr bwMode="auto">
              <a:xfrm>
                <a:off x="2851" y="1856"/>
                <a:ext cx="16" cy="24"/>
              </a:xfrm>
              <a:custGeom>
                <a:avLst/>
                <a:gdLst>
                  <a:gd name="T0" fmla="*/ 262144 w 8"/>
                  <a:gd name="T1" fmla="*/ 720896 h 12"/>
                  <a:gd name="T2" fmla="*/ 0 w 8"/>
                  <a:gd name="T3" fmla="*/ 262144 h 12"/>
                  <a:gd name="T4" fmla="*/ 327680 w 8"/>
                  <a:gd name="T5" fmla="*/ 0 h 12"/>
                  <a:gd name="T6" fmla="*/ 458752 w 8"/>
                  <a:gd name="T7" fmla="*/ 262144 h 12"/>
                  <a:gd name="T8" fmla="*/ 262144 w 8"/>
                  <a:gd name="T9" fmla="*/ 720896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4" y="11"/>
                    </a:moveTo>
                    <a:cubicBezTo>
                      <a:pt x="2" y="11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8" y="1"/>
                      <a:pt x="7" y="4"/>
                    </a:cubicBezTo>
                    <a:cubicBezTo>
                      <a:pt x="6" y="6"/>
                      <a:pt x="6" y="12"/>
                      <a:pt x="4" y="11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9" name="Freeform 172"/>
              <p:cNvSpPr>
                <a:spLocks/>
              </p:cNvSpPr>
              <p:nvPr/>
            </p:nvSpPr>
            <p:spPr bwMode="auto">
              <a:xfrm>
                <a:off x="2641" y="1694"/>
                <a:ext cx="204" cy="168"/>
              </a:xfrm>
              <a:custGeom>
                <a:avLst/>
                <a:gdLst>
                  <a:gd name="T0" fmla="*/ 148203 w 101"/>
                  <a:gd name="T1" fmla="*/ 1991322 h 83"/>
                  <a:gd name="T2" fmla="*/ 1070406 w 101"/>
                  <a:gd name="T3" fmla="*/ 1838572 h 83"/>
                  <a:gd name="T4" fmla="*/ 1369476 w 101"/>
                  <a:gd name="T5" fmla="*/ 2076474 h 83"/>
                  <a:gd name="T6" fmla="*/ 2084121 w 101"/>
                  <a:gd name="T7" fmla="*/ 1991322 h 83"/>
                  <a:gd name="T8" fmla="*/ 1677728 w 101"/>
                  <a:gd name="T9" fmla="*/ 1102416 h 83"/>
                  <a:gd name="T10" fmla="*/ 2236191 w 101"/>
                  <a:gd name="T11" fmla="*/ 1025877 h 83"/>
                  <a:gd name="T12" fmla="*/ 2466566 w 101"/>
                  <a:gd name="T13" fmla="*/ 1339187 h 83"/>
                  <a:gd name="T14" fmla="*/ 3083676 w 101"/>
                  <a:gd name="T15" fmla="*/ 1339187 h 83"/>
                  <a:gd name="T16" fmla="*/ 3231994 w 101"/>
                  <a:gd name="T17" fmla="*/ 1025877 h 83"/>
                  <a:gd name="T18" fmla="*/ 3910121 w 101"/>
                  <a:gd name="T19" fmla="*/ 775573 h 83"/>
                  <a:gd name="T20" fmla="*/ 3983488 w 101"/>
                  <a:gd name="T21" fmla="*/ 231065 h 83"/>
                  <a:gd name="T22" fmla="*/ 4516663 w 101"/>
                  <a:gd name="T23" fmla="*/ 0 h 83"/>
                  <a:gd name="T24" fmla="*/ 5203592 w 101"/>
                  <a:gd name="T25" fmla="*/ 775573 h 83"/>
                  <a:gd name="T26" fmla="*/ 5736240 w 101"/>
                  <a:gd name="T27" fmla="*/ 775573 h 83"/>
                  <a:gd name="T28" fmla="*/ 5845418 w 101"/>
                  <a:gd name="T29" fmla="*/ 1025877 h 83"/>
                  <a:gd name="T30" fmla="*/ 6301958 w 101"/>
                  <a:gd name="T31" fmla="*/ 1261354 h 83"/>
                  <a:gd name="T32" fmla="*/ 6676078 w 101"/>
                  <a:gd name="T33" fmla="*/ 1261354 h 83"/>
                  <a:gd name="T34" fmla="*/ 6844459 w 101"/>
                  <a:gd name="T35" fmla="*/ 1494684 h 83"/>
                  <a:gd name="T36" fmla="*/ 7671574 w 101"/>
                  <a:gd name="T37" fmla="*/ 1838572 h 83"/>
                  <a:gd name="T38" fmla="*/ 7376557 w 101"/>
                  <a:gd name="T39" fmla="*/ 2710644 h 83"/>
                  <a:gd name="T40" fmla="*/ 7376557 w 101"/>
                  <a:gd name="T41" fmla="*/ 2785236 h 83"/>
                  <a:gd name="T42" fmla="*/ 6844459 w 101"/>
                  <a:gd name="T43" fmla="*/ 3102747 h 83"/>
                  <a:gd name="T44" fmla="*/ 6454437 w 101"/>
                  <a:gd name="T45" fmla="*/ 3647389 h 83"/>
                  <a:gd name="T46" fmla="*/ 6920153 w 101"/>
                  <a:gd name="T47" fmla="*/ 3721447 h 83"/>
                  <a:gd name="T48" fmla="*/ 7066075 w 101"/>
                  <a:gd name="T49" fmla="*/ 4124161 h 83"/>
                  <a:gd name="T50" fmla="*/ 7066075 w 101"/>
                  <a:gd name="T51" fmla="*/ 4202984 h 83"/>
                  <a:gd name="T52" fmla="*/ 6920153 w 101"/>
                  <a:gd name="T53" fmla="*/ 4672714 h 83"/>
                  <a:gd name="T54" fmla="*/ 6994116 w 101"/>
                  <a:gd name="T55" fmla="*/ 5167725 h 83"/>
                  <a:gd name="T56" fmla="*/ 7450652 w 101"/>
                  <a:gd name="T57" fmla="*/ 5254433 h 83"/>
                  <a:gd name="T58" fmla="*/ 7522611 w 101"/>
                  <a:gd name="T59" fmla="*/ 5560243 h 83"/>
                  <a:gd name="T60" fmla="*/ 6920153 w 101"/>
                  <a:gd name="T61" fmla="*/ 6048356 h 83"/>
                  <a:gd name="T62" fmla="*/ 6454437 w 101"/>
                  <a:gd name="T63" fmla="*/ 6205616 h 83"/>
                  <a:gd name="T64" fmla="*/ 5203592 w 101"/>
                  <a:gd name="T65" fmla="*/ 5888123 h 83"/>
                  <a:gd name="T66" fmla="*/ 4738288 w 101"/>
                  <a:gd name="T67" fmla="*/ 6506838 h 83"/>
                  <a:gd name="T68" fmla="*/ 4439878 w 101"/>
                  <a:gd name="T69" fmla="*/ 6588889 h 83"/>
                  <a:gd name="T70" fmla="*/ 3540212 w 101"/>
                  <a:gd name="T71" fmla="*/ 6355821 h 83"/>
                  <a:gd name="T72" fmla="*/ 2932274 w 101"/>
                  <a:gd name="T73" fmla="*/ 6355821 h 83"/>
                  <a:gd name="T74" fmla="*/ 2010161 w 101"/>
                  <a:gd name="T75" fmla="*/ 5888123 h 83"/>
                  <a:gd name="T76" fmla="*/ 2084121 w 101"/>
                  <a:gd name="T77" fmla="*/ 5731128 h 83"/>
                  <a:gd name="T78" fmla="*/ 2236191 w 101"/>
                  <a:gd name="T79" fmla="*/ 4124161 h 83"/>
                  <a:gd name="T80" fmla="*/ 1752752 w 101"/>
                  <a:gd name="T81" fmla="*/ 3328780 h 83"/>
                  <a:gd name="T82" fmla="*/ 1143446 w 101"/>
                  <a:gd name="T83" fmla="*/ 2785236 h 83"/>
                  <a:gd name="T84" fmla="*/ 299341 w 101"/>
                  <a:gd name="T85" fmla="*/ 2553102 h 83"/>
                  <a:gd name="T86" fmla="*/ 148203 w 101"/>
                  <a:gd name="T87" fmla="*/ 1991322 h 8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01" h="83">
                    <a:moveTo>
                      <a:pt x="2" y="25"/>
                    </a:moveTo>
                    <a:cubicBezTo>
                      <a:pt x="3" y="24"/>
                      <a:pt x="12" y="23"/>
                      <a:pt x="14" y="23"/>
                    </a:cubicBezTo>
                    <a:cubicBezTo>
                      <a:pt x="16" y="23"/>
                      <a:pt x="17" y="26"/>
                      <a:pt x="18" y="26"/>
                    </a:cubicBezTo>
                    <a:cubicBezTo>
                      <a:pt x="19" y="26"/>
                      <a:pt x="25" y="25"/>
                      <a:pt x="27" y="25"/>
                    </a:cubicBezTo>
                    <a:cubicBezTo>
                      <a:pt x="28" y="24"/>
                      <a:pt x="22" y="16"/>
                      <a:pt x="22" y="14"/>
                    </a:cubicBezTo>
                    <a:cubicBezTo>
                      <a:pt x="23" y="13"/>
                      <a:pt x="29" y="13"/>
                      <a:pt x="29" y="13"/>
                    </a:cubicBezTo>
                    <a:cubicBezTo>
                      <a:pt x="29" y="13"/>
                      <a:pt x="29" y="17"/>
                      <a:pt x="32" y="17"/>
                    </a:cubicBezTo>
                    <a:cubicBezTo>
                      <a:pt x="34" y="17"/>
                      <a:pt x="39" y="19"/>
                      <a:pt x="40" y="17"/>
                    </a:cubicBezTo>
                    <a:cubicBezTo>
                      <a:pt x="41" y="16"/>
                      <a:pt x="40" y="13"/>
                      <a:pt x="42" y="13"/>
                    </a:cubicBezTo>
                    <a:cubicBezTo>
                      <a:pt x="44" y="13"/>
                      <a:pt x="50" y="12"/>
                      <a:pt x="51" y="10"/>
                    </a:cubicBezTo>
                    <a:cubicBezTo>
                      <a:pt x="52" y="9"/>
                      <a:pt x="51" y="3"/>
                      <a:pt x="52" y="3"/>
                    </a:cubicBezTo>
                    <a:cubicBezTo>
                      <a:pt x="53" y="2"/>
                      <a:pt x="56" y="1"/>
                      <a:pt x="59" y="0"/>
                    </a:cubicBezTo>
                    <a:cubicBezTo>
                      <a:pt x="59" y="1"/>
                      <a:pt x="66" y="9"/>
                      <a:pt x="68" y="10"/>
                    </a:cubicBezTo>
                    <a:cubicBezTo>
                      <a:pt x="70" y="11"/>
                      <a:pt x="74" y="9"/>
                      <a:pt x="75" y="10"/>
                    </a:cubicBezTo>
                    <a:cubicBezTo>
                      <a:pt x="76" y="10"/>
                      <a:pt x="76" y="12"/>
                      <a:pt x="76" y="13"/>
                    </a:cubicBezTo>
                    <a:cubicBezTo>
                      <a:pt x="77" y="14"/>
                      <a:pt x="79" y="16"/>
                      <a:pt x="82" y="16"/>
                    </a:cubicBezTo>
                    <a:cubicBezTo>
                      <a:pt x="87" y="16"/>
                      <a:pt x="87" y="16"/>
                      <a:pt x="87" y="16"/>
                    </a:cubicBezTo>
                    <a:cubicBezTo>
                      <a:pt x="87" y="17"/>
                      <a:pt x="88" y="18"/>
                      <a:pt x="89" y="19"/>
                    </a:cubicBezTo>
                    <a:cubicBezTo>
                      <a:pt x="91" y="20"/>
                      <a:pt x="101" y="21"/>
                      <a:pt x="100" y="23"/>
                    </a:cubicBezTo>
                    <a:cubicBezTo>
                      <a:pt x="99" y="24"/>
                      <a:pt x="97" y="31"/>
                      <a:pt x="96" y="34"/>
                    </a:cubicBezTo>
                    <a:cubicBezTo>
                      <a:pt x="96" y="34"/>
                      <a:pt x="96" y="35"/>
                      <a:pt x="96" y="35"/>
                    </a:cubicBezTo>
                    <a:cubicBezTo>
                      <a:pt x="95" y="36"/>
                      <a:pt x="91" y="38"/>
                      <a:pt x="89" y="39"/>
                    </a:cubicBezTo>
                    <a:cubicBezTo>
                      <a:pt x="87" y="40"/>
                      <a:pt x="84" y="45"/>
                      <a:pt x="84" y="46"/>
                    </a:cubicBezTo>
                    <a:cubicBezTo>
                      <a:pt x="84" y="48"/>
                      <a:pt x="89" y="47"/>
                      <a:pt x="90" y="47"/>
                    </a:cubicBezTo>
                    <a:cubicBezTo>
                      <a:pt x="92" y="48"/>
                      <a:pt x="92" y="49"/>
                      <a:pt x="92" y="52"/>
                    </a:cubicBezTo>
                    <a:cubicBezTo>
                      <a:pt x="92" y="52"/>
                      <a:pt x="92" y="52"/>
                      <a:pt x="92" y="53"/>
                    </a:cubicBezTo>
                    <a:cubicBezTo>
                      <a:pt x="93" y="55"/>
                      <a:pt x="92" y="57"/>
                      <a:pt x="90" y="59"/>
                    </a:cubicBezTo>
                    <a:cubicBezTo>
                      <a:pt x="88" y="60"/>
                      <a:pt x="91" y="63"/>
                      <a:pt x="91" y="65"/>
                    </a:cubicBezTo>
                    <a:cubicBezTo>
                      <a:pt x="91" y="67"/>
                      <a:pt x="95" y="65"/>
                      <a:pt x="97" y="66"/>
                    </a:cubicBezTo>
                    <a:cubicBezTo>
                      <a:pt x="98" y="67"/>
                      <a:pt x="98" y="69"/>
                      <a:pt x="98" y="70"/>
                    </a:cubicBezTo>
                    <a:cubicBezTo>
                      <a:pt x="95" y="71"/>
                      <a:pt x="92" y="74"/>
                      <a:pt x="90" y="76"/>
                    </a:cubicBezTo>
                    <a:cubicBezTo>
                      <a:pt x="87" y="78"/>
                      <a:pt x="88" y="78"/>
                      <a:pt x="84" y="78"/>
                    </a:cubicBezTo>
                    <a:cubicBezTo>
                      <a:pt x="79" y="77"/>
                      <a:pt x="71" y="73"/>
                      <a:pt x="68" y="74"/>
                    </a:cubicBezTo>
                    <a:cubicBezTo>
                      <a:pt x="64" y="75"/>
                      <a:pt x="61" y="79"/>
                      <a:pt x="62" y="82"/>
                    </a:cubicBezTo>
                    <a:cubicBezTo>
                      <a:pt x="62" y="82"/>
                      <a:pt x="60" y="83"/>
                      <a:pt x="58" y="83"/>
                    </a:cubicBezTo>
                    <a:cubicBezTo>
                      <a:pt x="56" y="83"/>
                      <a:pt x="50" y="81"/>
                      <a:pt x="46" y="80"/>
                    </a:cubicBezTo>
                    <a:cubicBezTo>
                      <a:pt x="42" y="80"/>
                      <a:pt x="41" y="81"/>
                      <a:pt x="38" y="80"/>
                    </a:cubicBezTo>
                    <a:cubicBezTo>
                      <a:pt x="35" y="79"/>
                      <a:pt x="26" y="74"/>
                      <a:pt x="26" y="74"/>
                    </a:cubicBezTo>
                    <a:cubicBezTo>
                      <a:pt x="27" y="73"/>
                      <a:pt x="27" y="72"/>
                      <a:pt x="27" y="72"/>
                    </a:cubicBezTo>
                    <a:cubicBezTo>
                      <a:pt x="27" y="70"/>
                      <a:pt x="29" y="54"/>
                      <a:pt x="29" y="52"/>
                    </a:cubicBezTo>
                    <a:cubicBezTo>
                      <a:pt x="28" y="49"/>
                      <a:pt x="24" y="44"/>
                      <a:pt x="23" y="42"/>
                    </a:cubicBezTo>
                    <a:cubicBezTo>
                      <a:pt x="21" y="41"/>
                      <a:pt x="17" y="36"/>
                      <a:pt x="15" y="35"/>
                    </a:cubicBezTo>
                    <a:cubicBezTo>
                      <a:pt x="12" y="34"/>
                      <a:pt x="6" y="33"/>
                      <a:pt x="4" y="32"/>
                    </a:cubicBezTo>
                    <a:cubicBezTo>
                      <a:pt x="2" y="30"/>
                      <a:pt x="0" y="26"/>
                      <a:pt x="2" y="25"/>
                    </a:cubicBezTo>
                    <a:close/>
                  </a:path>
                </a:pathLst>
              </a:custGeom>
              <a:solidFill>
                <a:srgbClr val="AAAA96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89" name="Traditionalists"/>
            <p:cNvGrpSpPr/>
            <p:nvPr/>
          </p:nvGrpSpPr>
          <p:grpSpPr>
            <a:xfrm>
              <a:off x="2082901" y="2415822"/>
              <a:ext cx="2491704" cy="1899206"/>
              <a:chOff x="2082901" y="2415822"/>
              <a:chExt cx="2491704" cy="1899206"/>
            </a:xfrm>
          </p:grpSpPr>
          <p:grpSp>
            <p:nvGrpSpPr>
              <p:cNvPr id="162" name="Group 225"/>
              <p:cNvGrpSpPr>
                <a:grpSpLocks/>
              </p:cNvGrpSpPr>
              <p:nvPr/>
            </p:nvGrpSpPr>
            <p:grpSpPr bwMode="auto">
              <a:xfrm>
                <a:off x="2685624" y="2415822"/>
                <a:ext cx="1888981" cy="1361590"/>
                <a:chOff x="535" y="821"/>
                <a:chExt cx="1371" cy="1049"/>
              </a:xfrm>
            </p:grpSpPr>
            <p:sp>
              <p:nvSpPr>
                <p:cNvPr id="188" name="Freeform 226"/>
                <p:cNvSpPr>
                  <a:spLocks/>
                </p:cNvSpPr>
                <p:nvPr/>
              </p:nvSpPr>
              <p:spPr bwMode="auto">
                <a:xfrm>
                  <a:off x="1798" y="1686"/>
                  <a:ext cx="108" cy="99"/>
                </a:xfrm>
                <a:custGeom>
                  <a:avLst/>
                  <a:gdLst>
                    <a:gd name="T0" fmla="*/ 169110 w 53"/>
                    <a:gd name="T1" fmla="*/ 3020405 h 49"/>
                    <a:gd name="T2" fmla="*/ 82989 w 53"/>
                    <a:gd name="T3" fmla="*/ 2702231 h 49"/>
                    <a:gd name="T4" fmla="*/ 785189 w 53"/>
                    <a:gd name="T5" fmla="*/ 2327086 h 49"/>
                    <a:gd name="T6" fmla="*/ 513709 w 53"/>
                    <a:gd name="T7" fmla="*/ 2017194 h 49"/>
                    <a:gd name="T8" fmla="*/ 1255162 w 53"/>
                    <a:gd name="T9" fmla="*/ 1151790 h 49"/>
                    <a:gd name="T10" fmla="*/ 1871497 w 53"/>
                    <a:gd name="T11" fmla="*/ 375487 h 49"/>
                    <a:gd name="T12" fmla="*/ 2644468 w 53"/>
                    <a:gd name="T13" fmla="*/ 0 h 49"/>
                    <a:gd name="T14" fmla="*/ 2465177 w 53"/>
                    <a:gd name="T15" fmla="*/ 448739 h 49"/>
                    <a:gd name="T16" fmla="*/ 1783940 w 53"/>
                    <a:gd name="T17" fmla="*/ 1300872 h 49"/>
                    <a:gd name="T18" fmla="*/ 2557689 w 53"/>
                    <a:gd name="T19" fmla="*/ 1225325 h 49"/>
                    <a:gd name="T20" fmla="*/ 2915825 w 53"/>
                    <a:gd name="T21" fmla="*/ 1532756 h 49"/>
                    <a:gd name="T22" fmla="*/ 3725721 w 53"/>
                    <a:gd name="T23" fmla="*/ 1373863 h 49"/>
                    <a:gd name="T24" fmla="*/ 3977801 w 53"/>
                    <a:gd name="T25" fmla="*/ 1682939 h 49"/>
                    <a:gd name="T26" fmla="*/ 3896124 w 53"/>
                    <a:gd name="T27" fmla="*/ 2170502 h 49"/>
                    <a:gd name="T28" fmla="*/ 4346711 w 53"/>
                    <a:gd name="T29" fmla="*/ 2244021 h 49"/>
                    <a:gd name="T30" fmla="*/ 3977801 w 53"/>
                    <a:gd name="T31" fmla="*/ 2869893 h 49"/>
                    <a:gd name="T32" fmla="*/ 4598530 w 53"/>
                    <a:gd name="T33" fmla="*/ 2775764 h 49"/>
                    <a:gd name="T34" fmla="*/ 4258813 w 53"/>
                    <a:gd name="T35" fmla="*/ 3776513 h 49"/>
                    <a:gd name="T36" fmla="*/ 3635198 w 53"/>
                    <a:gd name="T37" fmla="*/ 3626881 h 49"/>
                    <a:gd name="T38" fmla="*/ 3423341 w 53"/>
                    <a:gd name="T39" fmla="*/ 3168976 h 49"/>
                    <a:gd name="T40" fmla="*/ 2726731 w 53"/>
                    <a:gd name="T41" fmla="*/ 3554294 h 49"/>
                    <a:gd name="T42" fmla="*/ 2295931 w 53"/>
                    <a:gd name="T43" fmla="*/ 3554294 h 49"/>
                    <a:gd name="T44" fmla="*/ 2644468 w 53"/>
                    <a:gd name="T45" fmla="*/ 3020405 h 49"/>
                    <a:gd name="T46" fmla="*/ 2213686 w 53"/>
                    <a:gd name="T47" fmla="*/ 2942345 h 49"/>
                    <a:gd name="T48" fmla="*/ 1512031 w 53"/>
                    <a:gd name="T49" fmla="*/ 3096793 h 49"/>
                    <a:gd name="T50" fmla="*/ 875452 w 53"/>
                    <a:gd name="T51" fmla="*/ 2942345 h 49"/>
                    <a:gd name="T52" fmla="*/ 169110 w 53"/>
                    <a:gd name="T53" fmla="*/ 3020405 h 49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0" t="0" r="r" b="b"/>
                  <a:pathLst>
                    <a:path w="53" h="49">
                      <a:moveTo>
                        <a:pt x="2" y="39"/>
                      </a:moveTo>
                      <a:cubicBezTo>
                        <a:pt x="0" y="39"/>
                        <a:pt x="0" y="36"/>
                        <a:pt x="1" y="35"/>
                      </a:cubicBezTo>
                      <a:cubicBezTo>
                        <a:pt x="1" y="34"/>
                        <a:pt x="9" y="31"/>
                        <a:pt x="9" y="30"/>
                      </a:cubicBezTo>
                      <a:cubicBezTo>
                        <a:pt x="9" y="29"/>
                        <a:pt x="5" y="28"/>
                        <a:pt x="6" y="26"/>
                      </a:cubicBezTo>
                      <a:cubicBezTo>
                        <a:pt x="6" y="25"/>
                        <a:pt x="13" y="17"/>
                        <a:pt x="14" y="15"/>
                      </a:cubicBezTo>
                      <a:cubicBezTo>
                        <a:pt x="14" y="13"/>
                        <a:pt x="18" y="6"/>
                        <a:pt x="21" y="5"/>
                      </a:cubicBezTo>
                      <a:cubicBezTo>
                        <a:pt x="23" y="4"/>
                        <a:pt x="28" y="0"/>
                        <a:pt x="30" y="0"/>
                      </a:cubicBezTo>
                      <a:cubicBezTo>
                        <a:pt x="31" y="0"/>
                        <a:pt x="29" y="4"/>
                        <a:pt x="28" y="6"/>
                      </a:cubicBezTo>
                      <a:cubicBezTo>
                        <a:pt x="27" y="9"/>
                        <a:pt x="20" y="16"/>
                        <a:pt x="20" y="17"/>
                      </a:cubicBezTo>
                      <a:cubicBezTo>
                        <a:pt x="22" y="19"/>
                        <a:pt x="27" y="15"/>
                        <a:pt x="29" y="16"/>
                      </a:cubicBezTo>
                      <a:cubicBezTo>
                        <a:pt x="31" y="17"/>
                        <a:pt x="31" y="20"/>
                        <a:pt x="33" y="20"/>
                      </a:cubicBezTo>
                      <a:cubicBezTo>
                        <a:pt x="35" y="20"/>
                        <a:pt x="39" y="17"/>
                        <a:pt x="42" y="18"/>
                      </a:cubicBezTo>
                      <a:cubicBezTo>
                        <a:pt x="44" y="19"/>
                        <a:pt x="45" y="20"/>
                        <a:pt x="45" y="22"/>
                      </a:cubicBezTo>
                      <a:cubicBezTo>
                        <a:pt x="46" y="23"/>
                        <a:pt x="42" y="27"/>
                        <a:pt x="44" y="28"/>
                      </a:cubicBezTo>
                      <a:cubicBezTo>
                        <a:pt x="45" y="30"/>
                        <a:pt x="48" y="28"/>
                        <a:pt x="49" y="29"/>
                      </a:cubicBezTo>
                      <a:cubicBezTo>
                        <a:pt x="50" y="29"/>
                        <a:pt x="43" y="36"/>
                        <a:pt x="45" y="37"/>
                      </a:cubicBezTo>
                      <a:cubicBezTo>
                        <a:pt x="47" y="39"/>
                        <a:pt x="51" y="36"/>
                        <a:pt x="52" y="36"/>
                      </a:cubicBezTo>
                      <a:cubicBezTo>
                        <a:pt x="53" y="37"/>
                        <a:pt x="49" y="49"/>
                        <a:pt x="48" y="49"/>
                      </a:cubicBezTo>
                      <a:cubicBezTo>
                        <a:pt x="46" y="49"/>
                        <a:pt x="41" y="49"/>
                        <a:pt x="41" y="47"/>
                      </a:cubicBezTo>
                      <a:cubicBezTo>
                        <a:pt x="41" y="45"/>
                        <a:pt x="42" y="42"/>
                        <a:pt x="39" y="41"/>
                      </a:cubicBezTo>
                      <a:cubicBezTo>
                        <a:pt x="37" y="41"/>
                        <a:pt x="34" y="46"/>
                        <a:pt x="31" y="46"/>
                      </a:cubicBezTo>
                      <a:cubicBezTo>
                        <a:pt x="28" y="46"/>
                        <a:pt x="26" y="47"/>
                        <a:pt x="26" y="46"/>
                      </a:cubicBezTo>
                      <a:cubicBezTo>
                        <a:pt x="25" y="44"/>
                        <a:pt x="31" y="40"/>
                        <a:pt x="30" y="39"/>
                      </a:cubicBezTo>
                      <a:cubicBezTo>
                        <a:pt x="30" y="37"/>
                        <a:pt x="27" y="38"/>
                        <a:pt x="25" y="38"/>
                      </a:cubicBezTo>
                      <a:cubicBezTo>
                        <a:pt x="23" y="38"/>
                        <a:pt x="20" y="41"/>
                        <a:pt x="17" y="40"/>
                      </a:cubicBezTo>
                      <a:cubicBezTo>
                        <a:pt x="14" y="40"/>
                        <a:pt x="12" y="39"/>
                        <a:pt x="10" y="38"/>
                      </a:cubicBezTo>
                      <a:cubicBezTo>
                        <a:pt x="8" y="38"/>
                        <a:pt x="4" y="39"/>
                        <a:pt x="2" y="3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" name="Freeform 227"/>
                <p:cNvSpPr>
                  <a:spLocks/>
                </p:cNvSpPr>
                <p:nvPr/>
              </p:nvSpPr>
              <p:spPr bwMode="auto">
                <a:xfrm>
                  <a:off x="1726" y="1720"/>
                  <a:ext cx="40" cy="21"/>
                </a:xfrm>
                <a:custGeom>
                  <a:avLst/>
                  <a:gdLst>
                    <a:gd name="T0" fmla="*/ 65536 w 20"/>
                    <a:gd name="T1" fmla="*/ 267061 h 10"/>
                    <a:gd name="T2" fmla="*/ 196608 w 20"/>
                    <a:gd name="T3" fmla="*/ 0 h 10"/>
                    <a:gd name="T4" fmla="*/ 1310720 w 20"/>
                    <a:gd name="T5" fmla="*/ 882380 h 10"/>
                    <a:gd name="T6" fmla="*/ 983040 w 20"/>
                    <a:gd name="T7" fmla="*/ 1419443 h 10"/>
                    <a:gd name="T8" fmla="*/ 327680 w 20"/>
                    <a:gd name="T9" fmla="*/ 882380 h 10"/>
                    <a:gd name="T10" fmla="*/ 65536 w 20"/>
                    <a:gd name="T11" fmla="*/ 267061 h 1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" h="10">
                      <a:moveTo>
                        <a:pt x="1" y="2"/>
                      </a:moveTo>
                      <a:cubicBezTo>
                        <a:pt x="0" y="1"/>
                        <a:pt x="2" y="0"/>
                        <a:pt x="3" y="0"/>
                      </a:cubicBezTo>
                      <a:cubicBezTo>
                        <a:pt x="4" y="0"/>
                        <a:pt x="20" y="5"/>
                        <a:pt x="20" y="6"/>
                      </a:cubicBezTo>
                      <a:cubicBezTo>
                        <a:pt x="20" y="8"/>
                        <a:pt x="18" y="10"/>
                        <a:pt x="15" y="10"/>
                      </a:cubicBezTo>
                      <a:cubicBezTo>
                        <a:pt x="13" y="9"/>
                        <a:pt x="7" y="7"/>
                        <a:pt x="5" y="6"/>
                      </a:cubicBezTo>
                      <a:cubicBezTo>
                        <a:pt x="4" y="4"/>
                        <a:pt x="2" y="2"/>
                        <a:pt x="1" y="2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0" name="Freeform 228"/>
                <p:cNvSpPr>
                  <a:spLocks/>
                </p:cNvSpPr>
                <p:nvPr/>
              </p:nvSpPr>
              <p:spPr bwMode="auto">
                <a:xfrm>
                  <a:off x="1521" y="1295"/>
                  <a:ext cx="39" cy="28"/>
                </a:xfrm>
                <a:custGeom>
                  <a:avLst/>
                  <a:gdLst>
                    <a:gd name="T0" fmla="*/ 286476 w 19"/>
                    <a:gd name="T1" fmla="*/ 917504 h 14"/>
                    <a:gd name="T2" fmla="*/ 90443 w 19"/>
                    <a:gd name="T3" fmla="*/ 458752 h 14"/>
                    <a:gd name="T4" fmla="*/ 782182 w 19"/>
                    <a:gd name="T5" fmla="*/ 0 h 14"/>
                    <a:gd name="T6" fmla="*/ 1700457 w 19"/>
                    <a:gd name="T7" fmla="*/ 65536 h 14"/>
                    <a:gd name="T8" fmla="*/ 1700457 w 19"/>
                    <a:gd name="T9" fmla="*/ 589824 h 14"/>
                    <a:gd name="T10" fmla="*/ 1297165 w 19"/>
                    <a:gd name="T11" fmla="*/ 851968 h 14"/>
                    <a:gd name="T12" fmla="*/ 286476 w 19"/>
                    <a:gd name="T13" fmla="*/ 917504 h 1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14">
                      <a:moveTo>
                        <a:pt x="3" y="14"/>
                      </a:moveTo>
                      <a:cubicBezTo>
                        <a:pt x="0" y="14"/>
                        <a:pt x="0" y="9"/>
                        <a:pt x="1" y="7"/>
                      </a:cubicBezTo>
                      <a:cubicBezTo>
                        <a:pt x="2" y="5"/>
                        <a:pt x="6" y="0"/>
                        <a:pt x="8" y="0"/>
                      </a:cubicBezTo>
                      <a:cubicBezTo>
                        <a:pt x="8" y="0"/>
                        <a:pt x="16" y="0"/>
                        <a:pt x="17" y="1"/>
                      </a:cubicBezTo>
                      <a:cubicBezTo>
                        <a:pt x="19" y="1"/>
                        <a:pt x="17" y="7"/>
                        <a:pt x="17" y="9"/>
                      </a:cubicBezTo>
                      <a:cubicBezTo>
                        <a:pt x="17" y="11"/>
                        <a:pt x="15" y="13"/>
                        <a:pt x="13" y="13"/>
                      </a:cubicBezTo>
                      <a:cubicBezTo>
                        <a:pt x="11" y="14"/>
                        <a:pt x="5" y="14"/>
                        <a:pt x="3" y="14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1" name="Freeform 229"/>
                <p:cNvSpPr>
                  <a:spLocks/>
                </p:cNvSpPr>
                <p:nvPr/>
              </p:nvSpPr>
              <p:spPr bwMode="auto">
                <a:xfrm>
                  <a:off x="1475" y="1441"/>
                  <a:ext cx="18" cy="24"/>
                </a:xfrm>
                <a:custGeom>
                  <a:avLst/>
                  <a:gdLst>
                    <a:gd name="T0" fmla="*/ 0 w 9"/>
                    <a:gd name="T1" fmla="*/ 458752 h 12"/>
                    <a:gd name="T2" fmla="*/ 196608 w 9"/>
                    <a:gd name="T3" fmla="*/ 65536 h 12"/>
                    <a:gd name="T4" fmla="*/ 327680 w 9"/>
                    <a:gd name="T5" fmla="*/ 0 h 12"/>
                    <a:gd name="T6" fmla="*/ 589824 w 9"/>
                    <a:gd name="T7" fmla="*/ 196608 h 12"/>
                    <a:gd name="T8" fmla="*/ 589824 w 9"/>
                    <a:gd name="T9" fmla="*/ 262144 h 12"/>
                    <a:gd name="T10" fmla="*/ 524288 w 9"/>
                    <a:gd name="T11" fmla="*/ 589824 h 12"/>
                    <a:gd name="T12" fmla="*/ 327680 w 9"/>
                    <a:gd name="T13" fmla="*/ 786432 h 12"/>
                    <a:gd name="T14" fmla="*/ 0 w 9"/>
                    <a:gd name="T15" fmla="*/ 458752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9" h="12">
                      <a:moveTo>
                        <a:pt x="0" y="7"/>
                      </a:moveTo>
                      <a:cubicBezTo>
                        <a:pt x="0" y="5"/>
                        <a:pt x="1" y="2"/>
                        <a:pt x="3" y="1"/>
                      </a:cubicBezTo>
                      <a:cubicBezTo>
                        <a:pt x="3" y="0"/>
                        <a:pt x="4" y="0"/>
                        <a:pt x="5" y="0"/>
                      </a:cubicBezTo>
                      <a:cubicBezTo>
                        <a:pt x="7" y="0"/>
                        <a:pt x="9" y="1"/>
                        <a:pt x="9" y="3"/>
                      </a:cubicBezTo>
                      <a:cubicBezTo>
                        <a:pt x="9" y="3"/>
                        <a:pt x="9" y="4"/>
                        <a:pt x="9" y="4"/>
                      </a:cubicBezTo>
                      <a:cubicBezTo>
                        <a:pt x="9" y="6"/>
                        <a:pt x="8" y="8"/>
                        <a:pt x="8" y="9"/>
                      </a:cubicBezTo>
                      <a:cubicBezTo>
                        <a:pt x="7" y="10"/>
                        <a:pt x="5" y="12"/>
                        <a:pt x="5" y="12"/>
                      </a:cubicBezTo>
                      <a:cubicBezTo>
                        <a:pt x="4" y="12"/>
                        <a:pt x="0" y="10"/>
                        <a:pt x="0" y="7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2" name="Freeform 230"/>
                <p:cNvSpPr>
                  <a:spLocks/>
                </p:cNvSpPr>
                <p:nvPr/>
              </p:nvSpPr>
              <p:spPr bwMode="auto">
                <a:xfrm>
                  <a:off x="1477" y="1572"/>
                  <a:ext cx="28" cy="29"/>
                </a:xfrm>
                <a:custGeom>
                  <a:avLst/>
                  <a:gdLst>
                    <a:gd name="T0" fmla="*/ 131072 w 14"/>
                    <a:gd name="T1" fmla="*/ 674878 h 14"/>
                    <a:gd name="T2" fmla="*/ 458752 w 14"/>
                    <a:gd name="T3" fmla="*/ 0 h 14"/>
                    <a:gd name="T4" fmla="*/ 655360 w 14"/>
                    <a:gd name="T5" fmla="*/ 325803 h 14"/>
                    <a:gd name="T6" fmla="*/ 851968 w 14"/>
                    <a:gd name="T7" fmla="*/ 570155 h 14"/>
                    <a:gd name="T8" fmla="*/ 589824 w 14"/>
                    <a:gd name="T9" fmla="*/ 1498297 h 14"/>
                    <a:gd name="T10" fmla="*/ 393216 w 14"/>
                    <a:gd name="T11" fmla="*/ 1181035 h 14"/>
                    <a:gd name="T12" fmla="*/ 65536 w 14"/>
                    <a:gd name="T13" fmla="*/ 1181035 h 14"/>
                    <a:gd name="T14" fmla="*/ 131072 w 14"/>
                    <a:gd name="T15" fmla="*/ 674878 h 1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4" h="14">
                      <a:moveTo>
                        <a:pt x="2" y="6"/>
                      </a:moveTo>
                      <a:cubicBezTo>
                        <a:pt x="2" y="5"/>
                        <a:pt x="7" y="0"/>
                        <a:pt x="7" y="0"/>
                      </a:cubicBezTo>
                      <a:cubicBezTo>
                        <a:pt x="8" y="0"/>
                        <a:pt x="9" y="1"/>
                        <a:pt x="10" y="3"/>
                      </a:cubicBezTo>
                      <a:cubicBezTo>
                        <a:pt x="11" y="4"/>
                        <a:pt x="14" y="3"/>
                        <a:pt x="13" y="5"/>
                      </a:cubicBezTo>
                      <a:cubicBezTo>
                        <a:pt x="12" y="6"/>
                        <a:pt x="11" y="12"/>
                        <a:pt x="9" y="13"/>
                      </a:cubicBezTo>
                      <a:cubicBezTo>
                        <a:pt x="7" y="14"/>
                        <a:pt x="7" y="11"/>
                        <a:pt x="6" y="10"/>
                      </a:cubicBezTo>
                      <a:cubicBezTo>
                        <a:pt x="5" y="9"/>
                        <a:pt x="3" y="11"/>
                        <a:pt x="1" y="10"/>
                      </a:cubicBezTo>
                      <a:cubicBezTo>
                        <a:pt x="0" y="9"/>
                        <a:pt x="1" y="6"/>
                        <a:pt x="2" y="6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3" name="Freeform 231"/>
                <p:cNvSpPr>
                  <a:spLocks/>
                </p:cNvSpPr>
                <p:nvPr/>
              </p:nvSpPr>
              <p:spPr bwMode="auto">
                <a:xfrm>
                  <a:off x="1471" y="1137"/>
                  <a:ext cx="68" cy="35"/>
                </a:xfrm>
                <a:custGeom>
                  <a:avLst/>
                  <a:gdLst>
                    <a:gd name="T0" fmla="*/ 327680 w 34"/>
                    <a:gd name="T1" fmla="*/ 957839 h 17"/>
                    <a:gd name="T2" fmla="*/ 65536 w 34"/>
                    <a:gd name="T3" fmla="*/ 608796 h 17"/>
                    <a:gd name="T4" fmla="*/ 0 w 34"/>
                    <a:gd name="T5" fmla="*/ 191460 h 17"/>
                    <a:gd name="T6" fmla="*/ 262144 w 34"/>
                    <a:gd name="T7" fmla="*/ 191460 h 17"/>
                    <a:gd name="T8" fmla="*/ 1048576 w 34"/>
                    <a:gd name="T9" fmla="*/ 295701 h 17"/>
                    <a:gd name="T10" fmla="*/ 1835008 w 34"/>
                    <a:gd name="T11" fmla="*/ 718630 h 17"/>
                    <a:gd name="T12" fmla="*/ 2162688 w 34"/>
                    <a:gd name="T13" fmla="*/ 1253404 h 17"/>
                    <a:gd name="T14" fmla="*/ 1638400 w 34"/>
                    <a:gd name="T15" fmla="*/ 1253404 h 17"/>
                    <a:gd name="T16" fmla="*/ 1048576 w 34"/>
                    <a:gd name="T17" fmla="*/ 1479532 h 17"/>
                    <a:gd name="T18" fmla="*/ 458752 w 34"/>
                    <a:gd name="T19" fmla="*/ 1375255 h 17"/>
                    <a:gd name="T20" fmla="*/ 327680 w 34"/>
                    <a:gd name="T21" fmla="*/ 957839 h 1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34" h="17">
                      <a:moveTo>
                        <a:pt x="5" y="9"/>
                      </a:moveTo>
                      <a:cubicBezTo>
                        <a:pt x="4" y="7"/>
                        <a:pt x="1" y="6"/>
                        <a:pt x="1" y="6"/>
                      </a:cubicBezTo>
                      <a:cubicBezTo>
                        <a:pt x="1" y="6"/>
                        <a:pt x="0" y="3"/>
                        <a:pt x="0" y="2"/>
                      </a:cubicBezTo>
                      <a:cubicBezTo>
                        <a:pt x="0" y="0"/>
                        <a:pt x="4" y="2"/>
                        <a:pt x="4" y="2"/>
                      </a:cubicBezTo>
                      <a:cubicBezTo>
                        <a:pt x="7" y="2"/>
                        <a:pt x="14" y="2"/>
                        <a:pt x="16" y="3"/>
                      </a:cubicBezTo>
                      <a:cubicBezTo>
                        <a:pt x="19" y="3"/>
                        <a:pt x="26" y="5"/>
                        <a:pt x="28" y="7"/>
                      </a:cubicBezTo>
                      <a:cubicBezTo>
                        <a:pt x="29" y="8"/>
                        <a:pt x="34" y="11"/>
                        <a:pt x="33" y="12"/>
                      </a:cubicBezTo>
                      <a:cubicBezTo>
                        <a:pt x="32" y="12"/>
                        <a:pt x="28" y="12"/>
                        <a:pt x="25" y="12"/>
                      </a:cubicBezTo>
                      <a:cubicBezTo>
                        <a:pt x="21" y="12"/>
                        <a:pt x="19" y="14"/>
                        <a:pt x="16" y="14"/>
                      </a:cubicBezTo>
                      <a:cubicBezTo>
                        <a:pt x="12" y="14"/>
                        <a:pt x="9" y="17"/>
                        <a:pt x="7" y="13"/>
                      </a:cubicBezTo>
                      <a:cubicBezTo>
                        <a:pt x="5" y="9"/>
                        <a:pt x="6" y="11"/>
                        <a:pt x="5" y="9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4" name="Freeform 232"/>
                <p:cNvSpPr>
                  <a:spLocks/>
                </p:cNvSpPr>
                <p:nvPr/>
              </p:nvSpPr>
              <p:spPr bwMode="auto">
                <a:xfrm>
                  <a:off x="1418" y="1431"/>
                  <a:ext cx="34" cy="20"/>
                </a:xfrm>
                <a:custGeom>
                  <a:avLst/>
                  <a:gdLst>
                    <a:gd name="T0" fmla="*/ 131072 w 17"/>
                    <a:gd name="T1" fmla="*/ 589824 h 10"/>
                    <a:gd name="T2" fmla="*/ 196608 w 17"/>
                    <a:gd name="T3" fmla="*/ 262144 h 10"/>
                    <a:gd name="T4" fmla="*/ 786432 w 17"/>
                    <a:gd name="T5" fmla="*/ 0 h 10"/>
                    <a:gd name="T6" fmla="*/ 1048576 w 17"/>
                    <a:gd name="T7" fmla="*/ 65536 h 10"/>
                    <a:gd name="T8" fmla="*/ 1114112 w 17"/>
                    <a:gd name="T9" fmla="*/ 65536 h 10"/>
                    <a:gd name="T10" fmla="*/ 1048576 w 17"/>
                    <a:gd name="T11" fmla="*/ 327680 h 10"/>
                    <a:gd name="T12" fmla="*/ 1048576 w 17"/>
                    <a:gd name="T13" fmla="*/ 393216 h 10"/>
                    <a:gd name="T14" fmla="*/ 524288 w 17"/>
                    <a:gd name="T15" fmla="*/ 589824 h 10"/>
                    <a:gd name="T16" fmla="*/ 131072 w 17"/>
                    <a:gd name="T17" fmla="*/ 589824 h 1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7" h="10">
                      <a:moveTo>
                        <a:pt x="2" y="9"/>
                      </a:moveTo>
                      <a:cubicBezTo>
                        <a:pt x="0" y="9"/>
                        <a:pt x="1" y="5"/>
                        <a:pt x="3" y="4"/>
                      </a:cubicBezTo>
                      <a:cubicBezTo>
                        <a:pt x="6" y="2"/>
                        <a:pt x="8" y="0"/>
                        <a:pt x="12" y="0"/>
                      </a:cubicBezTo>
                      <a:cubicBezTo>
                        <a:pt x="16" y="1"/>
                        <a:pt x="16" y="1"/>
                        <a:pt x="16" y="1"/>
                      </a:cubicBezTo>
                      <a:cubicBezTo>
                        <a:pt x="17" y="1"/>
                        <a:pt x="17" y="1"/>
                        <a:pt x="17" y="1"/>
                      </a:cubicBezTo>
                      <a:cubicBezTo>
                        <a:pt x="17" y="1"/>
                        <a:pt x="17" y="3"/>
                        <a:pt x="16" y="5"/>
                      </a:cubicBez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14" y="8"/>
                        <a:pt x="9" y="9"/>
                        <a:pt x="8" y="9"/>
                      </a:cubicBezTo>
                      <a:cubicBezTo>
                        <a:pt x="6" y="9"/>
                        <a:pt x="4" y="10"/>
                        <a:pt x="2" y="9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5" name="Freeform 233"/>
                <p:cNvSpPr>
                  <a:spLocks/>
                </p:cNvSpPr>
                <p:nvPr/>
              </p:nvSpPr>
              <p:spPr bwMode="auto">
                <a:xfrm>
                  <a:off x="1367" y="1362"/>
                  <a:ext cx="112" cy="73"/>
                </a:xfrm>
                <a:custGeom>
                  <a:avLst/>
                  <a:gdLst>
                    <a:gd name="T0" fmla="*/ 166854 w 55"/>
                    <a:gd name="T1" fmla="*/ 2304653 h 36"/>
                    <a:gd name="T2" fmla="*/ 778612 w 55"/>
                    <a:gd name="T3" fmla="*/ 1646904 h 36"/>
                    <a:gd name="T4" fmla="*/ 778612 w 55"/>
                    <a:gd name="T5" fmla="*/ 972186 h 36"/>
                    <a:gd name="T6" fmla="*/ 859303 w 55"/>
                    <a:gd name="T7" fmla="*/ 812172 h 36"/>
                    <a:gd name="T8" fmla="*/ 1036391 w 55"/>
                    <a:gd name="T9" fmla="*/ 155245 h 36"/>
                    <a:gd name="T10" fmla="*/ 1408970 w 55"/>
                    <a:gd name="T11" fmla="*/ 76559 h 36"/>
                    <a:gd name="T12" fmla="*/ 1749853 w 55"/>
                    <a:gd name="T13" fmla="*/ 638349 h 36"/>
                    <a:gd name="T14" fmla="*/ 2197277 w 55"/>
                    <a:gd name="T15" fmla="*/ 400523 h 36"/>
                    <a:gd name="T16" fmla="*/ 2787228 w 55"/>
                    <a:gd name="T17" fmla="*/ 812172 h 36"/>
                    <a:gd name="T18" fmla="*/ 3478565 w 55"/>
                    <a:gd name="T19" fmla="*/ 1213236 h 36"/>
                    <a:gd name="T20" fmla="*/ 4027640 w 55"/>
                    <a:gd name="T21" fmla="*/ 1725823 h 36"/>
                    <a:gd name="T22" fmla="*/ 4803896 w 55"/>
                    <a:gd name="T23" fmla="*/ 2126346 h 36"/>
                    <a:gd name="T24" fmla="*/ 4297682 w 55"/>
                    <a:gd name="T25" fmla="*/ 2548262 h 36"/>
                    <a:gd name="T26" fmla="*/ 3685804 w 55"/>
                    <a:gd name="T27" fmla="*/ 2304653 h 36"/>
                    <a:gd name="T28" fmla="*/ 3315361 w 55"/>
                    <a:gd name="T29" fmla="*/ 2126346 h 36"/>
                    <a:gd name="T30" fmla="*/ 2869175 w 55"/>
                    <a:gd name="T31" fmla="*/ 1725823 h 36"/>
                    <a:gd name="T32" fmla="*/ 2527349 w 55"/>
                    <a:gd name="T33" fmla="*/ 2126346 h 36"/>
                    <a:gd name="T34" fmla="*/ 1749853 w 55"/>
                    <a:gd name="T35" fmla="*/ 2708296 h 36"/>
                    <a:gd name="T36" fmla="*/ 1325314 w 55"/>
                    <a:gd name="T37" fmla="*/ 2783378 h 36"/>
                    <a:gd name="T38" fmla="*/ 1241109 w 55"/>
                    <a:gd name="T39" fmla="*/ 2224290 h 36"/>
                    <a:gd name="T40" fmla="*/ 166854 w 55"/>
                    <a:gd name="T41" fmla="*/ 2304653 h 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55" h="36">
                      <a:moveTo>
                        <a:pt x="2" y="28"/>
                      </a:moveTo>
                      <a:cubicBezTo>
                        <a:pt x="0" y="28"/>
                        <a:pt x="7" y="21"/>
                        <a:pt x="9" y="20"/>
                      </a:cubicBezTo>
                      <a:cubicBezTo>
                        <a:pt x="11" y="19"/>
                        <a:pt x="9" y="14"/>
                        <a:pt x="9" y="12"/>
                      </a:cubicBezTo>
                      <a:cubicBezTo>
                        <a:pt x="9" y="12"/>
                        <a:pt x="9" y="11"/>
                        <a:pt x="10" y="10"/>
                      </a:cubicBezTo>
                      <a:cubicBezTo>
                        <a:pt x="10" y="7"/>
                        <a:pt x="12" y="4"/>
                        <a:pt x="12" y="2"/>
                      </a:cubicBezTo>
                      <a:cubicBezTo>
                        <a:pt x="12" y="1"/>
                        <a:pt x="14" y="0"/>
                        <a:pt x="16" y="1"/>
                      </a:cubicBezTo>
                      <a:cubicBezTo>
                        <a:pt x="16" y="1"/>
                        <a:pt x="19" y="8"/>
                        <a:pt x="20" y="8"/>
                      </a:cubicBezTo>
                      <a:cubicBezTo>
                        <a:pt x="21" y="8"/>
                        <a:pt x="25" y="5"/>
                        <a:pt x="25" y="5"/>
                      </a:cubicBezTo>
                      <a:cubicBezTo>
                        <a:pt x="25" y="5"/>
                        <a:pt x="32" y="7"/>
                        <a:pt x="32" y="10"/>
                      </a:cubicBezTo>
                      <a:cubicBezTo>
                        <a:pt x="32" y="9"/>
                        <a:pt x="38" y="15"/>
                        <a:pt x="40" y="15"/>
                      </a:cubicBezTo>
                      <a:cubicBezTo>
                        <a:pt x="41" y="15"/>
                        <a:pt x="44" y="21"/>
                        <a:pt x="46" y="21"/>
                      </a:cubicBezTo>
                      <a:cubicBezTo>
                        <a:pt x="48" y="21"/>
                        <a:pt x="54" y="24"/>
                        <a:pt x="55" y="26"/>
                      </a:cubicBezTo>
                      <a:cubicBezTo>
                        <a:pt x="55" y="27"/>
                        <a:pt x="51" y="31"/>
                        <a:pt x="49" y="31"/>
                      </a:cubicBezTo>
                      <a:cubicBezTo>
                        <a:pt x="48" y="31"/>
                        <a:pt x="45" y="29"/>
                        <a:pt x="42" y="28"/>
                      </a:cubicBezTo>
                      <a:cubicBezTo>
                        <a:pt x="41" y="27"/>
                        <a:pt x="39" y="27"/>
                        <a:pt x="38" y="26"/>
                      </a:cubicBezTo>
                      <a:cubicBezTo>
                        <a:pt x="37" y="25"/>
                        <a:pt x="34" y="21"/>
                        <a:pt x="33" y="21"/>
                      </a:cubicBezTo>
                      <a:cubicBezTo>
                        <a:pt x="31" y="21"/>
                        <a:pt x="31" y="25"/>
                        <a:pt x="29" y="26"/>
                      </a:cubicBezTo>
                      <a:cubicBezTo>
                        <a:pt x="26" y="27"/>
                        <a:pt x="22" y="32"/>
                        <a:pt x="20" y="33"/>
                      </a:cubicBezTo>
                      <a:cubicBezTo>
                        <a:pt x="17" y="33"/>
                        <a:pt x="16" y="36"/>
                        <a:pt x="15" y="34"/>
                      </a:cubicBezTo>
                      <a:cubicBezTo>
                        <a:pt x="13" y="32"/>
                        <a:pt x="15" y="27"/>
                        <a:pt x="14" y="27"/>
                      </a:cubicBezTo>
                      <a:cubicBezTo>
                        <a:pt x="12" y="26"/>
                        <a:pt x="5" y="29"/>
                        <a:pt x="2" y="28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6" name="Freeform 234"/>
                <p:cNvSpPr>
                  <a:spLocks/>
                </p:cNvSpPr>
                <p:nvPr/>
              </p:nvSpPr>
              <p:spPr bwMode="auto">
                <a:xfrm>
                  <a:off x="1329" y="1137"/>
                  <a:ext cx="443" cy="324"/>
                </a:xfrm>
                <a:custGeom>
                  <a:avLst/>
                  <a:gdLst>
                    <a:gd name="T0" fmla="*/ 1014037 w 219"/>
                    <a:gd name="T1" fmla="*/ 309791 h 160"/>
                    <a:gd name="T2" fmla="*/ 2840334 w 219"/>
                    <a:gd name="T3" fmla="*/ 152983 h 160"/>
                    <a:gd name="T4" fmla="*/ 1976403 w 219"/>
                    <a:gd name="T5" fmla="*/ 1693127 h 160"/>
                    <a:gd name="T6" fmla="*/ 2840334 w 219"/>
                    <a:gd name="T7" fmla="*/ 2810852 h 160"/>
                    <a:gd name="T8" fmla="*/ 2515429 w 219"/>
                    <a:gd name="T9" fmla="*/ 2167315 h 160"/>
                    <a:gd name="T10" fmla="*/ 2610797 w 219"/>
                    <a:gd name="T11" fmla="*/ 1427333 h 160"/>
                    <a:gd name="T12" fmla="*/ 3378055 w 219"/>
                    <a:gd name="T13" fmla="*/ 469695 h 160"/>
                    <a:gd name="T14" fmla="*/ 5011807 w 219"/>
                    <a:gd name="T15" fmla="*/ 394488 h 160"/>
                    <a:gd name="T16" fmla="*/ 5515312 w 219"/>
                    <a:gd name="T17" fmla="*/ 1349529 h 160"/>
                    <a:gd name="T18" fmla="*/ 5895679 w 219"/>
                    <a:gd name="T19" fmla="*/ 1926042 h 160"/>
                    <a:gd name="T20" fmla="*/ 6833235 w 219"/>
                    <a:gd name="T21" fmla="*/ 2011479 h 160"/>
                    <a:gd name="T22" fmla="*/ 7529451 w 219"/>
                    <a:gd name="T23" fmla="*/ 1349529 h 160"/>
                    <a:gd name="T24" fmla="*/ 9374030 w 219"/>
                    <a:gd name="T25" fmla="*/ 2011479 h 160"/>
                    <a:gd name="T26" fmla="*/ 9200556 w 219"/>
                    <a:gd name="T27" fmla="*/ 2648180 h 160"/>
                    <a:gd name="T28" fmla="*/ 10907506 w 219"/>
                    <a:gd name="T29" fmla="*/ 2732796 h 160"/>
                    <a:gd name="T30" fmla="*/ 11546647 w 219"/>
                    <a:gd name="T31" fmla="*/ 3589446 h 160"/>
                    <a:gd name="T32" fmla="*/ 12826462 w 219"/>
                    <a:gd name="T33" fmla="*/ 3669436 h 160"/>
                    <a:gd name="T34" fmla="*/ 13597559 w 219"/>
                    <a:gd name="T35" fmla="*/ 4388813 h 160"/>
                    <a:gd name="T36" fmla="*/ 13522747 w 219"/>
                    <a:gd name="T37" fmla="*/ 4968161 h 160"/>
                    <a:gd name="T38" fmla="*/ 13522747 w 219"/>
                    <a:gd name="T39" fmla="*/ 5287083 h 160"/>
                    <a:gd name="T40" fmla="*/ 13674510 w 219"/>
                    <a:gd name="T41" fmla="*/ 6085897 h 160"/>
                    <a:gd name="T42" fmla="*/ 15381191 w 219"/>
                    <a:gd name="T43" fmla="*/ 6942879 h 160"/>
                    <a:gd name="T44" fmla="*/ 16596967 w 219"/>
                    <a:gd name="T45" fmla="*/ 7513133 h 160"/>
                    <a:gd name="T46" fmla="*/ 16978230 w 219"/>
                    <a:gd name="T47" fmla="*/ 8331002 h 160"/>
                    <a:gd name="T48" fmla="*/ 16596967 w 219"/>
                    <a:gd name="T49" fmla="*/ 8887346 h 160"/>
                    <a:gd name="T50" fmla="*/ 15959769 w 219"/>
                    <a:gd name="T51" fmla="*/ 8971564 h 160"/>
                    <a:gd name="T52" fmla="*/ 15657823 w 219"/>
                    <a:gd name="T53" fmla="*/ 9588889 h 160"/>
                    <a:gd name="T54" fmla="*/ 14286784 w 219"/>
                    <a:gd name="T55" fmla="*/ 8482454 h 160"/>
                    <a:gd name="T56" fmla="*/ 13674510 w 219"/>
                    <a:gd name="T57" fmla="*/ 8558241 h 160"/>
                    <a:gd name="T58" fmla="*/ 13597559 w 219"/>
                    <a:gd name="T59" fmla="*/ 9281278 h 160"/>
                    <a:gd name="T60" fmla="*/ 15075072 w 219"/>
                    <a:gd name="T61" fmla="*/ 10464242 h 160"/>
                    <a:gd name="T62" fmla="*/ 14926994 w 219"/>
                    <a:gd name="T63" fmla="*/ 11448461 h 160"/>
                    <a:gd name="T64" fmla="*/ 15075072 w 219"/>
                    <a:gd name="T65" fmla="*/ 12246167 h 160"/>
                    <a:gd name="T66" fmla="*/ 14060992 w 219"/>
                    <a:gd name="T67" fmla="*/ 11281320 h 160"/>
                    <a:gd name="T68" fmla="*/ 12733643 w 219"/>
                    <a:gd name="T69" fmla="*/ 10936134 h 160"/>
                    <a:gd name="T70" fmla="*/ 14367153 w 219"/>
                    <a:gd name="T71" fmla="*/ 12323941 h 160"/>
                    <a:gd name="T72" fmla="*/ 13142325 w 219"/>
                    <a:gd name="T73" fmla="*/ 12323941 h 160"/>
                    <a:gd name="T74" fmla="*/ 11082276 w 219"/>
                    <a:gd name="T75" fmla="*/ 11526249 h 160"/>
                    <a:gd name="T76" fmla="*/ 10138039 w 219"/>
                    <a:gd name="T77" fmla="*/ 10389896 h 160"/>
                    <a:gd name="T78" fmla="*/ 8659266 w 219"/>
                    <a:gd name="T79" fmla="*/ 10136225 h 160"/>
                    <a:gd name="T80" fmla="*/ 7062767 w 219"/>
                    <a:gd name="T81" fmla="*/ 9908902 h 160"/>
                    <a:gd name="T82" fmla="*/ 7529451 w 219"/>
                    <a:gd name="T83" fmla="*/ 9203504 h 160"/>
                    <a:gd name="T84" fmla="*/ 8894388 w 219"/>
                    <a:gd name="T85" fmla="*/ 9356950 h 160"/>
                    <a:gd name="T86" fmla="*/ 9200556 w 219"/>
                    <a:gd name="T87" fmla="*/ 8482454 h 160"/>
                    <a:gd name="T88" fmla="*/ 10528138 w 219"/>
                    <a:gd name="T89" fmla="*/ 7346127 h 160"/>
                    <a:gd name="T90" fmla="*/ 9598691 w 219"/>
                    <a:gd name="T91" fmla="*/ 6161403 h 160"/>
                    <a:gd name="T92" fmla="*/ 8894388 w 219"/>
                    <a:gd name="T93" fmla="*/ 5852957 h 160"/>
                    <a:gd name="T94" fmla="*/ 8393301 w 219"/>
                    <a:gd name="T95" fmla="*/ 5440061 h 160"/>
                    <a:gd name="T96" fmla="*/ 7379259 w 219"/>
                    <a:gd name="T97" fmla="*/ 4697791 h 160"/>
                    <a:gd name="T98" fmla="*/ 6608589 w 219"/>
                    <a:gd name="T99" fmla="*/ 3747508 h 160"/>
                    <a:gd name="T100" fmla="*/ 6685060 w 219"/>
                    <a:gd name="T101" fmla="*/ 4470473 h 160"/>
                    <a:gd name="T102" fmla="*/ 5011807 w 219"/>
                    <a:gd name="T103" fmla="*/ 4388813 h 160"/>
                    <a:gd name="T104" fmla="*/ 3919619 w 219"/>
                    <a:gd name="T105" fmla="*/ 4312993 h 160"/>
                    <a:gd name="T106" fmla="*/ 1976403 w 219"/>
                    <a:gd name="T107" fmla="*/ 3994061 h 160"/>
                    <a:gd name="T108" fmla="*/ 303902 w 219"/>
                    <a:gd name="T109" fmla="*/ 3428582 h 160"/>
                    <a:gd name="T110" fmla="*/ 1326830 w 219"/>
                    <a:gd name="T111" fmla="*/ 3042668 h 160"/>
                    <a:gd name="T112" fmla="*/ 0 w 219"/>
                    <a:gd name="T113" fmla="*/ 1693127 h 16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0" t="0" r="r" b="b"/>
                  <a:pathLst>
                    <a:path w="219" h="160">
                      <a:moveTo>
                        <a:pt x="0" y="21"/>
                      </a:moveTo>
                      <a:cubicBezTo>
                        <a:pt x="1" y="18"/>
                        <a:pt x="7" y="7"/>
                        <a:pt x="13" y="4"/>
                      </a:cubicBezTo>
                      <a:cubicBezTo>
                        <a:pt x="20" y="0"/>
                        <a:pt x="28" y="0"/>
                        <a:pt x="31" y="1"/>
                      </a:cubicBezTo>
                      <a:cubicBezTo>
                        <a:pt x="35" y="1"/>
                        <a:pt x="36" y="1"/>
                        <a:pt x="36" y="2"/>
                      </a:cubicBezTo>
                      <a:cubicBezTo>
                        <a:pt x="36" y="3"/>
                        <a:pt x="26" y="8"/>
                        <a:pt x="24" y="14"/>
                      </a:cubicBezTo>
                      <a:cubicBezTo>
                        <a:pt x="22" y="17"/>
                        <a:pt x="24" y="18"/>
                        <a:pt x="25" y="21"/>
                      </a:cubicBezTo>
                      <a:cubicBezTo>
                        <a:pt x="26" y="23"/>
                        <a:pt x="23" y="24"/>
                        <a:pt x="24" y="29"/>
                      </a:cubicBezTo>
                      <a:cubicBezTo>
                        <a:pt x="26" y="33"/>
                        <a:pt x="34" y="34"/>
                        <a:pt x="36" y="35"/>
                      </a:cubicBezTo>
                      <a:cubicBezTo>
                        <a:pt x="38" y="36"/>
                        <a:pt x="40" y="36"/>
                        <a:pt x="40" y="33"/>
                      </a:cubicBezTo>
                      <a:cubicBezTo>
                        <a:pt x="40" y="30"/>
                        <a:pt x="33" y="28"/>
                        <a:pt x="32" y="27"/>
                      </a:cubicBezTo>
                      <a:cubicBezTo>
                        <a:pt x="31" y="25"/>
                        <a:pt x="39" y="26"/>
                        <a:pt x="39" y="25"/>
                      </a:cubicBezTo>
                      <a:cubicBezTo>
                        <a:pt x="39" y="24"/>
                        <a:pt x="34" y="21"/>
                        <a:pt x="33" y="18"/>
                      </a:cubicBezTo>
                      <a:cubicBezTo>
                        <a:pt x="32" y="16"/>
                        <a:pt x="34" y="13"/>
                        <a:pt x="35" y="10"/>
                      </a:cubicBezTo>
                      <a:cubicBezTo>
                        <a:pt x="37" y="8"/>
                        <a:pt x="39" y="6"/>
                        <a:pt x="43" y="6"/>
                      </a:cubicBezTo>
                      <a:cubicBezTo>
                        <a:pt x="47" y="5"/>
                        <a:pt x="57" y="2"/>
                        <a:pt x="60" y="2"/>
                      </a:cubicBezTo>
                      <a:cubicBezTo>
                        <a:pt x="63" y="3"/>
                        <a:pt x="64" y="3"/>
                        <a:pt x="64" y="5"/>
                      </a:cubicBezTo>
                      <a:cubicBezTo>
                        <a:pt x="64" y="8"/>
                        <a:pt x="65" y="9"/>
                        <a:pt x="67" y="9"/>
                      </a:cubicBezTo>
                      <a:cubicBezTo>
                        <a:pt x="69" y="10"/>
                        <a:pt x="70" y="15"/>
                        <a:pt x="70" y="17"/>
                      </a:cubicBezTo>
                      <a:cubicBezTo>
                        <a:pt x="70" y="20"/>
                        <a:pt x="67" y="25"/>
                        <a:pt x="70" y="27"/>
                      </a:cubicBezTo>
                      <a:cubicBezTo>
                        <a:pt x="72" y="29"/>
                        <a:pt x="73" y="25"/>
                        <a:pt x="75" y="24"/>
                      </a:cubicBezTo>
                      <a:cubicBezTo>
                        <a:pt x="76" y="23"/>
                        <a:pt x="78" y="21"/>
                        <a:pt x="80" y="22"/>
                      </a:cubicBezTo>
                      <a:cubicBezTo>
                        <a:pt x="82" y="22"/>
                        <a:pt x="87" y="25"/>
                        <a:pt x="87" y="25"/>
                      </a:cubicBezTo>
                      <a:cubicBezTo>
                        <a:pt x="87" y="25"/>
                        <a:pt x="89" y="22"/>
                        <a:pt x="88" y="20"/>
                      </a:cubicBezTo>
                      <a:cubicBezTo>
                        <a:pt x="87" y="18"/>
                        <a:pt x="93" y="18"/>
                        <a:pt x="96" y="17"/>
                      </a:cubicBezTo>
                      <a:cubicBezTo>
                        <a:pt x="98" y="16"/>
                        <a:pt x="107" y="21"/>
                        <a:pt x="110" y="21"/>
                      </a:cubicBezTo>
                      <a:cubicBezTo>
                        <a:pt x="113" y="21"/>
                        <a:pt x="117" y="23"/>
                        <a:pt x="119" y="25"/>
                      </a:cubicBezTo>
                      <a:cubicBezTo>
                        <a:pt x="121" y="26"/>
                        <a:pt x="115" y="29"/>
                        <a:pt x="113" y="31"/>
                      </a:cubicBezTo>
                      <a:cubicBezTo>
                        <a:pt x="112" y="33"/>
                        <a:pt x="115" y="33"/>
                        <a:pt x="117" y="33"/>
                      </a:cubicBezTo>
                      <a:cubicBezTo>
                        <a:pt x="118" y="33"/>
                        <a:pt x="123" y="32"/>
                        <a:pt x="127" y="32"/>
                      </a:cubicBezTo>
                      <a:cubicBezTo>
                        <a:pt x="130" y="32"/>
                        <a:pt x="135" y="32"/>
                        <a:pt x="139" y="34"/>
                      </a:cubicBezTo>
                      <a:cubicBezTo>
                        <a:pt x="143" y="36"/>
                        <a:pt x="144" y="37"/>
                        <a:pt x="146" y="39"/>
                      </a:cubicBezTo>
                      <a:cubicBezTo>
                        <a:pt x="148" y="42"/>
                        <a:pt x="144" y="43"/>
                        <a:pt x="147" y="45"/>
                      </a:cubicBezTo>
                      <a:cubicBezTo>
                        <a:pt x="149" y="47"/>
                        <a:pt x="152" y="45"/>
                        <a:pt x="155" y="44"/>
                      </a:cubicBezTo>
                      <a:cubicBezTo>
                        <a:pt x="158" y="44"/>
                        <a:pt x="161" y="46"/>
                        <a:pt x="163" y="46"/>
                      </a:cubicBezTo>
                      <a:cubicBezTo>
                        <a:pt x="166" y="47"/>
                        <a:pt x="164" y="50"/>
                        <a:pt x="166" y="51"/>
                      </a:cubicBezTo>
                      <a:cubicBezTo>
                        <a:pt x="168" y="51"/>
                        <a:pt x="172" y="54"/>
                        <a:pt x="173" y="55"/>
                      </a:cubicBezTo>
                      <a:cubicBezTo>
                        <a:pt x="174" y="57"/>
                        <a:pt x="169" y="58"/>
                        <a:pt x="169" y="60"/>
                      </a:cubicBezTo>
                      <a:cubicBezTo>
                        <a:pt x="169" y="61"/>
                        <a:pt x="170" y="61"/>
                        <a:pt x="172" y="62"/>
                      </a:cubicBezTo>
                      <a:cubicBezTo>
                        <a:pt x="175" y="63"/>
                        <a:pt x="178" y="65"/>
                        <a:pt x="177" y="66"/>
                      </a:cubicBezTo>
                      <a:cubicBezTo>
                        <a:pt x="177" y="68"/>
                        <a:pt x="173" y="66"/>
                        <a:pt x="172" y="66"/>
                      </a:cubicBezTo>
                      <a:cubicBezTo>
                        <a:pt x="171" y="66"/>
                        <a:pt x="170" y="68"/>
                        <a:pt x="170" y="70"/>
                      </a:cubicBezTo>
                      <a:cubicBezTo>
                        <a:pt x="170" y="72"/>
                        <a:pt x="172" y="74"/>
                        <a:pt x="174" y="76"/>
                      </a:cubicBezTo>
                      <a:cubicBezTo>
                        <a:pt x="176" y="78"/>
                        <a:pt x="183" y="79"/>
                        <a:pt x="187" y="80"/>
                      </a:cubicBezTo>
                      <a:cubicBezTo>
                        <a:pt x="192" y="82"/>
                        <a:pt x="194" y="84"/>
                        <a:pt x="196" y="87"/>
                      </a:cubicBezTo>
                      <a:cubicBezTo>
                        <a:pt x="199" y="89"/>
                        <a:pt x="200" y="90"/>
                        <a:pt x="203" y="92"/>
                      </a:cubicBezTo>
                      <a:cubicBezTo>
                        <a:pt x="205" y="94"/>
                        <a:pt x="208" y="94"/>
                        <a:pt x="211" y="94"/>
                      </a:cubicBezTo>
                      <a:cubicBezTo>
                        <a:pt x="213" y="94"/>
                        <a:pt x="217" y="97"/>
                        <a:pt x="218" y="99"/>
                      </a:cubicBezTo>
                      <a:cubicBezTo>
                        <a:pt x="219" y="100"/>
                        <a:pt x="217" y="102"/>
                        <a:pt x="216" y="104"/>
                      </a:cubicBezTo>
                      <a:cubicBezTo>
                        <a:pt x="216" y="105"/>
                        <a:pt x="212" y="104"/>
                        <a:pt x="211" y="105"/>
                      </a:cubicBezTo>
                      <a:cubicBezTo>
                        <a:pt x="211" y="106"/>
                        <a:pt x="212" y="110"/>
                        <a:pt x="211" y="111"/>
                      </a:cubicBezTo>
                      <a:cubicBezTo>
                        <a:pt x="211" y="113"/>
                        <a:pt x="209" y="113"/>
                        <a:pt x="209" y="113"/>
                      </a:cubicBezTo>
                      <a:cubicBezTo>
                        <a:pt x="209" y="113"/>
                        <a:pt x="204" y="111"/>
                        <a:pt x="203" y="112"/>
                      </a:cubicBezTo>
                      <a:cubicBezTo>
                        <a:pt x="202" y="113"/>
                        <a:pt x="203" y="119"/>
                        <a:pt x="203" y="120"/>
                      </a:cubicBezTo>
                      <a:cubicBezTo>
                        <a:pt x="203" y="121"/>
                        <a:pt x="200" y="120"/>
                        <a:pt x="199" y="120"/>
                      </a:cubicBezTo>
                      <a:cubicBezTo>
                        <a:pt x="198" y="120"/>
                        <a:pt x="188" y="116"/>
                        <a:pt x="186" y="114"/>
                      </a:cubicBezTo>
                      <a:cubicBezTo>
                        <a:pt x="184" y="113"/>
                        <a:pt x="183" y="107"/>
                        <a:pt x="182" y="106"/>
                      </a:cubicBezTo>
                      <a:cubicBezTo>
                        <a:pt x="181" y="105"/>
                        <a:pt x="176" y="102"/>
                        <a:pt x="174" y="102"/>
                      </a:cubicBezTo>
                      <a:cubicBezTo>
                        <a:pt x="171" y="102"/>
                        <a:pt x="174" y="106"/>
                        <a:pt x="174" y="107"/>
                      </a:cubicBezTo>
                      <a:cubicBezTo>
                        <a:pt x="174" y="108"/>
                        <a:pt x="172" y="108"/>
                        <a:pt x="171" y="110"/>
                      </a:cubicBezTo>
                      <a:cubicBezTo>
                        <a:pt x="169" y="113"/>
                        <a:pt x="173" y="114"/>
                        <a:pt x="173" y="116"/>
                      </a:cubicBezTo>
                      <a:cubicBezTo>
                        <a:pt x="174" y="118"/>
                        <a:pt x="179" y="120"/>
                        <a:pt x="182" y="122"/>
                      </a:cubicBezTo>
                      <a:cubicBezTo>
                        <a:pt x="184" y="124"/>
                        <a:pt x="191" y="129"/>
                        <a:pt x="192" y="131"/>
                      </a:cubicBezTo>
                      <a:cubicBezTo>
                        <a:pt x="193" y="132"/>
                        <a:pt x="196" y="134"/>
                        <a:pt x="196" y="137"/>
                      </a:cubicBezTo>
                      <a:cubicBezTo>
                        <a:pt x="196" y="140"/>
                        <a:pt x="190" y="142"/>
                        <a:pt x="190" y="143"/>
                      </a:cubicBezTo>
                      <a:cubicBezTo>
                        <a:pt x="190" y="144"/>
                        <a:pt x="195" y="148"/>
                        <a:pt x="195" y="149"/>
                      </a:cubicBezTo>
                      <a:cubicBezTo>
                        <a:pt x="194" y="151"/>
                        <a:pt x="193" y="152"/>
                        <a:pt x="192" y="153"/>
                      </a:cubicBezTo>
                      <a:cubicBezTo>
                        <a:pt x="190" y="154"/>
                        <a:pt x="189" y="151"/>
                        <a:pt x="188" y="149"/>
                      </a:cubicBezTo>
                      <a:cubicBezTo>
                        <a:pt x="187" y="147"/>
                        <a:pt x="182" y="144"/>
                        <a:pt x="179" y="141"/>
                      </a:cubicBezTo>
                      <a:cubicBezTo>
                        <a:pt x="176" y="139"/>
                        <a:pt x="171" y="138"/>
                        <a:pt x="169" y="137"/>
                      </a:cubicBezTo>
                      <a:cubicBezTo>
                        <a:pt x="166" y="135"/>
                        <a:pt x="163" y="135"/>
                        <a:pt x="162" y="137"/>
                      </a:cubicBezTo>
                      <a:cubicBezTo>
                        <a:pt x="162" y="138"/>
                        <a:pt x="165" y="142"/>
                        <a:pt x="168" y="143"/>
                      </a:cubicBezTo>
                      <a:cubicBezTo>
                        <a:pt x="170" y="144"/>
                        <a:pt x="182" y="153"/>
                        <a:pt x="183" y="154"/>
                      </a:cubicBezTo>
                      <a:cubicBezTo>
                        <a:pt x="184" y="156"/>
                        <a:pt x="185" y="159"/>
                        <a:pt x="184" y="160"/>
                      </a:cubicBezTo>
                      <a:cubicBezTo>
                        <a:pt x="183" y="160"/>
                        <a:pt x="170" y="154"/>
                        <a:pt x="167" y="154"/>
                      </a:cubicBezTo>
                      <a:cubicBezTo>
                        <a:pt x="164" y="153"/>
                        <a:pt x="156" y="151"/>
                        <a:pt x="152" y="148"/>
                      </a:cubicBezTo>
                      <a:cubicBezTo>
                        <a:pt x="148" y="146"/>
                        <a:pt x="143" y="146"/>
                        <a:pt x="141" y="144"/>
                      </a:cubicBezTo>
                      <a:cubicBezTo>
                        <a:pt x="138" y="142"/>
                        <a:pt x="139" y="139"/>
                        <a:pt x="139" y="137"/>
                      </a:cubicBezTo>
                      <a:cubicBezTo>
                        <a:pt x="139" y="136"/>
                        <a:pt x="131" y="132"/>
                        <a:pt x="129" y="130"/>
                      </a:cubicBezTo>
                      <a:cubicBezTo>
                        <a:pt x="126" y="128"/>
                        <a:pt x="122" y="127"/>
                        <a:pt x="120" y="125"/>
                      </a:cubicBezTo>
                      <a:cubicBezTo>
                        <a:pt x="118" y="123"/>
                        <a:pt x="111" y="126"/>
                        <a:pt x="110" y="127"/>
                      </a:cubicBezTo>
                      <a:cubicBezTo>
                        <a:pt x="108" y="128"/>
                        <a:pt x="101" y="130"/>
                        <a:pt x="98" y="130"/>
                      </a:cubicBezTo>
                      <a:cubicBezTo>
                        <a:pt x="94" y="130"/>
                        <a:pt x="91" y="125"/>
                        <a:pt x="90" y="124"/>
                      </a:cubicBezTo>
                      <a:cubicBezTo>
                        <a:pt x="88" y="123"/>
                        <a:pt x="92" y="119"/>
                        <a:pt x="94" y="118"/>
                      </a:cubicBezTo>
                      <a:cubicBezTo>
                        <a:pt x="96" y="117"/>
                        <a:pt x="94" y="115"/>
                        <a:pt x="96" y="115"/>
                      </a:cubicBezTo>
                      <a:cubicBezTo>
                        <a:pt x="96" y="115"/>
                        <a:pt x="100" y="114"/>
                        <a:pt x="102" y="115"/>
                      </a:cubicBezTo>
                      <a:cubicBezTo>
                        <a:pt x="105" y="116"/>
                        <a:pt x="109" y="116"/>
                        <a:pt x="113" y="117"/>
                      </a:cubicBezTo>
                      <a:cubicBezTo>
                        <a:pt x="116" y="117"/>
                        <a:pt x="123" y="115"/>
                        <a:pt x="124" y="115"/>
                      </a:cubicBezTo>
                      <a:cubicBezTo>
                        <a:pt x="126" y="115"/>
                        <a:pt x="117" y="108"/>
                        <a:pt x="117" y="106"/>
                      </a:cubicBezTo>
                      <a:cubicBezTo>
                        <a:pt x="117" y="105"/>
                        <a:pt x="124" y="99"/>
                        <a:pt x="127" y="99"/>
                      </a:cubicBezTo>
                      <a:cubicBezTo>
                        <a:pt x="129" y="99"/>
                        <a:pt x="132" y="94"/>
                        <a:pt x="134" y="92"/>
                      </a:cubicBezTo>
                      <a:cubicBezTo>
                        <a:pt x="135" y="91"/>
                        <a:pt x="131" y="86"/>
                        <a:pt x="131" y="85"/>
                      </a:cubicBezTo>
                      <a:cubicBezTo>
                        <a:pt x="130" y="84"/>
                        <a:pt x="126" y="78"/>
                        <a:pt x="122" y="77"/>
                      </a:cubicBezTo>
                      <a:cubicBezTo>
                        <a:pt x="118" y="75"/>
                        <a:pt x="121" y="73"/>
                        <a:pt x="118" y="72"/>
                      </a:cubicBezTo>
                      <a:cubicBezTo>
                        <a:pt x="115" y="70"/>
                        <a:pt x="114" y="72"/>
                        <a:pt x="113" y="73"/>
                      </a:cubicBezTo>
                      <a:cubicBezTo>
                        <a:pt x="112" y="73"/>
                        <a:pt x="102" y="72"/>
                        <a:pt x="102" y="71"/>
                      </a:cubicBezTo>
                      <a:cubicBezTo>
                        <a:pt x="102" y="70"/>
                        <a:pt x="106" y="68"/>
                        <a:pt x="107" y="68"/>
                      </a:cubicBezTo>
                      <a:cubicBezTo>
                        <a:pt x="108" y="68"/>
                        <a:pt x="109" y="66"/>
                        <a:pt x="105" y="63"/>
                      </a:cubicBezTo>
                      <a:cubicBezTo>
                        <a:pt x="101" y="61"/>
                        <a:pt x="94" y="60"/>
                        <a:pt x="94" y="59"/>
                      </a:cubicBezTo>
                      <a:cubicBezTo>
                        <a:pt x="93" y="57"/>
                        <a:pt x="92" y="54"/>
                        <a:pt x="91" y="52"/>
                      </a:cubicBezTo>
                      <a:cubicBezTo>
                        <a:pt x="91" y="50"/>
                        <a:pt x="84" y="47"/>
                        <a:pt x="84" y="47"/>
                      </a:cubicBezTo>
                      <a:cubicBezTo>
                        <a:pt x="84" y="47"/>
                        <a:pt x="81" y="48"/>
                        <a:pt x="80" y="49"/>
                      </a:cubicBezTo>
                      <a:cubicBezTo>
                        <a:pt x="80" y="51"/>
                        <a:pt x="85" y="54"/>
                        <a:pt x="85" y="56"/>
                      </a:cubicBezTo>
                      <a:cubicBezTo>
                        <a:pt x="85" y="58"/>
                        <a:pt x="80" y="57"/>
                        <a:pt x="78" y="57"/>
                      </a:cubicBezTo>
                      <a:cubicBezTo>
                        <a:pt x="77" y="57"/>
                        <a:pt x="66" y="55"/>
                        <a:pt x="64" y="55"/>
                      </a:cubicBezTo>
                      <a:cubicBezTo>
                        <a:pt x="63" y="55"/>
                        <a:pt x="61" y="56"/>
                        <a:pt x="58" y="56"/>
                      </a:cubicBezTo>
                      <a:cubicBezTo>
                        <a:pt x="56" y="56"/>
                        <a:pt x="53" y="54"/>
                        <a:pt x="50" y="54"/>
                      </a:cubicBezTo>
                      <a:cubicBezTo>
                        <a:pt x="47" y="54"/>
                        <a:pt x="43" y="53"/>
                        <a:pt x="40" y="53"/>
                      </a:cubicBezTo>
                      <a:cubicBezTo>
                        <a:pt x="37" y="53"/>
                        <a:pt x="27" y="50"/>
                        <a:pt x="25" y="50"/>
                      </a:cubicBezTo>
                      <a:cubicBezTo>
                        <a:pt x="23" y="49"/>
                        <a:pt x="20" y="50"/>
                        <a:pt x="16" y="51"/>
                      </a:cubicBezTo>
                      <a:cubicBezTo>
                        <a:pt x="12" y="51"/>
                        <a:pt x="4" y="45"/>
                        <a:pt x="4" y="43"/>
                      </a:cubicBezTo>
                      <a:cubicBezTo>
                        <a:pt x="4" y="42"/>
                        <a:pt x="20" y="42"/>
                        <a:pt x="21" y="41"/>
                      </a:cubicBezTo>
                      <a:cubicBezTo>
                        <a:pt x="21" y="39"/>
                        <a:pt x="19" y="39"/>
                        <a:pt x="17" y="38"/>
                      </a:cubicBezTo>
                      <a:cubicBezTo>
                        <a:pt x="15" y="37"/>
                        <a:pt x="0" y="35"/>
                        <a:pt x="0" y="34"/>
                      </a:cubicBezTo>
                      <a:cubicBezTo>
                        <a:pt x="0" y="33"/>
                        <a:pt x="0" y="25"/>
                        <a:pt x="0" y="21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" name="Freeform 235"/>
                <p:cNvSpPr>
                  <a:spLocks/>
                </p:cNvSpPr>
                <p:nvPr/>
              </p:nvSpPr>
              <p:spPr bwMode="auto">
                <a:xfrm>
                  <a:off x="1294" y="821"/>
                  <a:ext cx="480" cy="243"/>
                </a:xfrm>
                <a:custGeom>
                  <a:avLst/>
                  <a:gdLst>
                    <a:gd name="T0" fmla="*/ 394910 w 237"/>
                    <a:gd name="T1" fmla="*/ 2491787 h 120"/>
                    <a:gd name="T2" fmla="*/ 310317 w 237"/>
                    <a:gd name="T3" fmla="*/ 2087058 h 120"/>
                    <a:gd name="T4" fmla="*/ 1429408 w 237"/>
                    <a:gd name="T5" fmla="*/ 1926042 h 120"/>
                    <a:gd name="T6" fmla="*/ 2015911 w 237"/>
                    <a:gd name="T7" fmla="*/ 1617647 h 120"/>
                    <a:gd name="T8" fmla="*/ 3048213 w 237"/>
                    <a:gd name="T9" fmla="*/ 1693127 h 120"/>
                    <a:gd name="T10" fmla="*/ 4004990 w 237"/>
                    <a:gd name="T11" fmla="*/ 1349529 h 120"/>
                    <a:gd name="T12" fmla="*/ 4478060 w 237"/>
                    <a:gd name="T13" fmla="*/ 951132 h 120"/>
                    <a:gd name="T14" fmla="*/ 5626364 w 237"/>
                    <a:gd name="T15" fmla="*/ 1427333 h 120"/>
                    <a:gd name="T16" fmla="*/ 6096549 w 237"/>
                    <a:gd name="T17" fmla="*/ 1270337 h 120"/>
                    <a:gd name="T18" fmla="*/ 6096549 w 237"/>
                    <a:gd name="T19" fmla="*/ 704856 h 120"/>
                    <a:gd name="T20" fmla="*/ 7450343 w 237"/>
                    <a:gd name="T21" fmla="*/ 704856 h 120"/>
                    <a:gd name="T22" fmla="*/ 8344660 w 237"/>
                    <a:gd name="T23" fmla="*/ 309791 h 120"/>
                    <a:gd name="T24" fmla="*/ 9532865 w 237"/>
                    <a:gd name="T25" fmla="*/ 798838 h 120"/>
                    <a:gd name="T26" fmla="*/ 9379214 w 237"/>
                    <a:gd name="T27" fmla="*/ 152983 h 120"/>
                    <a:gd name="T28" fmla="*/ 10959988 w 237"/>
                    <a:gd name="T29" fmla="*/ 231948 h 120"/>
                    <a:gd name="T30" fmla="*/ 11627326 w 237"/>
                    <a:gd name="T31" fmla="*/ 75547 h 120"/>
                    <a:gd name="T32" fmla="*/ 13546961 w 237"/>
                    <a:gd name="T33" fmla="*/ 75547 h 120"/>
                    <a:gd name="T34" fmla="*/ 15318094 w 237"/>
                    <a:gd name="T35" fmla="*/ 469695 h 120"/>
                    <a:gd name="T36" fmla="*/ 15318094 w 237"/>
                    <a:gd name="T37" fmla="*/ 951132 h 120"/>
                    <a:gd name="T38" fmla="*/ 17208676 w 237"/>
                    <a:gd name="T39" fmla="*/ 469695 h 120"/>
                    <a:gd name="T40" fmla="*/ 18601167 w 237"/>
                    <a:gd name="T41" fmla="*/ 951132 h 120"/>
                    <a:gd name="T42" fmla="*/ 17058821 w 237"/>
                    <a:gd name="T43" fmla="*/ 1926042 h 120"/>
                    <a:gd name="T44" fmla="*/ 13932857 w 237"/>
                    <a:gd name="T45" fmla="*/ 2572432 h 120"/>
                    <a:gd name="T46" fmla="*/ 14518240 w 237"/>
                    <a:gd name="T47" fmla="*/ 2890349 h 120"/>
                    <a:gd name="T48" fmla="*/ 15475797 w 237"/>
                    <a:gd name="T49" fmla="*/ 3195679 h 120"/>
                    <a:gd name="T50" fmla="*/ 12900415 w 237"/>
                    <a:gd name="T51" fmla="*/ 4815229 h 120"/>
                    <a:gd name="T52" fmla="*/ 9454665 w 237"/>
                    <a:gd name="T53" fmla="*/ 5287083 h 120"/>
                    <a:gd name="T54" fmla="*/ 10499164 w 237"/>
                    <a:gd name="T55" fmla="*/ 5765819 h 120"/>
                    <a:gd name="T56" fmla="*/ 10407461 w 237"/>
                    <a:gd name="T57" fmla="*/ 6789359 h 120"/>
                    <a:gd name="T58" fmla="*/ 8496784 w 237"/>
                    <a:gd name="T59" fmla="*/ 7268628 h 120"/>
                    <a:gd name="T60" fmla="*/ 6954995 w 237"/>
                    <a:gd name="T61" fmla="*/ 8087974 h 120"/>
                    <a:gd name="T62" fmla="*/ 8111372 w 237"/>
                    <a:gd name="T63" fmla="*/ 8558241 h 120"/>
                    <a:gd name="T64" fmla="*/ 8422793 w 237"/>
                    <a:gd name="T65" fmla="*/ 9203504 h 120"/>
                    <a:gd name="T66" fmla="*/ 6726131 w 237"/>
                    <a:gd name="T67" fmla="*/ 9128495 h 120"/>
                    <a:gd name="T68" fmla="*/ 4553136 w 237"/>
                    <a:gd name="T69" fmla="*/ 9128495 h 120"/>
                    <a:gd name="T70" fmla="*/ 2814643 w 237"/>
                    <a:gd name="T71" fmla="*/ 9203504 h 120"/>
                    <a:gd name="T72" fmla="*/ 1695552 w 237"/>
                    <a:gd name="T73" fmla="*/ 8733811 h 120"/>
                    <a:gd name="T74" fmla="*/ 2739565 w 237"/>
                    <a:gd name="T75" fmla="*/ 8087974 h 120"/>
                    <a:gd name="T76" fmla="*/ 3358112 w 237"/>
                    <a:gd name="T77" fmla="*/ 7588704 h 120"/>
                    <a:gd name="T78" fmla="*/ 4977458 w 237"/>
                    <a:gd name="T79" fmla="*/ 8248321 h 120"/>
                    <a:gd name="T80" fmla="*/ 4399919 w 237"/>
                    <a:gd name="T81" fmla="*/ 7740455 h 120"/>
                    <a:gd name="T82" fmla="*/ 4399919 w 237"/>
                    <a:gd name="T83" fmla="*/ 6865115 h 120"/>
                    <a:gd name="T84" fmla="*/ 2895004 w 237"/>
                    <a:gd name="T85" fmla="*/ 6942879 h 120"/>
                    <a:gd name="T86" fmla="*/ 3828302 w 237"/>
                    <a:gd name="T87" fmla="*/ 6238079 h 120"/>
                    <a:gd name="T88" fmla="*/ 5778483 w 237"/>
                    <a:gd name="T89" fmla="*/ 6161403 h 120"/>
                    <a:gd name="T90" fmla="*/ 4826078 w 237"/>
                    <a:gd name="T91" fmla="*/ 5691975 h 120"/>
                    <a:gd name="T92" fmla="*/ 3828302 w 237"/>
                    <a:gd name="T93" fmla="*/ 4815229 h 120"/>
                    <a:gd name="T94" fmla="*/ 3434029 w 237"/>
                    <a:gd name="T95" fmla="*/ 4226292 h 120"/>
                    <a:gd name="T96" fmla="*/ 5064148 w 237"/>
                    <a:gd name="T97" fmla="*/ 4312993 h 120"/>
                    <a:gd name="T98" fmla="*/ 6406866 w 237"/>
                    <a:gd name="T99" fmla="*/ 5130813 h 120"/>
                    <a:gd name="T100" fmla="*/ 6481977 w 237"/>
                    <a:gd name="T101" fmla="*/ 4620716 h 120"/>
                    <a:gd name="T102" fmla="*/ 6331285 w 237"/>
                    <a:gd name="T103" fmla="*/ 4073245 h 120"/>
                    <a:gd name="T104" fmla="*/ 8189507 w 237"/>
                    <a:gd name="T105" fmla="*/ 3512095 h 120"/>
                    <a:gd name="T106" fmla="*/ 8344660 w 237"/>
                    <a:gd name="T107" fmla="*/ 2890349 h 120"/>
                    <a:gd name="T108" fmla="*/ 7525989 w 237"/>
                    <a:gd name="T109" fmla="*/ 3428582 h 120"/>
                    <a:gd name="T110" fmla="*/ 3280780 w 237"/>
                    <a:gd name="T111" fmla="*/ 3669436 h 120"/>
                    <a:gd name="T112" fmla="*/ 2972836 w 237"/>
                    <a:gd name="T113" fmla="*/ 3195679 h 120"/>
                    <a:gd name="T114" fmla="*/ 3434029 w 237"/>
                    <a:gd name="T115" fmla="*/ 2732796 h 120"/>
                    <a:gd name="T116" fmla="*/ 956926 w 237"/>
                    <a:gd name="T117" fmla="*/ 2572432 h 12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0" t="0" r="r" b="b"/>
                  <a:pathLst>
                    <a:path w="237" h="120">
                      <a:moveTo>
                        <a:pt x="12" y="32"/>
                      </a:moveTo>
                      <a:cubicBezTo>
                        <a:pt x="8" y="30"/>
                        <a:pt x="8" y="31"/>
                        <a:pt x="5" y="31"/>
                      </a:cubicBezTo>
                      <a:cubicBezTo>
                        <a:pt x="3" y="31"/>
                        <a:pt x="2" y="29"/>
                        <a:pt x="2" y="29"/>
                      </a:cubicBezTo>
                      <a:cubicBezTo>
                        <a:pt x="0" y="28"/>
                        <a:pt x="2" y="26"/>
                        <a:pt x="4" y="26"/>
                      </a:cubicBezTo>
                      <a:cubicBezTo>
                        <a:pt x="5" y="26"/>
                        <a:pt x="10" y="23"/>
                        <a:pt x="11" y="23"/>
                      </a:cubicBezTo>
                      <a:cubicBezTo>
                        <a:pt x="12" y="23"/>
                        <a:pt x="18" y="24"/>
                        <a:pt x="18" y="24"/>
                      </a:cubicBezTo>
                      <a:cubicBezTo>
                        <a:pt x="18" y="24"/>
                        <a:pt x="20" y="25"/>
                        <a:pt x="22" y="24"/>
                      </a:cubicBezTo>
                      <a:cubicBezTo>
                        <a:pt x="23" y="23"/>
                        <a:pt x="24" y="21"/>
                        <a:pt x="25" y="20"/>
                      </a:cubicBezTo>
                      <a:cubicBezTo>
                        <a:pt x="26" y="20"/>
                        <a:pt x="32" y="19"/>
                        <a:pt x="33" y="19"/>
                      </a:cubicBezTo>
                      <a:cubicBezTo>
                        <a:pt x="34" y="20"/>
                        <a:pt x="36" y="21"/>
                        <a:pt x="38" y="21"/>
                      </a:cubicBezTo>
                      <a:cubicBezTo>
                        <a:pt x="40" y="21"/>
                        <a:pt x="41" y="17"/>
                        <a:pt x="41" y="17"/>
                      </a:cubicBezTo>
                      <a:cubicBezTo>
                        <a:pt x="42" y="17"/>
                        <a:pt x="50" y="18"/>
                        <a:pt x="50" y="17"/>
                      </a:cubicBezTo>
                      <a:cubicBezTo>
                        <a:pt x="50" y="16"/>
                        <a:pt x="48" y="12"/>
                        <a:pt x="49" y="12"/>
                      </a:cubicBezTo>
                      <a:cubicBezTo>
                        <a:pt x="50" y="12"/>
                        <a:pt x="55" y="12"/>
                        <a:pt x="56" y="12"/>
                      </a:cubicBezTo>
                      <a:cubicBezTo>
                        <a:pt x="57" y="13"/>
                        <a:pt x="62" y="14"/>
                        <a:pt x="64" y="15"/>
                      </a:cubicBezTo>
                      <a:cubicBezTo>
                        <a:pt x="65" y="16"/>
                        <a:pt x="68" y="18"/>
                        <a:pt x="70" y="18"/>
                      </a:cubicBezTo>
                      <a:cubicBezTo>
                        <a:pt x="72" y="19"/>
                        <a:pt x="75" y="18"/>
                        <a:pt x="76" y="18"/>
                      </a:cubicBezTo>
                      <a:cubicBezTo>
                        <a:pt x="78" y="18"/>
                        <a:pt x="77" y="17"/>
                        <a:pt x="76" y="16"/>
                      </a:cubicBezTo>
                      <a:cubicBezTo>
                        <a:pt x="76" y="16"/>
                        <a:pt x="71" y="14"/>
                        <a:pt x="72" y="13"/>
                      </a:cubicBezTo>
                      <a:cubicBezTo>
                        <a:pt x="73" y="12"/>
                        <a:pt x="76" y="9"/>
                        <a:pt x="76" y="9"/>
                      </a:cubicBezTo>
                      <a:cubicBezTo>
                        <a:pt x="76" y="9"/>
                        <a:pt x="82" y="7"/>
                        <a:pt x="85" y="7"/>
                      </a:cubicBezTo>
                      <a:cubicBezTo>
                        <a:pt x="89" y="6"/>
                        <a:pt x="91" y="9"/>
                        <a:pt x="93" y="9"/>
                      </a:cubicBezTo>
                      <a:cubicBezTo>
                        <a:pt x="96" y="9"/>
                        <a:pt x="92" y="4"/>
                        <a:pt x="94" y="4"/>
                      </a:cubicBezTo>
                      <a:cubicBezTo>
                        <a:pt x="96" y="3"/>
                        <a:pt x="102" y="3"/>
                        <a:pt x="104" y="4"/>
                      </a:cubicBezTo>
                      <a:cubicBezTo>
                        <a:pt x="106" y="5"/>
                        <a:pt x="111" y="5"/>
                        <a:pt x="112" y="6"/>
                      </a:cubicBezTo>
                      <a:cubicBezTo>
                        <a:pt x="114" y="7"/>
                        <a:pt x="118" y="9"/>
                        <a:pt x="119" y="10"/>
                      </a:cubicBezTo>
                      <a:cubicBezTo>
                        <a:pt x="120" y="11"/>
                        <a:pt x="123" y="11"/>
                        <a:pt x="124" y="10"/>
                      </a:cubicBezTo>
                      <a:cubicBezTo>
                        <a:pt x="125" y="9"/>
                        <a:pt x="117" y="4"/>
                        <a:pt x="117" y="2"/>
                      </a:cubicBezTo>
                      <a:cubicBezTo>
                        <a:pt x="118" y="1"/>
                        <a:pt x="127" y="1"/>
                        <a:pt x="129" y="1"/>
                      </a:cubicBezTo>
                      <a:cubicBezTo>
                        <a:pt x="132" y="1"/>
                        <a:pt x="136" y="2"/>
                        <a:pt x="137" y="3"/>
                      </a:cubicBezTo>
                      <a:cubicBezTo>
                        <a:pt x="138" y="4"/>
                        <a:pt x="142" y="6"/>
                        <a:pt x="144" y="6"/>
                      </a:cubicBezTo>
                      <a:cubicBezTo>
                        <a:pt x="146" y="6"/>
                        <a:pt x="144" y="1"/>
                        <a:pt x="145" y="1"/>
                      </a:cubicBezTo>
                      <a:cubicBezTo>
                        <a:pt x="147" y="1"/>
                        <a:pt x="152" y="1"/>
                        <a:pt x="155" y="1"/>
                      </a:cubicBezTo>
                      <a:cubicBezTo>
                        <a:pt x="157" y="2"/>
                        <a:pt x="167" y="0"/>
                        <a:pt x="169" y="1"/>
                      </a:cubicBezTo>
                      <a:cubicBezTo>
                        <a:pt x="171" y="1"/>
                        <a:pt x="186" y="3"/>
                        <a:pt x="189" y="3"/>
                      </a:cubicBezTo>
                      <a:cubicBezTo>
                        <a:pt x="192" y="4"/>
                        <a:pt x="200" y="4"/>
                        <a:pt x="191" y="6"/>
                      </a:cubicBezTo>
                      <a:cubicBezTo>
                        <a:pt x="182" y="9"/>
                        <a:pt x="176" y="9"/>
                        <a:pt x="178" y="11"/>
                      </a:cubicBezTo>
                      <a:cubicBezTo>
                        <a:pt x="180" y="12"/>
                        <a:pt x="189" y="12"/>
                        <a:pt x="191" y="12"/>
                      </a:cubicBezTo>
                      <a:cubicBezTo>
                        <a:pt x="192" y="12"/>
                        <a:pt x="202" y="9"/>
                        <a:pt x="205" y="7"/>
                      </a:cubicBezTo>
                      <a:cubicBezTo>
                        <a:pt x="208" y="5"/>
                        <a:pt x="213" y="6"/>
                        <a:pt x="215" y="6"/>
                      </a:cubicBezTo>
                      <a:cubicBezTo>
                        <a:pt x="217" y="7"/>
                        <a:pt x="219" y="11"/>
                        <a:pt x="222" y="11"/>
                      </a:cubicBezTo>
                      <a:cubicBezTo>
                        <a:pt x="224" y="12"/>
                        <a:pt x="230" y="11"/>
                        <a:pt x="232" y="12"/>
                      </a:cubicBezTo>
                      <a:cubicBezTo>
                        <a:pt x="234" y="14"/>
                        <a:pt x="237" y="15"/>
                        <a:pt x="233" y="18"/>
                      </a:cubicBezTo>
                      <a:cubicBezTo>
                        <a:pt x="231" y="19"/>
                        <a:pt x="217" y="24"/>
                        <a:pt x="213" y="24"/>
                      </a:cubicBezTo>
                      <a:cubicBezTo>
                        <a:pt x="209" y="24"/>
                        <a:pt x="200" y="26"/>
                        <a:pt x="198" y="27"/>
                      </a:cubicBezTo>
                      <a:cubicBezTo>
                        <a:pt x="192" y="27"/>
                        <a:pt x="179" y="32"/>
                        <a:pt x="174" y="32"/>
                      </a:cubicBezTo>
                      <a:cubicBezTo>
                        <a:pt x="169" y="33"/>
                        <a:pt x="169" y="36"/>
                        <a:pt x="170" y="37"/>
                      </a:cubicBezTo>
                      <a:cubicBezTo>
                        <a:pt x="171" y="37"/>
                        <a:pt x="178" y="36"/>
                        <a:pt x="181" y="36"/>
                      </a:cubicBezTo>
                      <a:cubicBezTo>
                        <a:pt x="184" y="36"/>
                        <a:pt x="209" y="30"/>
                        <a:pt x="209" y="31"/>
                      </a:cubicBezTo>
                      <a:cubicBezTo>
                        <a:pt x="210" y="32"/>
                        <a:pt x="197" y="39"/>
                        <a:pt x="193" y="40"/>
                      </a:cubicBezTo>
                      <a:cubicBezTo>
                        <a:pt x="188" y="42"/>
                        <a:pt x="176" y="49"/>
                        <a:pt x="172" y="51"/>
                      </a:cubicBezTo>
                      <a:cubicBezTo>
                        <a:pt x="169" y="52"/>
                        <a:pt x="164" y="58"/>
                        <a:pt x="161" y="60"/>
                      </a:cubicBezTo>
                      <a:cubicBezTo>
                        <a:pt x="158" y="61"/>
                        <a:pt x="149" y="65"/>
                        <a:pt x="145" y="65"/>
                      </a:cubicBezTo>
                      <a:cubicBezTo>
                        <a:pt x="142" y="65"/>
                        <a:pt x="121" y="67"/>
                        <a:pt x="118" y="66"/>
                      </a:cubicBezTo>
                      <a:cubicBezTo>
                        <a:pt x="115" y="66"/>
                        <a:pt x="112" y="69"/>
                        <a:pt x="114" y="69"/>
                      </a:cubicBezTo>
                      <a:cubicBezTo>
                        <a:pt x="116" y="69"/>
                        <a:pt x="128" y="71"/>
                        <a:pt x="131" y="72"/>
                      </a:cubicBezTo>
                      <a:cubicBezTo>
                        <a:pt x="134" y="73"/>
                        <a:pt x="132" y="74"/>
                        <a:pt x="132" y="76"/>
                      </a:cubicBezTo>
                      <a:cubicBezTo>
                        <a:pt x="132" y="78"/>
                        <a:pt x="132" y="82"/>
                        <a:pt x="130" y="85"/>
                      </a:cubicBezTo>
                      <a:cubicBezTo>
                        <a:pt x="127" y="88"/>
                        <a:pt x="124" y="91"/>
                        <a:pt x="123" y="91"/>
                      </a:cubicBezTo>
                      <a:cubicBezTo>
                        <a:pt x="122" y="91"/>
                        <a:pt x="110" y="91"/>
                        <a:pt x="106" y="91"/>
                      </a:cubicBezTo>
                      <a:cubicBezTo>
                        <a:pt x="102" y="92"/>
                        <a:pt x="110" y="97"/>
                        <a:pt x="108" y="98"/>
                      </a:cubicBezTo>
                      <a:cubicBezTo>
                        <a:pt x="106" y="100"/>
                        <a:pt x="91" y="102"/>
                        <a:pt x="87" y="101"/>
                      </a:cubicBezTo>
                      <a:cubicBezTo>
                        <a:pt x="83" y="100"/>
                        <a:pt x="84" y="100"/>
                        <a:pt x="83" y="103"/>
                      </a:cubicBezTo>
                      <a:cubicBezTo>
                        <a:pt x="81" y="106"/>
                        <a:pt x="97" y="106"/>
                        <a:pt x="101" y="107"/>
                      </a:cubicBezTo>
                      <a:cubicBezTo>
                        <a:pt x="104" y="108"/>
                        <a:pt x="106" y="106"/>
                        <a:pt x="107" y="108"/>
                      </a:cubicBezTo>
                      <a:cubicBezTo>
                        <a:pt x="108" y="111"/>
                        <a:pt x="107" y="114"/>
                        <a:pt x="105" y="115"/>
                      </a:cubicBezTo>
                      <a:cubicBezTo>
                        <a:pt x="103" y="115"/>
                        <a:pt x="88" y="120"/>
                        <a:pt x="86" y="120"/>
                      </a:cubicBezTo>
                      <a:cubicBezTo>
                        <a:pt x="84" y="120"/>
                        <a:pt x="89" y="114"/>
                        <a:pt x="84" y="114"/>
                      </a:cubicBezTo>
                      <a:cubicBezTo>
                        <a:pt x="79" y="114"/>
                        <a:pt x="77" y="116"/>
                        <a:pt x="69" y="115"/>
                      </a:cubicBezTo>
                      <a:cubicBezTo>
                        <a:pt x="61" y="115"/>
                        <a:pt x="59" y="114"/>
                        <a:pt x="57" y="114"/>
                      </a:cubicBezTo>
                      <a:cubicBezTo>
                        <a:pt x="55" y="114"/>
                        <a:pt x="61" y="120"/>
                        <a:pt x="54" y="119"/>
                      </a:cubicBezTo>
                      <a:cubicBezTo>
                        <a:pt x="47" y="119"/>
                        <a:pt x="39" y="116"/>
                        <a:pt x="35" y="115"/>
                      </a:cubicBezTo>
                      <a:cubicBezTo>
                        <a:pt x="30" y="115"/>
                        <a:pt x="20" y="116"/>
                        <a:pt x="18" y="113"/>
                      </a:cubicBezTo>
                      <a:cubicBezTo>
                        <a:pt x="16" y="111"/>
                        <a:pt x="17" y="110"/>
                        <a:pt x="21" y="109"/>
                      </a:cubicBezTo>
                      <a:cubicBezTo>
                        <a:pt x="24" y="109"/>
                        <a:pt x="35" y="108"/>
                        <a:pt x="38" y="106"/>
                      </a:cubicBezTo>
                      <a:cubicBezTo>
                        <a:pt x="41" y="104"/>
                        <a:pt x="35" y="103"/>
                        <a:pt x="34" y="101"/>
                      </a:cubicBezTo>
                      <a:cubicBezTo>
                        <a:pt x="33" y="99"/>
                        <a:pt x="29" y="97"/>
                        <a:pt x="31" y="95"/>
                      </a:cubicBezTo>
                      <a:cubicBezTo>
                        <a:pt x="32" y="94"/>
                        <a:pt x="38" y="92"/>
                        <a:pt x="42" y="95"/>
                      </a:cubicBezTo>
                      <a:cubicBezTo>
                        <a:pt x="46" y="98"/>
                        <a:pt x="46" y="101"/>
                        <a:pt x="49" y="102"/>
                      </a:cubicBezTo>
                      <a:cubicBezTo>
                        <a:pt x="52" y="103"/>
                        <a:pt x="59" y="103"/>
                        <a:pt x="62" y="103"/>
                      </a:cubicBezTo>
                      <a:cubicBezTo>
                        <a:pt x="64" y="102"/>
                        <a:pt x="65" y="101"/>
                        <a:pt x="64" y="100"/>
                      </a:cubicBezTo>
                      <a:cubicBezTo>
                        <a:pt x="64" y="98"/>
                        <a:pt x="57" y="100"/>
                        <a:pt x="55" y="97"/>
                      </a:cubicBezTo>
                      <a:cubicBezTo>
                        <a:pt x="53" y="94"/>
                        <a:pt x="50" y="92"/>
                        <a:pt x="52" y="91"/>
                      </a:cubicBezTo>
                      <a:cubicBezTo>
                        <a:pt x="54" y="90"/>
                        <a:pt x="56" y="89"/>
                        <a:pt x="55" y="86"/>
                      </a:cubicBezTo>
                      <a:cubicBezTo>
                        <a:pt x="54" y="83"/>
                        <a:pt x="51" y="87"/>
                        <a:pt x="45" y="87"/>
                      </a:cubicBezTo>
                      <a:cubicBezTo>
                        <a:pt x="39" y="88"/>
                        <a:pt x="36" y="89"/>
                        <a:pt x="36" y="87"/>
                      </a:cubicBezTo>
                      <a:cubicBezTo>
                        <a:pt x="37" y="85"/>
                        <a:pt x="39" y="82"/>
                        <a:pt x="41" y="80"/>
                      </a:cubicBezTo>
                      <a:cubicBezTo>
                        <a:pt x="43" y="79"/>
                        <a:pt x="44" y="78"/>
                        <a:pt x="48" y="78"/>
                      </a:cubicBezTo>
                      <a:cubicBezTo>
                        <a:pt x="53" y="78"/>
                        <a:pt x="63" y="77"/>
                        <a:pt x="66" y="79"/>
                      </a:cubicBezTo>
                      <a:cubicBezTo>
                        <a:pt x="70" y="80"/>
                        <a:pt x="70" y="80"/>
                        <a:pt x="72" y="77"/>
                      </a:cubicBezTo>
                      <a:cubicBezTo>
                        <a:pt x="74" y="74"/>
                        <a:pt x="68" y="74"/>
                        <a:pt x="65" y="73"/>
                      </a:cubicBezTo>
                      <a:cubicBezTo>
                        <a:pt x="62" y="73"/>
                        <a:pt x="60" y="74"/>
                        <a:pt x="60" y="71"/>
                      </a:cubicBezTo>
                      <a:cubicBezTo>
                        <a:pt x="61" y="67"/>
                        <a:pt x="59" y="67"/>
                        <a:pt x="56" y="64"/>
                      </a:cubicBezTo>
                      <a:cubicBezTo>
                        <a:pt x="53" y="62"/>
                        <a:pt x="49" y="60"/>
                        <a:pt x="48" y="60"/>
                      </a:cubicBezTo>
                      <a:cubicBezTo>
                        <a:pt x="47" y="60"/>
                        <a:pt x="45" y="61"/>
                        <a:pt x="44" y="59"/>
                      </a:cubicBezTo>
                      <a:cubicBezTo>
                        <a:pt x="43" y="58"/>
                        <a:pt x="42" y="53"/>
                        <a:pt x="43" y="53"/>
                      </a:cubicBezTo>
                      <a:cubicBezTo>
                        <a:pt x="45" y="52"/>
                        <a:pt x="50" y="53"/>
                        <a:pt x="53" y="53"/>
                      </a:cubicBezTo>
                      <a:cubicBezTo>
                        <a:pt x="56" y="53"/>
                        <a:pt x="61" y="52"/>
                        <a:pt x="63" y="54"/>
                      </a:cubicBezTo>
                      <a:cubicBezTo>
                        <a:pt x="65" y="56"/>
                        <a:pt x="74" y="59"/>
                        <a:pt x="75" y="60"/>
                      </a:cubicBezTo>
                      <a:cubicBezTo>
                        <a:pt x="75" y="62"/>
                        <a:pt x="78" y="64"/>
                        <a:pt x="80" y="64"/>
                      </a:cubicBezTo>
                      <a:cubicBezTo>
                        <a:pt x="81" y="64"/>
                        <a:pt x="84" y="63"/>
                        <a:pt x="84" y="61"/>
                      </a:cubicBezTo>
                      <a:cubicBezTo>
                        <a:pt x="84" y="60"/>
                        <a:pt x="81" y="59"/>
                        <a:pt x="81" y="58"/>
                      </a:cubicBezTo>
                      <a:cubicBezTo>
                        <a:pt x="81" y="56"/>
                        <a:pt x="72" y="54"/>
                        <a:pt x="71" y="53"/>
                      </a:cubicBezTo>
                      <a:cubicBezTo>
                        <a:pt x="71" y="51"/>
                        <a:pt x="77" y="51"/>
                        <a:pt x="79" y="51"/>
                      </a:cubicBezTo>
                      <a:cubicBezTo>
                        <a:pt x="82" y="51"/>
                        <a:pt x="94" y="48"/>
                        <a:pt x="96" y="48"/>
                      </a:cubicBezTo>
                      <a:cubicBezTo>
                        <a:pt x="98" y="47"/>
                        <a:pt x="102" y="46"/>
                        <a:pt x="102" y="44"/>
                      </a:cubicBezTo>
                      <a:cubicBezTo>
                        <a:pt x="102" y="42"/>
                        <a:pt x="101" y="41"/>
                        <a:pt x="102" y="40"/>
                      </a:cubicBezTo>
                      <a:cubicBezTo>
                        <a:pt x="103" y="39"/>
                        <a:pt x="105" y="36"/>
                        <a:pt x="104" y="36"/>
                      </a:cubicBezTo>
                      <a:cubicBezTo>
                        <a:pt x="103" y="35"/>
                        <a:pt x="97" y="38"/>
                        <a:pt x="96" y="39"/>
                      </a:cubicBezTo>
                      <a:cubicBezTo>
                        <a:pt x="95" y="39"/>
                        <a:pt x="96" y="43"/>
                        <a:pt x="94" y="43"/>
                      </a:cubicBezTo>
                      <a:cubicBezTo>
                        <a:pt x="91" y="43"/>
                        <a:pt x="73" y="47"/>
                        <a:pt x="65" y="46"/>
                      </a:cubicBezTo>
                      <a:cubicBezTo>
                        <a:pt x="58" y="46"/>
                        <a:pt x="45" y="48"/>
                        <a:pt x="41" y="46"/>
                      </a:cubicBezTo>
                      <a:cubicBezTo>
                        <a:pt x="37" y="44"/>
                        <a:pt x="30" y="46"/>
                        <a:pt x="25" y="43"/>
                      </a:cubicBezTo>
                      <a:cubicBezTo>
                        <a:pt x="21" y="39"/>
                        <a:pt x="32" y="40"/>
                        <a:pt x="37" y="40"/>
                      </a:cubicBezTo>
                      <a:cubicBezTo>
                        <a:pt x="43" y="39"/>
                        <a:pt x="49" y="36"/>
                        <a:pt x="50" y="35"/>
                      </a:cubicBezTo>
                      <a:cubicBezTo>
                        <a:pt x="52" y="33"/>
                        <a:pt x="49" y="33"/>
                        <a:pt x="43" y="34"/>
                      </a:cubicBezTo>
                      <a:cubicBezTo>
                        <a:pt x="37" y="34"/>
                        <a:pt x="21" y="37"/>
                        <a:pt x="15" y="35"/>
                      </a:cubicBezTo>
                      <a:cubicBezTo>
                        <a:pt x="9" y="33"/>
                        <a:pt x="16" y="35"/>
                        <a:pt x="12" y="32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8" name="Freeform 236"/>
                <p:cNvSpPr>
                  <a:spLocks/>
                </p:cNvSpPr>
                <p:nvPr/>
              </p:nvSpPr>
              <p:spPr bwMode="auto">
                <a:xfrm>
                  <a:off x="1300" y="1014"/>
                  <a:ext cx="33" cy="22"/>
                </a:xfrm>
                <a:custGeom>
                  <a:avLst/>
                  <a:gdLst>
                    <a:gd name="T0" fmla="*/ 882082 w 16"/>
                    <a:gd name="T1" fmla="*/ 655360 h 11"/>
                    <a:gd name="T2" fmla="*/ 207358 w 16"/>
                    <a:gd name="T3" fmla="*/ 327680 h 11"/>
                    <a:gd name="T4" fmla="*/ 635520 w 16"/>
                    <a:gd name="T5" fmla="*/ 0 h 11"/>
                    <a:gd name="T6" fmla="*/ 1186773 w 16"/>
                    <a:gd name="T7" fmla="*/ 65536 h 11"/>
                    <a:gd name="T8" fmla="*/ 1711980 w 16"/>
                    <a:gd name="T9" fmla="*/ 458752 h 11"/>
                    <a:gd name="T10" fmla="*/ 882082 w 16"/>
                    <a:gd name="T11" fmla="*/ 655360 h 1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6" h="11">
                      <a:moveTo>
                        <a:pt x="8" y="10"/>
                      </a:moveTo>
                      <a:cubicBezTo>
                        <a:pt x="6" y="10"/>
                        <a:pt x="2" y="7"/>
                        <a:pt x="2" y="5"/>
                      </a:cubicBezTo>
                      <a:cubicBezTo>
                        <a:pt x="0" y="3"/>
                        <a:pt x="4" y="0"/>
                        <a:pt x="6" y="0"/>
                      </a:cubicBezTo>
                      <a:cubicBezTo>
                        <a:pt x="6" y="0"/>
                        <a:pt x="9" y="0"/>
                        <a:pt x="11" y="1"/>
                      </a:cubicBezTo>
                      <a:cubicBezTo>
                        <a:pt x="13" y="1"/>
                        <a:pt x="16" y="4"/>
                        <a:pt x="16" y="7"/>
                      </a:cubicBezTo>
                      <a:cubicBezTo>
                        <a:pt x="16" y="11"/>
                        <a:pt x="10" y="10"/>
                        <a:pt x="8" y="10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9" name="Freeform 237"/>
                <p:cNvSpPr>
                  <a:spLocks/>
                </p:cNvSpPr>
                <p:nvPr/>
              </p:nvSpPr>
              <p:spPr bwMode="auto">
                <a:xfrm>
                  <a:off x="1278" y="1050"/>
                  <a:ext cx="213" cy="69"/>
                </a:xfrm>
                <a:custGeom>
                  <a:avLst/>
                  <a:gdLst>
                    <a:gd name="T0" fmla="*/ 76948 w 105"/>
                    <a:gd name="T1" fmla="*/ 403916 h 34"/>
                    <a:gd name="T2" fmla="*/ 402572 w 105"/>
                    <a:gd name="T3" fmla="*/ 0 h 34"/>
                    <a:gd name="T4" fmla="*/ 1142475 w 105"/>
                    <a:gd name="T5" fmla="*/ 0 h 34"/>
                    <a:gd name="T6" fmla="*/ 1903301 w 105"/>
                    <a:gd name="T7" fmla="*/ 483270 h 34"/>
                    <a:gd name="T8" fmla="*/ 2482756 w 105"/>
                    <a:gd name="T9" fmla="*/ 644515 h 34"/>
                    <a:gd name="T10" fmla="*/ 1903301 w 105"/>
                    <a:gd name="T11" fmla="*/ 819712 h 34"/>
                    <a:gd name="T12" fmla="*/ 2394544 w 105"/>
                    <a:gd name="T13" fmla="*/ 1229174 h 34"/>
                    <a:gd name="T14" fmla="*/ 3611800 w 105"/>
                    <a:gd name="T15" fmla="*/ 1307986 h 34"/>
                    <a:gd name="T16" fmla="*/ 4375679 w 105"/>
                    <a:gd name="T17" fmla="*/ 1663533 h 34"/>
                    <a:gd name="T18" fmla="*/ 4778316 w 105"/>
                    <a:gd name="T19" fmla="*/ 1425400 h 34"/>
                    <a:gd name="T20" fmla="*/ 5831617 w 105"/>
                    <a:gd name="T21" fmla="*/ 1146817 h 34"/>
                    <a:gd name="T22" fmla="*/ 7251723 w 105"/>
                    <a:gd name="T23" fmla="*/ 1146817 h 34"/>
                    <a:gd name="T24" fmla="*/ 7911457 w 105"/>
                    <a:gd name="T25" fmla="*/ 1229174 h 34"/>
                    <a:gd name="T26" fmla="*/ 8473805 w 105"/>
                    <a:gd name="T27" fmla="*/ 1663533 h 34"/>
                    <a:gd name="T28" fmla="*/ 8076670 w 105"/>
                    <a:gd name="T29" fmla="*/ 2090318 h 34"/>
                    <a:gd name="T30" fmla="*/ 8629835 w 105"/>
                    <a:gd name="T31" fmla="*/ 2251352 h 34"/>
                    <a:gd name="T32" fmla="*/ 8076670 w 105"/>
                    <a:gd name="T33" fmla="*/ 2578567 h 34"/>
                    <a:gd name="T34" fmla="*/ 7049702 w 105"/>
                    <a:gd name="T35" fmla="*/ 2731546 h 34"/>
                    <a:gd name="T36" fmla="*/ 6312241 w 105"/>
                    <a:gd name="T37" fmla="*/ 2578567 h 34"/>
                    <a:gd name="T38" fmla="*/ 6156144 w 105"/>
                    <a:gd name="T39" fmla="*/ 2251352 h 34"/>
                    <a:gd name="T40" fmla="*/ 5594423 w 105"/>
                    <a:gd name="T41" fmla="*/ 2654442 h 34"/>
                    <a:gd name="T42" fmla="*/ 4375679 w 105"/>
                    <a:gd name="T43" fmla="*/ 2731546 h 34"/>
                    <a:gd name="T44" fmla="*/ 2956330 w 105"/>
                    <a:gd name="T45" fmla="*/ 2731546 h 34"/>
                    <a:gd name="T46" fmla="*/ 2795698 w 105"/>
                    <a:gd name="T47" fmla="*/ 2251352 h 34"/>
                    <a:gd name="T48" fmla="*/ 2233974 w 105"/>
                    <a:gd name="T49" fmla="*/ 2654442 h 34"/>
                    <a:gd name="T50" fmla="*/ 1495988 w 105"/>
                    <a:gd name="T51" fmla="*/ 2578567 h 34"/>
                    <a:gd name="T52" fmla="*/ 737459 w 105"/>
                    <a:gd name="T53" fmla="*/ 2417399 h 34"/>
                    <a:gd name="T54" fmla="*/ 481759 w 105"/>
                    <a:gd name="T55" fmla="*/ 1829316 h 34"/>
                    <a:gd name="T56" fmla="*/ 642347 w 105"/>
                    <a:gd name="T57" fmla="*/ 1307986 h 34"/>
                    <a:gd name="T58" fmla="*/ 402572 w 105"/>
                    <a:gd name="T59" fmla="*/ 819712 h 34"/>
                    <a:gd name="T60" fmla="*/ 76948 w 105"/>
                    <a:gd name="T61" fmla="*/ 403916 h 3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105" h="34">
                      <a:moveTo>
                        <a:pt x="1" y="5"/>
                      </a:moveTo>
                      <a:cubicBezTo>
                        <a:pt x="2" y="4"/>
                        <a:pt x="4" y="1"/>
                        <a:pt x="5" y="0"/>
                      </a:cubicBezTo>
                      <a:cubicBezTo>
                        <a:pt x="6" y="0"/>
                        <a:pt x="12" y="0"/>
                        <a:pt x="14" y="0"/>
                      </a:cubicBezTo>
                      <a:cubicBezTo>
                        <a:pt x="16" y="1"/>
                        <a:pt x="19" y="6"/>
                        <a:pt x="23" y="6"/>
                      </a:cubicBezTo>
                      <a:cubicBezTo>
                        <a:pt x="26" y="6"/>
                        <a:pt x="30" y="6"/>
                        <a:pt x="30" y="8"/>
                      </a:cubicBezTo>
                      <a:cubicBezTo>
                        <a:pt x="30" y="9"/>
                        <a:pt x="24" y="9"/>
                        <a:pt x="23" y="10"/>
                      </a:cubicBezTo>
                      <a:cubicBezTo>
                        <a:pt x="22" y="11"/>
                        <a:pt x="25" y="14"/>
                        <a:pt x="29" y="15"/>
                      </a:cubicBezTo>
                      <a:cubicBezTo>
                        <a:pt x="33" y="16"/>
                        <a:pt x="42" y="15"/>
                        <a:pt x="44" y="16"/>
                      </a:cubicBezTo>
                      <a:cubicBezTo>
                        <a:pt x="46" y="17"/>
                        <a:pt x="52" y="21"/>
                        <a:pt x="53" y="20"/>
                      </a:cubicBezTo>
                      <a:cubicBezTo>
                        <a:pt x="54" y="20"/>
                        <a:pt x="55" y="17"/>
                        <a:pt x="58" y="17"/>
                      </a:cubicBezTo>
                      <a:cubicBezTo>
                        <a:pt x="60" y="17"/>
                        <a:pt x="69" y="14"/>
                        <a:pt x="71" y="14"/>
                      </a:cubicBezTo>
                      <a:cubicBezTo>
                        <a:pt x="73" y="14"/>
                        <a:pt x="86" y="14"/>
                        <a:pt x="88" y="14"/>
                      </a:cubicBezTo>
                      <a:cubicBezTo>
                        <a:pt x="90" y="14"/>
                        <a:pt x="93" y="14"/>
                        <a:pt x="96" y="15"/>
                      </a:cubicBezTo>
                      <a:cubicBezTo>
                        <a:pt x="98" y="16"/>
                        <a:pt x="104" y="19"/>
                        <a:pt x="103" y="20"/>
                      </a:cubicBezTo>
                      <a:cubicBezTo>
                        <a:pt x="103" y="21"/>
                        <a:pt x="96" y="23"/>
                        <a:pt x="98" y="25"/>
                      </a:cubicBezTo>
                      <a:cubicBezTo>
                        <a:pt x="99" y="26"/>
                        <a:pt x="105" y="26"/>
                        <a:pt x="105" y="27"/>
                      </a:cubicBezTo>
                      <a:cubicBezTo>
                        <a:pt x="105" y="28"/>
                        <a:pt x="98" y="31"/>
                        <a:pt x="98" y="31"/>
                      </a:cubicBezTo>
                      <a:cubicBezTo>
                        <a:pt x="98" y="31"/>
                        <a:pt x="91" y="33"/>
                        <a:pt x="86" y="33"/>
                      </a:cubicBezTo>
                      <a:cubicBezTo>
                        <a:pt x="81" y="33"/>
                        <a:pt x="77" y="31"/>
                        <a:pt x="77" y="31"/>
                      </a:cubicBezTo>
                      <a:cubicBezTo>
                        <a:pt x="77" y="31"/>
                        <a:pt x="77" y="27"/>
                        <a:pt x="75" y="27"/>
                      </a:cubicBezTo>
                      <a:cubicBezTo>
                        <a:pt x="74" y="27"/>
                        <a:pt x="71" y="32"/>
                        <a:pt x="68" y="32"/>
                      </a:cubicBezTo>
                      <a:cubicBezTo>
                        <a:pt x="66" y="32"/>
                        <a:pt x="60" y="34"/>
                        <a:pt x="53" y="33"/>
                      </a:cubicBezTo>
                      <a:cubicBezTo>
                        <a:pt x="46" y="33"/>
                        <a:pt x="38" y="33"/>
                        <a:pt x="36" y="33"/>
                      </a:cubicBezTo>
                      <a:cubicBezTo>
                        <a:pt x="35" y="33"/>
                        <a:pt x="36" y="28"/>
                        <a:pt x="34" y="27"/>
                      </a:cubicBezTo>
                      <a:cubicBezTo>
                        <a:pt x="32" y="27"/>
                        <a:pt x="29" y="32"/>
                        <a:pt x="27" y="32"/>
                      </a:cubicBezTo>
                      <a:cubicBezTo>
                        <a:pt x="25" y="32"/>
                        <a:pt x="20" y="31"/>
                        <a:pt x="18" y="31"/>
                      </a:cubicBezTo>
                      <a:cubicBezTo>
                        <a:pt x="16" y="30"/>
                        <a:pt x="10" y="32"/>
                        <a:pt x="9" y="29"/>
                      </a:cubicBezTo>
                      <a:cubicBezTo>
                        <a:pt x="7" y="26"/>
                        <a:pt x="6" y="24"/>
                        <a:pt x="6" y="22"/>
                      </a:cubicBezTo>
                      <a:cubicBezTo>
                        <a:pt x="6" y="20"/>
                        <a:pt x="8" y="17"/>
                        <a:pt x="8" y="16"/>
                      </a:cubicBezTo>
                      <a:cubicBezTo>
                        <a:pt x="7" y="14"/>
                        <a:pt x="5" y="10"/>
                        <a:pt x="5" y="10"/>
                      </a:cubicBezTo>
                      <a:cubicBezTo>
                        <a:pt x="2" y="9"/>
                        <a:pt x="0" y="7"/>
                        <a:pt x="1" y="5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0" name="Freeform 238"/>
                <p:cNvSpPr>
                  <a:spLocks/>
                </p:cNvSpPr>
                <p:nvPr/>
              </p:nvSpPr>
              <p:spPr bwMode="auto">
                <a:xfrm>
                  <a:off x="1224" y="1080"/>
                  <a:ext cx="56" cy="35"/>
                </a:xfrm>
                <a:custGeom>
                  <a:avLst/>
                  <a:gdLst>
                    <a:gd name="T0" fmla="*/ 0 w 28"/>
                    <a:gd name="T1" fmla="*/ 1062083 h 17"/>
                    <a:gd name="T2" fmla="*/ 131072 w 28"/>
                    <a:gd name="T3" fmla="*/ 394182 h 17"/>
                    <a:gd name="T4" fmla="*/ 655360 w 28"/>
                    <a:gd name="T5" fmla="*/ 0 h 17"/>
                    <a:gd name="T6" fmla="*/ 1310720 w 28"/>
                    <a:gd name="T7" fmla="*/ 92995 h 17"/>
                    <a:gd name="T8" fmla="*/ 1703936 w 28"/>
                    <a:gd name="T9" fmla="*/ 957839 h 17"/>
                    <a:gd name="T10" fmla="*/ 1441792 w 28"/>
                    <a:gd name="T11" fmla="*/ 1769324 h 17"/>
                    <a:gd name="T12" fmla="*/ 655360 w 28"/>
                    <a:gd name="T13" fmla="*/ 1670840 h 17"/>
                    <a:gd name="T14" fmla="*/ 0 w 28"/>
                    <a:gd name="T15" fmla="*/ 1062083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8" h="17">
                      <a:moveTo>
                        <a:pt x="0" y="10"/>
                      </a:moveTo>
                      <a:cubicBezTo>
                        <a:pt x="0" y="10"/>
                        <a:pt x="0" y="5"/>
                        <a:pt x="2" y="4"/>
                      </a:cubicBezTo>
                      <a:cubicBezTo>
                        <a:pt x="6" y="2"/>
                        <a:pt x="8" y="0"/>
                        <a:pt x="10" y="0"/>
                      </a:cubicBezTo>
                      <a:cubicBezTo>
                        <a:pt x="10" y="0"/>
                        <a:pt x="16" y="0"/>
                        <a:pt x="20" y="1"/>
                      </a:cubicBezTo>
                      <a:cubicBezTo>
                        <a:pt x="24" y="2"/>
                        <a:pt x="24" y="6"/>
                        <a:pt x="26" y="9"/>
                      </a:cubicBezTo>
                      <a:cubicBezTo>
                        <a:pt x="28" y="12"/>
                        <a:pt x="26" y="17"/>
                        <a:pt x="22" y="17"/>
                      </a:cubicBezTo>
                      <a:cubicBezTo>
                        <a:pt x="18" y="17"/>
                        <a:pt x="14" y="16"/>
                        <a:pt x="10" y="16"/>
                      </a:cubicBezTo>
                      <a:cubicBezTo>
                        <a:pt x="6" y="16"/>
                        <a:pt x="0" y="10"/>
                        <a:pt x="0" y="10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1" name="Freeform 239"/>
                <p:cNvSpPr>
                  <a:spLocks/>
                </p:cNvSpPr>
                <p:nvPr/>
              </p:nvSpPr>
              <p:spPr bwMode="auto">
                <a:xfrm>
                  <a:off x="1222" y="888"/>
                  <a:ext cx="180" cy="116"/>
                </a:xfrm>
                <a:custGeom>
                  <a:avLst/>
                  <a:gdLst>
                    <a:gd name="T0" fmla="*/ 613588 w 89"/>
                    <a:gd name="T1" fmla="*/ 2846477 h 57"/>
                    <a:gd name="T2" fmla="*/ 74170 w 89"/>
                    <a:gd name="T3" fmla="*/ 2003300 h 57"/>
                    <a:gd name="T4" fmla="*/ 379834 w 89"/>
                    <a:gd name="T5" fmla="*/ 1312575 h 57"/>
                    <a:gd name="T6" fmla="*/ 1166788 w 89"/>
                    <a:gd name="T7" fmla="*/ 1312575 h 57"/>
                    <a:gd name="T8" fmla="*/ 1401998 w 89"/>
                    <a:gd name="T9" fmla="*/ 1190414 h 57"/>
                    <a:gd name="T10" fmla="*/ 1324883 w 89"/>
                    <a:gd name="T11" fmla="*/ 944169 h 57"/>
                    <a:gd name="T12" fmla="*/ 842956 w 89"/>
                    <a:gd name="T13" fmla="*/ 584945 h 57"/>
                    <a:gd name="T14" fmla="*/ 1479499 w 89"/>
                    <a:gd name="T15" fmla="*/ 506023 h 57"/>
                    <a:gd name="T16" fmla="*/ 2047089 w 89"/>
                    <a:gd name="T17" fmla="*/ 506023 h 57"/>
                    <a:gd name="T18" fmla="*/ 1479499 w 89"/>
                    <a:gd name="T19" fmla="*/ 81544 h 57"/>
                    <a:gd name="T20" fmla="*/ 2121850 w 89"/>
                    <a:gd name="T21" fmla="*/ 0 h 57"/>
                    <a:gd name="T22" fmla="*/ 2992245 w 89"/>
                    <a:gd name="T23" fmla="*/ 419265 h 57"/>
                    <a:gd name="T24" fmla="*/ 3601416 w 89"/>
                    <a:gd name="T25" fmla="*/ 1190414 h 57"/>
                    <a:gd name="T26" fmla="*/ 4538836 w 89"/>
                    <a:gd name="T27" fmla="*/ 1312575 h 57"/>
                    <a:gd name="T28" fmla="*/ 4538836 w 89"/>
                    <a:gd name="T29" fmla="*/ 1837654 h 57"/>
                    <a:gd name="T30" fmla="*/ 4928596 w 89"/>
                    <a:gd name="T31" fmla="*/ 1837654 h 57"/>
                    <a:gd name="T32" fmla="*/ 5002795 w 89"/>
                    <a:gd name="T33" fmla="*/ 1478392 h 57"/>
                    <a:gd name="T34" fmla="*/ 5492959 w 89"/>
                    <a:gd name="T35" fmla="*/ 1569315 h 57"/>
                    <a:gd name="T36" fmla="*/ 5419292 w 89"/>
                    <a:gd name="T37" fmla="*/ 2003300 h 57"/>
                    <a:gd name="T38" fmla="*/ 5807825 w 89"/>
                    <a:gd name="T39" fmla="*/ 2340471 h 57"/>
                    <a:gd name="T40" fmla="*/ 5578368 w 89"/>
                    <a:gd name="T41" fmla="*/ 2759732 h 57"/>
                    <a:gd name="T42" fmla="*/ 5807825 w 89"/>
                    <a:gd name="T43" fmla="*/ 2925406 h 57"/>
                    <a:gd name="T44" fmla="*/ 6206198 w 89"/>
                    <a:gd name="T45" fmla="*/ 2671205 h 57"/>
                    <a:gd name="T46" fmla="*/ 6669983 w 89"/>
                    <a:gd name="T47" fmla="*/ 2846477 h 57"/>
                    <a:gd name="T48" fmla="*/ 6973526 w 89"/>
                    <a:gd name="T49" fmla="*/ 3193694 h 57"/>
                    <a:gd name="T50" fmla="*/ 6129212 w 89"/>
                    <a:gd name="T51" fmla="*/ 3451810 h 57"/>
                    <a:gd name="T52" fmla="*/ 5419292 w 89"/>
                    <a:gd name="T53" fmla="*/ 3997816 h 57"/>
                    <a:gd name="T54" fmla="*/ 4851546 w 89"/>
                    <a:gd name="T55" fmla="*/ 4683992 h 57"/>
                    <a:gd name="T56" fmla="*/ 4214933 w 89"/>
                    <a:gd name="T57" fmla="*/ 4344072 h 57"/>
                    <a:gd name="T58" fmla="*/ 3911548 w 89"/>
                    <a:gd name="T59" fmla="*/ 4344072 h 57"/>
                    <a:gd name="T60" fmla="*/ 3985748 w 89"/>
                    <a:gd name="T61" fmla="*/ 4602685 h 57"/>
                    <a:gd name="T62" fmla="*/ 3677778 w 89"/>
                    <a:gd name="T63" fmla="*/ 4930197 h 57"/>
                    <a:gd name="T64" fmla="*/ 2679539 w 89"/>
                    <a:gd name="T65" fmla="*/ 4683992 h 57"/>
                    <a:gd name="T66" fmla="*/ 1970731 w 89"/>
                    <a:gd name="T67" fmla="*/ 4076891 h 57"/>
                    <a:gd name="T68" fmla="*/ 1479499 w 89"/>
                    <a:gd name="T69" fmla="*/ 3613013 h 57"/>
                    <a:gd name="T70" fmla="*/ 2121850 w 89"/>
                    <a:gd name="T71" fmla="*/ 3370543 h 57"/>
                    <a:gd name="T72" fmla="*/ 2908187 w 89"/>
                    <a:gd name="T73" fmla="*/ 3370543 h 57"/>
                    <a:gd name="T74" fmla="*/ 2509815 w 89"/>
                    <a:gd name="T75" fmla="*/ 2925406 h 57"/>
                    <a:gd name="T76" fmla="*/ 2121850 w 89"/>
                    <a:gd name="T77" fmla="*/ 2925406 h 57"/>
                    <a:gd name="T78" fmla="*/ 1240964 w 89"/>
                    <a:gd name="T79" fmla="*/ 3114781 h 57"/>
                    <a:gd name="T80" fmla="*/ 613588 w 89"/>
                    <a:gd name="T81" fmla="*/ 2846477 h 57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89" h="57">
                      <a:moveTo>
                        <a:pt x="8" y="33"/>
                      </a:moveTo>
                      <a:cubicBezTo>
                        <a:pt x="7" y="32"/>
                        <a:pt x="0" y="27"/>
                        <a:pt x="1" y="23"/>
                      </a:cubicBezTo>
                      <a:cubicBezTo>
                        <a:pt x="2" y="19"/>
                        <a:pt x="3" y="17"/>
                        <a:pt x="5" y="15"/>
                      </a:cubicBezTo>
                      <a:cubicBezTo>
                        <a:pt x="6" y="14"/>
                        <a:pt x="14" y="15"/>
                        <a:pt x="15" y="15"/>
                      </a:cubicBezTo>
                      <a:cubicBezTo>
                        <a:pt x="16" y="16"/>
                        <a:pt x="18" y="15"/>
                        <a:pt x="18" y="14"/>
                      </a:cubicBezTo>
                      <a:cubicBezTo>
                        <a:pt x="18" y="13"/>
                        <a:pt x="18" y="12"/>
                        <a:pt x="17" y="11"/>
                      </a:cubicBezTo>
                      <a:cubicBezTo>
                        <a:pt x="16" y="10"/>
                        <a:pt x="10" y="9"/>
                        <a:pt x="11" y="7"/>
                      </a:cubicBezTo>
                      <a:cubicBezTo>
                        <a:pt x="12" y="6"/>
                        <a:pt x="18" y="6"/>
                        <a:pt x="19" y="6"/>
                      </a:cubicBezTo>
                      <a:cubicBezTo>
                        <a:pt x="21" y="6"/>
                        <a:pt x="25" y="6"/>
                        <a:pt x="26" y="6"/>
                      </a:cubicBezTo>
                      <a:cubicBezTo>
                        <a:pt x="26" y="5"/>
                        <a:pt x="19" y="2"/>
                        <a:pt x="19" y="1"/>
                      </a:cubicBezTo>
                      <a:cubicBezTo>
                        <a:pt x="19" y="0"/>
                        <a:pt x="23" y="0"/>
                        <a:pt x="27" y="0"/>
                      </a:cubicBezTo>
                      <a:cubicBezTo>
                        <a:pt x="30" y="1"/>
                        <a:pt x="37" y="3"/>
                        <a:pt x="38" y="5"/>
                      </a:cubicBezTo>
                      <a:cubicBezTo>
                        <a:pt x="39" y="6"/>
                        <a:pt x="43" y="14"/>
                        <a:pt x="46" y="14"/>
                      </a:cubicBezTo>
                      <a:cubicBezTo>
                        <a:pt x="50" y="15"/>
                        <a:pt x="57" y="15"/>
                        <a:pt x="58" y="15"/>
                      </a:cubicBezTo>
                      <a:cubicBezTo>
                        <a:pt x="59" y="16"/>
                        <a:pt x="56" y="21"/>
                        <a:pt x="58" y="21"/>
                      </a:cubicBezTo>
                      <a:cubicBezTo>
                        <a:pt x="60" y="22"/>
                        <a:pt x="63" y="23"/>
                        <a:pt x="63" y="21"/>
                      </a:cubicBezTo>
                      <a:cubicBezTo>
                        <a:pt x="64" y="20"/>
                        <a:pt x="63" y="17"/>
                        <a:pt x="64" y="17"/>
                      </a:cubicBezTo>
                      <a:cubicBezTo>
                        <a:pt x="66" y="17"/>
                        <a:pt x="70" y="16"/>
                        <a:pt x="70" y="18"/>
                      </a:cubicBezTo>
                      <a:cubicBezTo>
                        <a:pt x="70" y="20"/>
                        <a:pt x="69" y="23"/>
                        <a:pt x="69" y="23"/>
                      </a:cubicBezTo>
                      <a:cubicBezTo>
                        <a:pt x="69" y="23"/>
                        <a:pt x="74" y="25"/>
                        <a:pt x="74" y="27"/>
                      </a:cubicBezTo>
                      <a:cubicBezTo>
                        <a:pt x="74" y="29"/>
                        <a:pt x="68" y="31"/>
                        <a:pt x="71" y="32"/>
                      </a:cubicBezTo>
                      <a:cubicBezTo>
                        <a:pt x="73" y="33"/>
                        <a:pt x="73" y="34"/>
                        <a:pt x="74" y="34"/>
                      </a:cubicBezTo>
                      <a:cubicBezTo>
                        <a:pt x="75" y="34"/>
                        <a:pt x="78" y="31"/>
                        <a:pt x="79" y="31"/>
                      </a:cubicBezTo>
                      <a:cubicBezTo>
                        <a:pt x="80" y="31"/>
                        <a:pt x="84" y="32"/>
                        <a:pt x="85" y="33"/>
                      </a:cubicBezTo>
                      <a:cubicBezTo>
                        <a:pt x="87" y="34"/>
                        <a:pt x="89" y="35"/>
                        <a:pt x="89" y="37"/>
                      </a:cubicBezTo>
                      <a:cubicBezTo>
                        <a:pt x="89" y="38"/>
                        <a:pt x="80" y="39"/>
                        <a:pt x="78" y="40"/>
                      </a:cubicBezTo>
                      <a:cubicBezTo>
                        <a:pt x="75" y="41"/>
                        <a:pt x="71" y="46"/>
                        <a:pt x="69" y="46"/>
                      </a:cubicBezTo>
                      <a:cubicBezTo>
                        <a:pt x="67" y="47"/>
                        <a:pt x="63" y="54"/>
                        <a:pt x="62" y="54"/>
                      </a:cubicBezTo>
                      <a:cubicBezTo>
                        <a:pt x="60" y="54"/>
                        <a:pt x="56" y="52"/>
                        <a:pt x="54" y="50"/>
                      </a:cubicBezTo>
                      <a:cubicBezTo>
                        <a:pt x="53" y="48"/>
                        <a:pt x="50" y="48"/>
                        <a:pt x="50" y="50"/>
                      </a:cubicBezTo>
                      <a:cubicBezTo>
                        <a:pt x="50" y="51"/>
                        <a:pt x="52" y="52"/>
                        <a:pt x="51" y="53"/>
                      </a:cubicBezTo>
                      <a:cubicBezTo>
                        <a:pt x="50" y="55"/>
                        <a:pt x="50" y="57"/>
                        <a:pt x="47" y="57"/>
                      </a:cubicBezTo>
                      <a:cubicBezTo>
                        <a:pt x="45" y="56"/>
                        <a:pt x="34" y="54"/>
                        <a:pt x="34" y="54"/>
                      </a:cubicBezTo>
                      <a:cubicBezTo>
                        <a:pt x="30" y="52"/>
                        <a:pt x="27" y="49"/>
                        <a:pt x="25" y="47"/>
                      </a:cubicBezTo>
                      <a:cubicBezTo>
                        <a:pt x="23" y="45"/>
                        <a:pt x="20" y="43"/>
                        <a:pt x="19" y="42"/>
                      </a:cubicBezTo>
                      <a:cubicBezTo>
                        <a:pt x="19" y="41"/>
                        <a:pt x="26" y="39"/>
                        <a:pt x="27" y="39"/>
                      </a:cubicBezTo>
                      <a:cubicBezTo>
                        <a:pt x="29" y="39"/>
                        <a:pt x="36" y="40"/>
                        <a:pt x="37" y="39"/>
                      </a:cubicBezTo>
                      <a:cubicBezTo>
                        <a:pt x="37" y="38"/>
                        <a:pt x="33" y="35"/>
                        <a:pt x="32" y="34"/>
                      </a:cubicBezTo>
                      <a:cubicBezTo>
                        <a:pt x="31" y="33"/>
                        <a:pt x="29" y="34"/>
                        <a:pt x="27" y="34"/>
                      </a:cubicBezTo>
                      <a:cubicBezTo>
                        <a:pt x="25" y="34"/>
                        <a:pt x="19" y="36"/>
                        <a:pt x="16" y="36"/>
                      </a:cubicBezTo>
                      <a:cubicBezTo>
                        <a:pt x="13" y="36"/>
                        <a:pt x="10" y="35"/>
                        <a:pt x="8" y="33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2" name="Freeform 240"/>
                <p:cNvSpPr>
                  <a:spLocks/>
                </p:cNvSpPr>
                <p:nvPr/>
              </p:nvSpPr>
              <p:spPr bwMode="auto">
                <a:xfrm>
                  <a:off x="1217" y="1032"/>
                  <a:ext cx="55" cy="30"/>
                </a:xfrm>
                <a:custGeom>
                  <a:avLst/>
                  <a:gdLst>
                    <a:gd name="T0" fmla="*/ 610962 w 27"/>
                    <a:gd name="T1" fmla="*/ 720896 h 15"/>
                    <a:gd name="T2" fmla="*/ 0 w 27"/>
                    <a:gd name="T3" fmla="*/ 196608 h 15"/>
                    <a:gd name="T4" fmla="*/ 954904 w 27"/>
                    <a:gd name="T5" fmla="*/ 65536 h 15"/>
                    <a:gd name="T6" fmla="*/ 1864881 w 27"/>
                    <a:gd name="T7" fmla="*/ 196608 h 15"/>
                    <a:gd name="T8" fmla="*/ 2368047 w 27"/>
                    <a:gd name="T9" fmla="*/ 524288 h 15"/>
                    <a:gd name="T10" fmla="*/ 1945175 w 27"/>
                    <a:gd name="T11" fmla="*/ 983040 h 15"/>
                    <a:gd name="T12" fmla="*/ 610962 w 27"/>
                    <a:gd name="T13" fmla="*/ 720896 h 1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7" h="15">
                      <a:moveTo>
                        <a:pt x="7" y="11"/>
                      </a:moveTo>
                      <a:cubicBezTo>
                        <a:pt x="5" y="11"/>
                        <a:pt x="0" y="6"/>
                        <a:pt x="0" y="3"/>
                      </a:cubicBezTo>
                      <a:cubicBezTo>
                        <a:pt x="0" y="0"/>
                        <a:pt x="8" y="1"/>
                        <a:pt x="11" y="1"/>
                      </a:cubicBezTo>
                      <a:cubicBezTo>
                        <a:pt x="11" y="1"/>
                        <a:pt x="17" y="3"/>
                        <a:pt x="21" y="3"/>
                      </a:cubicBezTo>
                      <a:cubicBezTo>
                        <a:pt x="25" y="3"/>
                        <a:pt x="27" y="6"/>
                        <a:pt x="27" y="8"/>
                      </a:cubicBezTo>
                      <a:cubicBezTo>
                        <a:pt x="27" y="11"/>
                        <a:pt x="25" y="15"/>
                        <a:pt x="22" y="15"/>
                      </a:cubicBezTo>
                      <a:cubicBezTo>
                        <a:pt x="19" y="15"/>
                        <a:pt x="9" y="12"/>
                        <a:pt x="7" y="11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3" name="Freeform 241"/>
                <p:cNvSpPr>
                  <a:spLocks/>
                </p:cNvSpPr>
                <p:nvPr/>
              </p:nvSpPr>
              <p:spPr bwMode="auto">
                <a:xfrm>
                  <a:off x="1195" y="977"/>
                  <a:ext cx="57" cy="33"/>
                </a:xfrm>
                <a:custGeom>
                  <a:avLst/>
                  <a:gdLst>
                    <a:gd name="T0" fmla="*/ 0 w 28"/>
                    <a:gd name="T1" fmla="*/ 308131 h 16"/>
                    <a:gd name="T2" fmla="*/ 773979 w 28"/>
                    <a:gd name="T3" fmla="*/ 0 h 16"/>
                    <a:gd name="T4" fmla="*/ 2351908 w 28"/>
                    <a:gd name="T5" fmla="*/ 635520 h 16"/>
                    <a:gd name="T6" fmla="*/ 2351908 w 28"/>
                    <a:gd name="T7" fmla="*/ 1310760 h 16"/>
                    <a:gd name="T8" fmla="*/ 1741887 w 28"/>
                    <a:gd name="T9" fmla="*/ 1711980 h 16"/>
                    <a:gd name="T10" fmla="*/ 948568 w 28"/>
                    <a:gd name="T11" fmla="*/ 1711980 h 16"/>
                    <a:gd name="T12" fmla="*/ 0 w 28"/>
                    <a:gd name="T13" fmla="*/ 308131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8" h="16">
                      <a:moveTo>
                        <a:pt x="0" y="3"/>
                      </a:moveTo>
                      <a:cubicBezTo>
                        <a:pt x="0" y="1"/>
                        <a:pt x="6" y="0"/>
                        <a:pt x="9" y="0"/>
                      </a:cubicBezTo>
                      <a:cubicBezTo>
                        <a:pt x="12" y="1"/>
                        <a:pt x="26" y="5"/>
                        <a:pt x="27" y="6"/>
                      </a:cubicBezTo>
                      <a:cubicBezTo>
                        <a:pt x="28" y="8"/>
                        <a:pt x="27" y="12"/>
                        <a:pt x="27" y="12"/>
                      </a:cubicBezTo>
                      <a:cubicBezTo>
                        <a:pt x="27" y="12"/>
                        <a:pt x="22" y="15"/>
                        <a:pt x="20" y="16"/>
                      </a:cubicBezTo>
                      <a:cubicBezTo>
                        <a:pt x="18" y="16"/>
                        <a:pt x="11" y="16"/>
                        <a:pt x="11" y="16"/>
                      </a:cubicBezTo>
                      <a:cubicBezTo>
                        <a:pt x="9" y="14"/>
                        <a:pt x="0" y="5"/>
                        <a:pt x="0" y="3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4" name="Freeform 242"/>
                <p:cNvSpPr>
                  <a:spLocks/>
                </p:cNvSpPr>
                <p:nvPr/>
              </p:nvSpPr>
              <p:spPr bwMode="auto">
                <a:xfrm>
                  <a:off x="1128" y="1131"/>
                  <a:ext cx="100" cy="85"/>
                </a:xfrm>
                <a:custGeom>
                  <a:avLst/>
                  <a:gdLst>
                    <a:gd name="T0" fmla="*/ 350612 w 49"/>
                    <a:gd name="T1" fmla="*/ 1756440 h 42"/>
                    <a:gd name="T2" fmla="*/ 0 w 49"/>
                    <a:gd name="T3" fmla="*/ 1567534 h 42"/>
                    <a:gd name="T4" fmla="*/ 255531 w 49"/>
                    <a:gd name="T5" fmla="*/ 1175398 h 42"/>
                    <a:gd name="T6" fmla="*/ 982433 w 49"/>
                    <a:gd name="T7" fmla="*/ 1492647 h 42"/>
                    <a:gd name="T8" fmla="*/ 1545239 w 49"/>
                    <a:gd name="T9" fmla="*/ 1492647 h 42"/>
                    <a:gd name="T10" fmla="*/ 1739871 w 49"/>
                    <a:gd name="T11" fmla="*/ 1175398 h 42"/>
                    <a:gd name="T12" fmla="*/ 1649637 w 49"/>
                    <a:gd name="T13" fmla="*/ 945591 h 42"/>
                    <a:gd name="T14" fmla="*/ 808322 w 49"/>
                    <a:gd name="T15" fmla="*/ 622595 h 42"/>
                    <a:gd name="T16" fmla="*/ 1460276 w 49"/>
                    <a:gd name="T17" fmla="*/ 230868 h 42"/>
                    <a:gd name="T18" fmla="*/ 2437410 w 49"/>
                    <a:gd name="T19" fmla="*/ 152008 h 42"/>
                    <a:gd name="T20" fmla="*/ 3550757 w 49"/>
                    <a:gd name="T21" fmla="*/ 75110 h 42"/>
                    <a:gd name="T22" fmla="*/ 4091765 w 49"/>
                    <a:gd name="T23" fmla="*/ 467233 h 42"/>
                    <a:gd name="T24" fmla="*/ 3715894 w 49"/>
                    <a:gd name="T25" fmla="*/ 774546 h 42"/>
                    <a:gd name="T26" fmla="*/ 4258780 w 49"/>
                    <a:gd name="T27" fmla="*/ 1260014 h 42"/>
                    <a:gd name="T28" fmla="*/ 4432608 w 49"/>
                    <a:gd name="T29" fmla="*/ 1836190 h 42"/>
                    <a:gd name="T30" fmla="*/ 4258780 w 49"/>
                    <a:gd name="T31" fmla="*/ 2148401 h 42"/>
                    <a:gd name="T32" fmla="*/ 4258780 w 49"/>
                    <a:gd name="T33" fmla="*/ 2628971 h 42"/>
                    <a:gd name="T34" fmla="*/ 3235694 w 49"/>
                    <a:gd name="T35" fmla="*/ 2779852 h 42"/>
                    <a:gd name="T36" fmla="*/ 3153549 w 49"/>
                    <a:gd name="T37" fmla="*/ 3098477 h 42"/>
                    <a:gd name="T38" fmla="*/ 2609143 w 49"/>
                    <a:gd name="T39" fmla="*/ 3172390 h 42"/>
                    <a:gd name="T40" fmla="*/ 2171978 w 49"/>
                    <a:gd name="T41" fmla="*/ 2628971 h 42"/>
                    <a:gd name="T42" fmla="*/ 1820788 w 49"/>
                    <a:gd name="T43" fmla="*/ 2472257 h 42"/>
                    <a:gd name="T44" fmla="*/ 1064269 w 49"/>
                    <a:gd name="T45" fmla="*/ 2071535 h 42"/>
                    <a:gd name="T46" fmla="*/ 626455 w 49"/>
                    <a:gd name="T47" fmla="*/ 2071535 h 42"/>
                    <a:gd name="T48" fmla="*/ 350612 w 49"/>
                    <a:gd name="T49" fmla="*/ 1756440 h 4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49" h="42">
                      <a:moveTo>
                        <a:pt x="4" y="22"/>
                      </a:moveTo>
                      <a:cubicBezTo>
                        <a:pt x="3" y="22"/>
                        <a:pt x="1" y="22"/>
                        <a:pt x="0" y="20"/>
                      </a:cubicBezTo>
                      <a:cubicBezTo>
                        <a:pt x="0" y="18"/>
                        <a:pt x="1" y="15"/>
                        <a:pt x="3" y="15"/>
                      </a:cubicBezTo>
                      <a:cubicBezTo>
                        <a:pt x="5" y="14"/>
                        <a:pt x="11" y="18"/>
                        <a:pt x="11" y="19"/>
                      </a:cubicBezTo>
                      <a:cubicBezTo>
                        <a:pt x="12" y="19"/>
                        <a:pt x="16" y="20"/>
                        <a:pt x="17" y="19"/>
                      </a:cubicBezTo>
                      <a:cubicBezTo>
                        <a:pt x="18" y="19"/>
                        <a:pt x="20" y="17"/>
                        <a:pt x="19" y="15"/>
                      </a:cubicBezTo>
                      <a:cubicBezTo>
                        <a:pt x="18" y="13"/>
                        <a:pt x="19" y="12"/>
                        <a:pt x="18" y="12"/>
                      </a:cubicBezTo>
                      <a:cubicBezTo>
                        <a:pt x="17" y="11"/>
                        <a:pt x="9" y="10"/>
                        <a:pt x="9" y="8"/>
                      </a:cubicBezTo>
                      <a:cubicBezTo>
                        <a:pt x="9" y="7"/>
                        <a:pt x="14" y="3"/>
                        <a:pt x="16" y="3"/>
                      </a:cubicBezTo>
                      <a:cubicBezTo>
                        <a:pt x="19" y="2"/>
                        <a:pt x="26" y="3"/>
                        <a:pt x="27" y="2"/>
                      </a:cubicBezTo>
                      <a:cubicBezTo>
                        <a:pt x="29" y="2"/>
                        <a:pt x="39" y="1"/>
                        <a:pt x="39" y="1"/>
                      </a:cubicBezTo>
                      <a:cubicBezTo>
                        <a:pt x="41" y="0"/>
                        <a:pt x="44" y="5"/>
                        <a:pt x="45" y="6"/>
                      </a:cubicBezTo>
                      <a:cubicBezTo>
                        <a:pt x="45" y="6"/>
                        <a:pt x="40" y="8"/>
                        <a:pt x="41" y="10"/>
                      </a:cubicBezTo>
                      <a:cubicBezTo>
                        <a:pt x="42" y="11"/>
                        <a:pt x="47" y="14"/>
                        <a:pt x="47" y="16"/>
                      </a:cubicBezTo>
                      <a:cubicBezTo>
                        <a:pt x="47" y="17"/>
                        <a:pt x="49" y="22"/>
                        <a:pt x="49" y="23"/>
                      </a:cubicBezTo>
                      <a:cubicBezTo>
                        <a:pt x="49" y="24"/>
                        <a:pt x="46" y="25"/>
                        <a:pt x="47" y="27"/>
                      </a:cubicBezTo>
                      <a:cubicBezTo>
                        <a:pt x="47" y="28"/>
                        <a:pt x="47" y="32"/>
                        <a:pt x="47" y="33"/>
                      </a:cubicBezTo>
                      <a:cubicBezTo>
                        <a:pt x="47" y="34"/>
                        <a:pt x="38" y="36"/>
                        <a:pt x="36" y="35"/>
                      </a:cubicBezTo>
                      <a:cubicBezTo>
                        <a:pt x="34" y="34"/>
                        <a:pt x="36" y="37"/>
                        <a:pt x="35" y="39"/>
                      </a:cubicBezTo>
                      <a:cubicBezTo>
                        <a:pt x="33" y="40"/>
                        <a:pt x="31" y="42"/>
                        <a:pt x="29" y="40"/>
                      </a:cubicBezTo>
                      <a:cubicBezTo>
                        <a:pt x="26" y="39"/>
                        <a:pt x="25" y="34"/>
                        <a:pt x="24" y="33"/>
                      </a:cubicBezTo>
                      <a:cubicBezTo>
                        <a:pt x="23" y="32"/>
                        <a:pt x="20" y="31"/>
                        <a:pt x="20" y="31"/>
                      </a:cubicBezTo>
                      <a:cubicBezTo>
                        <a:pt x="19" y="30"/>
                        <a:pt x="14" y="26"/>
                        <a:pt x="12" y="26"/>
                      </a:cubicBezTo>
                      <a:cubicBezTo>
                        <a:pt x="10" y="27"/>
                        <a:pt x="9" y="27"/>
                        <a:pt x="7" y="26"/>
                      </a:cubicBezTo>
                      <a:cubicBezTo>
                        <a:pt x="6" y="25"/>
                        <a:pt x="5" y="23"/>
                        <a:pt x="4" y="22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5" name="Freeform 243"/>
                <p:cNvSpPr>
                  <a:spLocks/>
                </p:cNvSpPr>
                <p:nvPr/>
              </p:nvSpPr>
              <p:spPr bwMode="auto">
                <a:xfrm>
                  <a:off x="1100" y="1046"/>
                  <a:ext cx="113" cy="59"/>
                </a:xfrm>
                <a:custGeom>
                  <a:avLst/>
                  <a:gdLst>
                    <a:gd name="T0" fmla="*/ 0 w 56"/>
                    <a:gd name="T1" fmla="*/ 685021 h 29"/>
                    <a:gd name="T2" fmla="*/ 0 w 56"/>
                    <a:gd name="T3" fmla="*/ 246567 h 29"/>
                    <a:gd name="T4" fmla="*/ 819056 w 56"/>
                    <a:gd name="T5" fmla="*/ 417940 h 29"/>
                    <a:gd name="T6" fmla="*/ 1275651 w 56"/>
                    <a:gd name="T7" fmla="*/ 1020570 h 29"/>
                    <a:gd name="T8" fmla="*/ 1728359 w 56"/>
                    <a:gd name="T9" fmla="*/ 1307076 h 29"/>
                    <a:gd name="T10" fmla="*/ 1581316 w 56"/>
                    <a:gd name="T11" fmla="*/ 501636 h 29"/>
                    <a:gd name="T12" fmla="*/ 1950782 w 56"/>
                    <a:gd name="T13" fmla="*/ 583551 h 29"/>
                    <a:gd name="T14" fmla="*/ 2731018 w 56"/>
                    <a:gd name="T15" fmla="*/ 1187224 h 29"/>
                    <a:gd name="T16" fmla="*/ 2731018 w 56"/>
                    <a:gd name="T17" fmla="*/ 685021 h 29"/>
                    <a:gd name="T18" fmla="*/ 2278403 w 56"/>
                    <a:gd name="T19" fmla="*/ 246567 h 29"/>
                    <a:gd name="T20" fmla="*/ 2731018 w 56"/>
                    <a:gd name="T21" fmla="*/ 0 h 29"/>
                    <a:gd name="T22" fmla="*/ 3412231 w 56"/>
                    <a:gd name="T23" fmla="*/ 165499 h 29"/>
                    <a:gd name="T24" fmla="*/ 4011201 w 56"/>
                    <a:gd name="T25" fmla="*/ 501636 h 29"/>
                    <a:gd name="T26" fmla="*/ 4011201 w 56"/>
                    <a:gd name="T27" fmla="*/ 1307076 h 29"/>
                    <a:gd name="T28" fmla="*/ 4229120 w 56"/>
                    <a:gd name="T29" fmla="*/ 1564489 h 29"/>
                    <a:gd name="T30" fmla="*/ 4155462 w 56"/>
                    <a:gd name="T31" fmla="*/ 1910733 h 29"/>
                    <a:gd name="T32" fmla="*/ 3787088 w 56"/>
                    <a:gd name="T33" fmla="*/ 1997386 h 29"/>
                    <a:gd name="T34" fmla="*/ 3864646 w 56"/>
                    <a:gd name="T35" fmla="*/ 2333743 h 29"/>
                    <a:gd name="T36" fmla="*/ 2574081 w 56"/>
                    <a:gd name="T37" fmla="*/ 2415387 h 29"/>
                    <a:gd name="T38" fmla="*/ 2356161 w 56"/>
                    <a:gd name="T39" fmla="*/ 1997386 h 29"/>
                    <a:gd name="T40" fmla="*/ 2655847 w 56"/>
                    <a:gd name="T41" fmla="*/ 1564489 h 29"/>
                    <a:gd name="T42" fmla="*/ 1728359 w 56"/>
                    <a:gd name="T43" fmla="*/ 1729904 h 29"/>
                    <a:gd name="T44" fmla="*/ 1129120 w 56"/>
                    <a:gd name="T45" fmla="*/ 1729904 h 29"/>
                    <a:gd name="T46" fmla="*/ 966759 w 56"/>
                    <a:gd name="T47" fmla="*/ 1393663 h 29"/>
                    <a:gd name="T48" fmla="*/ 368305 w 56"/>
                    <a:gd name="T49" fmla="*/ 1187224 h 29"/>
                    <a:gd name="T50" fmla="*/ 368305 w 56"/>
                    <a:gd name="T51" fmla="*/ 850292 h 29"/>
                    <a:gd name="T52" fmla="*/ 0 w 56"/>
                    <a:gd name="T53" fmla="*/ 685021 h 29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0" t="0" r="r" b="b"/>
                  <a:pathLst>
                    <a:path w="56" h="29">
                      <a:moveTo>
                        <a:pt x="0" y="8"/>
                      </a:moveTo>
                      <a:cubicBezTo>
                        <a:pt x="0" y="7"/>
                        <a:pt x="0" y="3"/>
                        <a:pt x="0" y="3"/>
                      </a:cubicBezTo>
                      <a:cubicBezTo>
                        <a:pt x="2" y="2"/>
                        <a:pt x="10" y="3"/>
                        <a:pt x="11" y="5"/>
                      </a:cubicBezTo>
                      <a:cubicBezTo>
                        <a:pt x="12" y="6"/>
                        <a:pt x="15" y="10"/>
                        <a:pt x="17" y="12"/>
                      </a:cubicBezTo>
                      <a:cubicBezTo>
                        <a:pt x="20" y="13"/>
                        <a:pt x="21" y="15"/>
                        <a:pt x="23" y="15"/>
                      </a:cubicBezTo>
                      <a:cubicBezTo>
                        <a:pt x="24" y="15"/>
                        <a:pt x="19" y="7"/>
                        <a:pt x="21" y="6"/>
                      </a:cubicBezTo>
                      <a:cubicBezTo>
                        <a:pt x="22" y="5"/>
                        <a:pt x="25" y="6"/>
                        <a:pt x="26" y="7"/>
                      </a:cubicBezTo>
                      <a:cubicBezTo>
                        <a:pt x="27" y="8"/>
                        <a:pt x="35" y="14"/>
                        <a:pt x="36" y="14"/>
                      </a:cubicBezTo>
                      <a:cubicBezTo>
                        <a:pt x="38" y="14"/>
                        <a:pt x="37" y="10"/>
                        <a:pt x="36" y="8"/>
                      </a:cubicBezTo>
                      <a:cubicBezTo>
                        <a:pt x="35" y="6"/>
                        <a:pt x="29" y="5"/>
                        <a:pt x="30" y="3"/>
                      </a:cubicBezTo>
                      <a:cubicBezTo>
                        <a:pt x="31" y="1"/>
                        <a:pt x="35" y="0"/>
                        <a:pt x="36" y="0"/>
                      </a:cubicBezTo>
                      <a:cubicBezTo>
                        <a:pt x="37" y="0"/>
                        <a:pt x="43" y="1"/>
                        <a:pt x="45" y="2"/>
                      </a:cubicBezTo>
                      <a:cubicBezTo>
                        <a:pt x="47" y="2"/>
                        <a:pt x="52" y="4"/>
                        <a:pt x="53" y="6"/>
                      </a:cubicBezTo>
                      <a:cubicBezTo>
                        <a:pt x="54" y="9"/>
                        <a:pt x="54" y="14"/>
                        <a:pt x="53" y="15"/>
                      </a:cubicBezTo>
                      <a:cubicBezTo>
                        <a:pt x="52" y="16"/>
                        <a:pt x="56" y="17"/>
                        <a:pt x="56" y="18"/>
                      </a:cubicBezTo>
                      <a:cubicBezTo>
                        <a:pt x="56" y="19"/>
                        <a:pt x="55" y="22"/>
                        <a:pt x="55" y="22"/>
                      </a:cubicBezTo>
                      <a:cubicBezTo>
                        <a:pt x="54" y="23"/>
                        <a:pt x="50" y="21"/>
                        <a:pt x="50" y="23"/>
                      </a:cubicBezTo>
                      <a:cubicBezTo>
                        <a:pt x="50" y="24"/>
                        <a:pt x="52" y="26"/>
                        <a:pt x="51" y="27"/>
                      </a:cubicBezTo>
                      <a:cubicBezTo>
                        <a:pt x="50" y="28"/>
                        <a:pt x="35" y="29"/>
                        <a:pt x="34" y="28"/>
                      </a:cubicBezTo>
                      <a:cubicBezTo>
                        <a:pt x="32" y="27"/>
                        <a:pt x="30" y="23"/>
                        <a:pt x="31" y="23"/>
                      </a:cubicBezTo>
                      <a:cubicBezTo>
                        <a:pt x="32" y="23"/>
                        <a:pt x="37" y="19"/>
                        <a:pt x="35" y="18"/>
                      </a:cubicBezTo>
                      <a:cubicBezTo>
                        <a:pt x="32" y="17"/>
                        <a:pt x="25" y="20"/>
                        <a:pt x="23" y="20"/>
                      </a:cubicBezTo>
                      <a:cubicBezTo>
                        <a:pt x="21" y="21"/>
                        <a:pt x="16" y="21"/>
                        <a:pt x="15" y="20"/>
                      </a:cubicBezTo>
                      <a:cubicBezTo>
                        <a:pt x="13" y="19"/>
                        <a:pt x="15" y="17"/>
                        <a:pt x="13" y="16"/>
                      </a:cubicBezTo>
                      <a:cubicBezTo>
                        <a:pt x="11" y="15"/>
                        <a:pt x="7" y="15"/>
                        <a:pt x="5" y="14"/>
                      </a:cubicBezTo>
                      <a:cubicBezTo>
                        <a:pt x="4" y="12"/>
                        <a:pt x="6" y="11"/>
                        <a:pt x="5" y="10"/>
                      </a:cubicBezTo>
                      <a:cubicBezTo>
                        <a:pt x="4" y="9"/>
                        <a:pt x="1" y="9"/>
                        <a:pt x="0" y="8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6" name="Freeform 244"/>
                <p:cNvSpPr>
                  <a:spLocks/>
                </p:cNvSpPr>
                <p:nvPr/>
              </p:nvSpPr>
              <p:spPr bwMode="auto">
                <a:xfrm>
                  <a:off x="1082" y="959"/>
                  <a:ext cx="107" cy="55"/>
                </a:xfrm>
                <a:custGeom>
                  <a:avLst/>
                  <a:gdLst>
                    <a:gd name="T0" fmla="*/ 599424 w 53"/>
                    <a:gd name="T1" fmla="*/ 782740 h 27"/>
                    <a:gd name="T2" fmla="*/ 72847 w 53"/>
                    <a:gd name="T3" fmla="*/ 511425 h 27"/>
                    <a:gd name="T4" fmla="*/ 220440 w 53"/>
                    <a:gd name="T5" fmla="*/ 82119 h 27"/>
                    <a:gd name="T6" fmla="*/ 824576 w 53"/>
                    <a:gd name="T7" fmla="*/ 0 h 27"/>
                    <a:gd name="T8" fmla="*/ 1591863 w 53"/>
                    <a:gd name="T9" fmla="*/ 167279 h 27"/>
                    <a:gd name="T10" fmla="*/ 1889834 w 53"/>
                    <a:gd name="T11" fmla="*/ 610962 h 27"/>
                    <a:gd name="T12" fmla="*/ 2222402 w 53"/>
                    <a:gd name="T13" fmla="*/ 428057 h 27"/>
                    <a:gd name="T14" fmla="*/ 2750059 w 53"/>
                    <a:gd name="T15" fmla="*/ 610962 h 27"/>
                    <a:gd name="T16" fmla="*/ 3514962 w 53"/>
                    <a:gd name="T17" fmla="*/ 1123300 h 27"/>
                    <a:gd name="T18" fmla="*/ 3514962 w 53"/>
                    <a:gd name="T19" fmla="*/ 1594470 h 27"/>
                    <a:gd name="T20" fmla="*/ 3960258 w 53"/>
                    <a:gd name="T21" fmla="*/ 1945175 h 27"/>
                    <a:gd name="T22" fmla="*/ 3887379 w 53"/>
                    <a:gd name="T23" fmla="*/ 2368047 h 27"/>
                    <a:gd name="T24" fmla="*/ 3213761 w 53"/>
                    <a:gd name="T25" fmla="*/ 2368047 h 27"/>
                    <a:gd name="T26" fmla="*/ 2970807 w 53"/>
                    <a:gd name="T27" fmla="*/ 2205537 h 27"/>
                    <a:gd name="T28" fmla="*/ 2672834 w 53"/>
                    <a:gd name="T29" fmla="*/ 1864881 h 27"/>
                    <a:gd name="T30" fmla="*/ 1889834 w 53"/>
                    <a:gd name="T31" fmla="*/ 1674190 h 27"/>
                    <a:gd name="T32" fmla="*/ 898475 w 53"/>
                    <a:gd name="T33" fmla="*/ 1674190 h 27"/>
                    <a:gd name="T34" fmla="*/ 445039 w 53"/>
                    <a:gd name="T35" fmla="*/ 1333577 h 27"/>
                    <a:gd name="T36" fmla="*/ 1210158 w 53"/>
                    <a:gd name="T37" fmla="*/ 1244552 h 27"/>
                    <a:gd name="T38" fmla="*/ 1063089 w 53"/>
                    <a:gd name="T39" fmla="*/ 782740 h 27"/>
                    <a:gd name="T40" fmla="*/ 599424 w 53"/>
                    <a:gd name="T41" fmla="*/ 782740 h 27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53" h="27">
                      <a:moveTo>
                        <a:pt x="8" y="9"/>
                      </a:moveTo>
                      <a:cubicBezTo>
                        <a:pt x="7" y="9"/>
                        <a:pt x="1" y="7"/>
                        <a:pt x="1" y="6"/>
                      </a:cubicBezTo>
                      <a:cubicBezTo>
                        <a:pt x="0" y="5"/>
                        <a:pt x="1" y="2"/>
                        <a:pt x="3" y="1"/>
                      </a:cubicBezTo>
                      <a:cubicBezTo>
                        <a:pt x="5" y="0"/>
                        <a:pt x="7" y="1"/>
                        <a:pt x="11" y="0"/>
                      </a:cubicBezTo>
                      <a:cubicBezTo>
                        <a:pt x="16" y="0"/>
                        <a:pt x="20" y="1"/>
                        <a:pt x="21" y="2"/>
                      </a:cubicBezTo>
                      <a:cubicBezTo>
                        <a:pt x="22" y="3"/>
                        <a:pt x="24" y="7"/>
                        <a:pt x="25" y="7"/>
                      </a:cubicBezTo>
                      <a:cubicBezTo>
                        <a:pt x="26" y="7"/>
                        <a:pt x="26" y="5"/>
                        <a:pt x="29" y="5"/>
                      </a:cubicBezTo>
                      <a:cubicBezTo>
                        <a:pt x="32" y="5"/>
                        <a:pt x="35" y="7"/>
                        <a:pt x="36" y="7"/>
                      </a:cubicBezTo>
                      <a:cubicBezTo>
                        <a:pt x="38" y="8"/>
                        <a:pt x="44" y="13"/>
                        <a:pt x="46" y="13"/>
                      </a:cubicBezTo>
                      <a:cubicBezTo>
                        <a:pt x="48" y="14"/>
                        <a:pt x="45" y="17"/>
                        <a:pt x="46" y="18"/>
                      </a:cubicBezTo>
                      <a:cubicBezTo>
                        <a:pt x="47" y="20"/>
                        <a:pt x="52" y="21"/>
                        <a:pt x="52" y="22"/>
                      </a:cubicBezTo>
                      <a:cubicBezTo>
                        <a:pt x="52" y="24"/>
                        <a:pt x="53" y="26"/>
                        <a:pt x="51" y="27"/>
                      </a:cubicBezTo>
                      <a:cubicBezTo>
                        <a:pt x="49" y="27"/>
                        <a:pt x="44" y="27"/>
                        <a:pt x="42" y="27"/>
                      </a:cubicBezTo>
                      <a:cubicBezTo>
                        <a:pt x="41" y="27"/>
                        <a:pt x="39" y="25"/>
                        <a:pt x="39" y="25"/>
                      </a:cubicBezTo>
                      <a:cubicBezTo>
                        <a:pt x="37" y="23"/>
                        <a:pt x="38" y="22"/>
                        <a:pt x="35" y="21"/>
                      </a:cubicBezTo>
                      <a:cubicBezTo>
                        <a:pt x="32" y="19"/>
                        <a:pt x="27" y="19"/>
                        <a:pt x="25" y="19"/>
                      </a:cubicBezTo>
                      <a:cubicBezTo>
                        <a:pt x="24" y="19"/>
                        <a:pt x="15" y="22"/>
                        <a:pt x="12" y="19"/>
                      </a:cubicBezTo>
                      <a:cubicBezTo>
                        <a:pt x="8" y="17"/>
                        <a:pt x="4" y="16"/>
                        <a:pt x="6" y="15"/>
                      </a:cubicBezTo>
                      <a:cubicBezTo>
                        <a:pt x="7" y="14"/>
                        <a:pt x="15" y="14"/>
                        <a:pt x="16" y="14"/>
                      </a:cubicBezTo>
                      <a:cubicBezTo>
                        <a:pt x="18" y="13"/>
                        <a:pt x="16" y="10"/>
                        <a:pt x="14" y="9"/>
                      </a:cubicBezTo>
                      <a:cubicBezTo>
                        <a:pt x="12" y="8"/>
                        <a:pt x="9" y="9"/>
                        <a:pt x="8" y="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7" name="Freeform 245"/>
                <p:cNvSpPr>
                  <a:spLocks/>
                </p:cNvSpPr>
                <p:nvPr/>
              </p:nvSpPr>
              <p:spPr bwMode="auto">
                <a:xfrm>
                  <a:off x="1074" y="1012"/>
                  <a:ext cx="36" cy="26"/>
                </a:xfrm>
                <a:custGeom>
                  <a:avLst/>
                  <a:gdLst>
                    <a:gd name="T0" fmla="*/ 393216 w 18"/>
                    <a:gd name="T1" fmla="*/ 720896 h 13"/>
                    <a:gd name="T2" fmla="*/ 65536 w 18"/>
                    <a:gd name="T3" fmla="*/ 65536 h 13"/>
                    <a:gd name="T4" fmla="*/ 524288 w 18"/>
                    <a:gd name="T5" fmla="*/ 131072 h 13"/>
                    <a:gd name="T6" fmla="*/ 786432 w 18"/>
                    <a:gd name="T7" fmla="*/ 393216 h 13"/>
                    <a:gd name="T8" fmla="*/ 1048576 w 18"/>
                    <a:gd name="T9" fmla="*/ 720896 h 13"/>
                    <a:gd name="T10" fmla="*/ 393216 w 18"/>
                    <a:gd name="T11" fmla="*/ 720896 h 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8" h="13">
                      <a:moveTo>
                        <a:pt x="6" y="11"/>
                      </a:moveTo>
                      <a:cubicBezTo>
                        <a:pt x="4" y="9"/>
                        <a:pt x="0" y="3"/>
                        <a:pt x="1" y="1"/>
                      </a:cubicBezTo>
                      <a:cubicBezTo>
                        <a:pt x="2" y="0"/>
                        <a:pt x="6" y="1"/>
                        <a:pt x="8" y="2"/>
                      </a:cubicBezTo>
                      <a:cubicBezTo>
                        <a:pt x="10" y="3"/>
                        <a:pt x="11" y="5"/>
                        <a:pt x="12" y="6"/>
                      </a:cubicBezTo>
                      <a:cubicBezTo>
                        <a:pt x="12" y="7"/>
                        <a:pt x="18" y="10"/>
                        <a:pt x="16" y="11"/>
                      </a:cubicBezTo>
                      <a:cubicBezTo>
                        <a:pt x="15" y="12"/>
                        <a:pt x="9" y="13"/>
                        <a:pt x="6" y="11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8" name="Freeform 246"/>
                <p:cNvSpPr>
                  <a:spLocks/>
                </p:cNvSpPr>
                <p:nvPr/>
              </p:nvSpPr>
              <p:spPr bwMode="auto">
                <a:xfrm>
                  <a:off x="973" y="1004"/>
                  <a:ext cx="48" cy="24"/>
                </a:xfrm>
                <a:custGeom>
                  <a:avLst/>
                  <a:gdLst>
                    <a:gd name="T0" fmla="*/ 0 w 24"/>
                    <a:gd name="T1" fmla="*/ 327680 h 12"/>
                    <a:gd name="T2" fmla="*/ 196608 w 24"/>
                    <a:gd name="T3" fmla="*/ 131072 h 12"/>
                    <a:gd name="T4" fmla="*/ 1179648 w 24"/>
                    <a:gd name="T5" fmla="*/ 0 h 12"/>
                    <a:gd name="T6" fmla="*/ 1572864 w 24"/>
                    <a:gd name="T7" fmla="*/ 65536 h 12"/>
                    <a:gd name="T8" fmla="*/ 917504 w 24"/>
                    <a:gd name="T9" fmla="*/ 327680 h 12"/>
                    <a:gd name="T10" fmla="*/ 1376256 w 24"/>
                    <a:gd name="T11" fmla="*/ 458752 h 12"/>
                    <a:gd name="T12" fmla="*/ 1179648 w 24"/>
                    <a:gd name="T13" fmla="*/ 655360 h 12"/>
                    <a:gd name="T14" fmla="*/ 393216 w 24"/>
                    <a:gd name="T15" fmla="*/ 720896 h 12"/>
                    <a:gd name="T16" fmla="*/ 0 w 24"/>
                    <a:gd name="T17" fmla="*/ 589824 h 12"/>
                    <a:gd name="T18" fmla="*/ 0 w 24"/>
                    <a:gd name="T19" fmla="*/ 327680 h 1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24" h="12">
                      <a:moveTo>
                        <a:pt x="0" y="5"/>
                      </a:moveTo>
                      <a:cubicBezTo>
                        <a:pt x="0" y="4"/>
                        <a:pt x="2" y="2"/>
                        <a:pt x="3" y="2"/>
                      </a:cubicBezTo>
                      <a:cubicBezTo>
                        <a:pt x="3" y="2"/>
                        <a:pt x="14" y="0"/>
                        <a:pt x="18" y="0"/>
                      </a:cubicBezTo>
                      <a:cubicBezTo>
                        <a:pt x="22" y="0"/>
                        <a:pt x="24" y="0"/>
                        <a:pt x="24" y="1"/>
                      </a:cubicBezTo>
                      <a:cubicBezTo>
                        <a:pt x="23" y="3"/>
                        <a:pt x="14" y="3"/>
                        <a:pt x="14" y="5"/>
                      </a:cubicBezTo>
                      <a:cubicBezTo>
                        <a:pt x="15" y="8"/>
                        <a:pt x="21" y="6"/>
                        <a:pt x="21" y="7"/>
                      </a:cubicBezTo>
                      <a:cubicBezTo>
                        <a:pt x="22" y="8"/>
                        <a:pt x="21" y="9"/>
                        <a:pt x="18" y="10"/>
                      </a:cubicBezTo>
                      <a:cubicBezTo>
                        <a:pt x="16" y="12"/>
                        <a:pt x="8" y="11"/>
                        <a:pt x="6" y="11"/>
                      </a:cubicBezTo>
                      <a:cubicBezTo>
                        <a:pt x="4" y="11"/>
                        <a:pt x="2" y="10"/>
                        <a:pt x="0" y="9"/>
                      </a:cubicBezTo>
                      <a:cubicBezTo>
                        <a:pt x="0" y="9"/>
                        <a:pt x="0" y="7"/>
                        <a:pt x="0" y="5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9" name="Freeform 247"/>
                <p:cNvSpPr>
                  <a:spLocks/>
                </p:cNvSpPr>
                <p:nvPr/>
              </p:nvSpPr>
              <p:spPr bwMode="auto">
                <a:xfrm>
                  <a:off x="962" y="977"/>
                  <a:ext cx="67" cy="20"/>
                </a:xfrm>
                <a:custGeom>
                  <a:avLst/>
                  <a:gdLst>
                    <a:gd name="T0" fmla="*/ 156971 w 33"/>
                    <a:gd name="T1" fmla="*/ 393216 h 10"/>
                    <a:gd name="T2" fmla="*/ 1432592 w 33"/>
                    <a:gd name="T3" fmla="*/ 65536 h 10"/>
                    <a:gd name="T4" fmla="*/ 2181918 w 33"/>
                    <a:gd name="T5" fmla="*/ 65536 h 10"/>
                    <a:gd name="T6" fmla="*/ 2746872 w 33"/>
                    <a:gd name="T7" fmla="*/ 327680 h 10"/>
                    <a:gd name="T8" fmla="*/ 2589897 w 33"/>
                    <a:gd name="T9" fmla="*/ 458752 h 10"/>
                    <a:gd name="T10" fmla="*/ 1594880 w 33"/>
                    <a:gd name="T11" fmla="*/ 458752 h 10"/>
                    <a:gd name="T12" fmla="*/ 828388 w 33"/>
                    <a:gd name="T13" fmla="*/ 589824 h 10"/>
                    <a:gd name="T14" fmla="*/ 156971 w 33"/>
                    <a:gd name="T15" fmla="*/ 589824 h 10"/>
                    <a:gd name="T16" fmla="*/ 156971 w 33"/>
                    <a:gd name="T17" fmla="*/ 393216 h 1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3" h="10">
                      <a:moveTo>
                        <a:pt x="2" y="6"/>
                      </a:moveTo>
                      <a:cubicBezTo>
                        <a:pt x="3" y="4"/>
                        <a:pt x="15" y="2"/>
                        <a:pt x="17" y="1"/>
                      </a:cubicBezTo>
                      <a:cubicBezTo>
                        <a:pt x="19" y="0"/>
                        <a:pt x="24" y="0"/>
                        <a:pt x="26" y="1"/>
                      </a:cubicBezTo>
                      <a:cubicBezTo>
                        <a:pt x="28" y="1"/>
                        <a:pt x="33" y="4"/>
                        <a:pt x="33" y="5"/>
                      </a:cubicBezTo>
                      <a:cubicBezTo>
                        <a:pt x="33" y="6"/>
                        <a:pt x="33" y="7"/>
                        <a:pt x="31" y="7"/>
                      </a:cubicBezTo>
                      <a:cubicBezTo>
                        <a:pt x="29" y="7"/>
                        <a:pt x="21" y="7"/>
                        <a:pt x="19" y="7"/>
                      </a:cubicBezTo>
                      <a:cubicBezTo>
                        <a:pt x="17" y="7"/>
                        <a:pt x="13" y="8"/>
                        <a:pt x="10" y="9"/>
                      </a:cubicBezTo>
                      <a:cubicBezTo>
                        <a:pt x="8" y="9"/>
                        <a:pt x="3" y="10"/>
                        <a:pt x="2" y="9"/>
                      </a:cubicBezTo>
                      <a:cubicBezTo>
                        <a:pt x="0" y="7"/>
                        <a:pt x="2" y="6"/>
                        <a:pt x="2" y="6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0" name="Freeform 248"/>
                <p:cNvSpPr>
                  <a:spLocks/>
                </p:cNvSpPr>
                <p:nvPr/>
              </p:nvSpPr>
              <p:spPr bwMode="auto">
                <a:xfrm>
                  <a:off x="936" y="1004"/>
                  <a:ext cx="26" cy="14"/>
                </a:xfrm>
                <a:custGeom>
                  <a:avLst/>
                  <a:gdLst>
                    <a:gd name="T0" fmla="*/ 0 w 13"/>
                    <a:gd name="T1" fmla="*/ 131072 h 7"/>
                    <a:gd name="T2" fmla="*/ 458752 w 13"/>
                    <a:gd name="T3" fmla="*/ 0 h 7"/>
                    <a:gd name="T4" fmla="*/ 786432 w 13"/>
                    <a:gd name="T5" fmla="*/ 262144 h 7"/>
                    <a:gd name="T6" fmla="*/ 458752 w 13"/>
                    <a:gd name="T7" fmla="*/ 393216 h 7"/>
                    <a:gd name="T8" fmla="*/ 196608 w 13"/>
                    <a:gd name="T9" fmla="*/ 327680 h 7"/>
                    <a:gd name="T10" fmla="*/ 0 w 13"/>
                    <a:gd name="T11" fmla="*/ 131072 h 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3" h="7">
                      <a:moveTo>
                        <a:pt x="0" y="2"/>
                      </a:moveTo>
                      <a:cubicBezTo>
                        <a:pt x="0" y="1"/>
                        <a:pt x="6" y="0"/>
                        <a:pt x="7" y="0"/>
                      </a:cubicBezTo>
                      <a:cubicBezTo>
                        <a:pt x="8" y="0"/>
                        <a:pt x="13" y="3"/>
                        <a:pt x="12" y="4"/>
                      </a:cubicBezTo>
                      <a:cubicBezTo>
                        <a:pt x="12" y="5"/>
                        <a:pt x="9" y="7"/>
                        <a:pt x="7" y="6"/>
                      </a:cubicBezTo>
                      <a:cubicBezTo>
                        <a:pt x="6" y="5"/>
                        <a:pt x="3" y="5"/>
                        <a:pt x="3" y="5"/>
                      </a:cubicBezTo>
                      <a:cubicBezTo>
                        <a:pt x="1" y="4"/>
                        <a:pt x="0" y="3"/>
                        <a:pt x="0" y="2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1" name="Freeform 249"/>
                <p:cNvSpPr>
                  <a:spLocks/>
                </p:cNvSpPr>
                <p:nvPr/>
              </p:nvSpPr>
              <p:spPr bwMode="auto">
                <a:xfrm>
                  <a:off x="900" y="1042"/>
                  <a:ext cx="190" cy="85"/>
                </a:xfrm>
                <a:custGeom>
                  <a:avLst/>
                  <a:gdLst>
                    <a:gd name="T0" fmla="*/ 73859 w 94"/>
                    <a:gd name="T1" fmla="*/ 2071535 h 42"/>
                    <a:gd name="T2" fmla="*/ 533847 w 94"/>
                    <a:gd name="T3" fmla="*/ 1567534 h 42"/>
                    <a:gd name="T4" fmla="*/ 761484 w 94"/>
                    <a:gd name="T5" fmla="*/ 945591 h 42"/>
                    <a:gd name="T6" fmla="*/ 1390042 w 94"/>
                    <a:gd name="T7" fmla="*/ 544000 h 42"/>
                    <a:gd name="T8" fmla="*/ 1953673 w 94"/>
                    <a:gd name="T9" fmla="*/ 544000 h 42"/>
                    <a:gd name="T10" fmla="*/ 2181063 w 94"/>
                    <a:gd name="T11" fmla="*/ 945591 h 42"/>
                    <a:gd name="T12" fmla="*/ 2809659 w 94"/>
                    <a:gd name="T13" fmla="*/ 774546 h 42"/>
                    <a:gd name="T14" fmla="*/ 3571044 w 94"/>
                    <a:gd name="T15" fmla="*/ 1415276 h 42"/>
                    <a:gd name="T16" fmla="*/ 3720331 w 94"/>
                    <a:gd name="T17" fmla="*/ 1756440 h 42"/>
                    <a:gd name="T18" fmla="*/ 5036811 w 94"/>
                    <a:gd name="T19" fmla="*/ 1756440 h 42"/>
                    <a:gd name="T20" fmla="*/ 5036811 w 94"/>
                    <a:gd name="T21" fmla="*/ 1415276 h 42"/>
                    <a:gd name="T22" fmla="*/ 4654456 w 94"/>
                    <a:gd name="T23" fmla="*/ 1260014 h 42"/>
                    <a:gd name="T24" fmla="*/ 4803612 w 94"/>
                    <a:gd name="T25" fmla="*/ 945591 h 42"/>
                    <a:gd name="T26" fmla="*/ 4180843 w 94"/>
                    <a:gd name="T27" fmla="*/ 622595 h 42"/>
                    <a:gd name="T28" fmla="*/ 4877405 w 94"/>
                    <a:gd name="T29" fmla="*/ 152008 h 42"/>
                    <a:gd name="T30" fmla="*/ 5264455 w 94"/>
                    <a:gd name="T31" fmla="*/ 0 h 42"/>
                    <a:gd name="T32" fmla="*/ 5337771 w 94"/>
                    <a:gd name="T33" fmla="*/ 467233 h 42"/>
                    <a:gd name="T34" fmla="*/ 5605190 w 94"/>
                    <a:gd name="T35" fmla="*/ 774546 h 42"/>
                    <a:gd name="T36" fmla="*/ 5528521 w 94"/>
                    <a:gd name="T37" fmla="*/ 1100952 h 42"/>
                    <a:gd name="T38" fmla="*/ 6211700 w 94"/>
                    <a:gd name="T39" fmla="*/ 1337285 h 42"/>
                    <a:gd name="T40" fmla="*/ 6380018 w 94"/>
                    <a:gd name="T41" fmla="*/ 945591 h 42"/>
                    <a:gd name="T42" fmla="*/ 6994911 w 94"/>
                    <a:gd name="T43" fmla="*/ 1100952 h 42"/>
                    <a:gd name="T44" fmla="*/ 7144340 w 94"/>
                    <a:gd name="T45" fmla="*/ 1836190 h 42"/>
                    <a:gd name="T46" fmla="*/ 6684212 w 94"/>
                    <a:gd name="T47" fmla="*/ 2378782 h 42"/>
                    <a:gd name="T48" fmla="*/ 5114580 w 94"/>
                    <a:gd name="T49" fmla="*/ 2378782 h 42"/>
                    <a:gd name="T50" fmla="*/ 3720331 w 94"/>
                    <a:gd name="T51" fmla="*/ 2864249 h 42"/>
                    <a:gd name="T52" fmla="*/ 2491896 w 94"/>
                    <a:gd name="T53" fmla="*/ 3172390 h 42"/>
                    <a:gd name="T54" fmla="*/ 1879316 w 94"/>
                    <a:gd name="T55" fmla="*/ 2779852 h 42"/>
                    <a:gd name="T56" fmla="*/ 2567945 w 94"/>
                    <a:gd name="T57" fmla="*/ 2550028 h 42"/>
                    <a:gd name="T58" fmla="*/ 3496647 w 94"/>
                    <a:gd name="T59" fmla="*/ 2378782 h 42"/>
                    <a:gd name="T60" fmla="*/ 3798617 w 94"/>
                    <a:gd name="T61" fmla="*/ 2148401 h 42"/>
                    <a:gd name="T62" fmla="*/ 3037217 w 94"/>
                    <a:gd name="T63" fmla="*/ 2071535 h 42"/>
                    <a:gd name="T64" fmla="*/ 2264008 w 94"/>
                    <a:gd name="T65" fmla="*/ 2148401 h 42"/>
                    <a:gd name="T66" fmla="*/ 2181063 w 94"/>
                    <a:gd name="T67" fmla="*/ 1756440 h 42"/>
                    <a:gd name="T68" fmla="*/ 1879316 w 94"/>
                    <a:gd name="T69" fmla="*/ 1836190 h 42"/>
                    <a:gd name="T70" fmla="*/ 1693880 w 94"/>
                    <a:gd name="T71" fmla="*/ 2305423 h 42"/>
                    <a:gd name="T72" fmla="*/ 1079052 w 94"/>
                    <a:gd name="T73" fmla="*/ 2378782 h 42"/>
                    <a:gd name="T74" fmla="*/ 929767 w 94"/>
                    <a:gd name="T75" fmla="*/ 2305423 h 42"/>
                    <a:gd name="T76" fmla="*/ 73859 w 94"/>
                    <a:gd name="T77" fmla="*/ 2071535 h 4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0" t="0" r="r" b="b"/>
                  <a:pathLst>
                    <a:path w="94" h="42">
                      <a:moveTo>
                        <a:pt x="1" y="26"/>
                      </a:moveTo>
                      <a:cubicBezTo>
                        <a:pt x="2" y="25"/>
                        <a:pt x="6" y="21"/>
                        <a:pt x="7" y="20"/>
                      </a:cubicBezTo>
                      <a:cubicBezTo>
                        <a:pt x="8" y="18"/>
                        <a:pt x="10" y="13"/>
                        <a:pt x="10" y="12"/>
                      </a:cubicBezTo>
                      <a:cubicBezTo>
                        <a:pt x="11" y="11"/>
                        <a:pt x="16" y="7"/>
                        <a:pt x="18" y="7"/>
                      </a:cubicBezTo>
                      <a:cubicBezTo>
                        <a:pt x="20" y="7"/>
                        <a:pt x="25" y="6"/>
                        <a:pt x="25" y="7"/>
                      </a:cubicBezTo>
                      <a:cubicBezTo>
                        <a:pt x="26" y="9"/>
                        <a:pt x="25" y="12"/>
                        <a:pt x="28" y="12"/>
                      </a:cubicBezTo>
                      <a:cubicBezTo>
                        <a:pt x="30" y="12"/>
                        <a:pt x="32" y="9"/>
                        <a:pt x="36" y="10"/>
                      </a:cubicBezTo>
                      <a:cubicBezTo>
                        <a:pt x="40" y="12"/>
                        <a:pt x="44" y="16"/>
                        <a:pt x="46" y="18"/>
                      </a:cubicBezTo>
                      <a:cubicBezTo>
                        <a:pt x="47" y="19"/>
                        <a:pt x="46" y="22"/>
                        <a:pt x="48" y="22"/>
                      </a:cubicBezTo>
                      <a:cubicBezTo>
                        <a:pt x="50" y="22"/>
                        <a:pt x="64" y="23"/>
                        <a:pt x="65" y="22"/>
                      </a:cubicBezTo>
                      <a:cubicBezTo>
                        <a:pt x="66" y="21"/>
                        <a:pt x="68" y="20"/>
                        <a:pt x="65" y="18"/>
                      </a:cubicBezTo>
                      <a:cubicBezTo>
                        <a:pt x="62" y="16"/>
                        <a:pt x="61" y="17"/>
                        <a:pt x="60" y="16"/>
                      </a:cubicBezTo>
                      <a:cubicBezTo>
                        <a:pt x="58" y="14"/>
                        <a:pt x="64" y="13"/>
                        <a:pt x="62" y="12"/>
                      </a:cubicBezTo>
                      <a:cubicBezTo>
                        <a:pt x="61" y="11"/>
                        <a:pt x="54" y="9"/>
                        <a:pt x="54" y="8"/>
                      </a:cubicBezTo>
                      <a:cubicBezTo>
                        <a:pt x="54" y="6"/>
                        <a:pt x="61" y="4"/>
                        <a:pt x="63" y="2"/>
                      </a:cubicBezTo>
                      <a:cubicBezTo>
                        <a:pt x="65" y="0"/>
                        <a:pt x="67" y="0"/>
                        <a:pt x="68" y="0"/>
                      </a:cubicBezTo>
                      <a:cubicBezTo>
                        <a:pt x="69" y="0"/>
                        <a:pt x="68" y="4"/>
                        <a:pt x="69" y="6"/>
                      </a:cubicBezTo>
                      <a:cubicBezTo>
                        <a:pt x="70" y="7"/>
                        <a:pt x="71" y="9"/>
                        <a:pt x="72" y="10"/>
                      </a:cubicBezTo>
                      <a:cubicBezTo>
                        <a:pt x="73" y="11"/>
                        <a:pt x="69" y="12"/>
                        <a:pt x="71" y="14"/>
                      </a:cubicBezTo>
                      <a:cubicBezTo>
                        <a:pt x="73" y="15"/>
                        <a:pt x="78" y="17"/>
                        <a:pt x="80" y="17"/>
                      </a:cubicBezTo>
                      <a:cubicBezTo>
                        <a:pt x="82" y="17"/>
                        <a:pt x="80" y="12"/>
                        <a:pt x="82" y="12"/>
                      </a:cubicBezTo>
                      <a:cubicBezTo>
                        <a:pt x="84" y="12"/>
                        <a:pt x="88" y="13"/>
                        <a:pt x="90" y="14"/>
                      </a:cubicBezTo>
                      <a:cubicBezTo>
                        <a:pt x="93" y="16"/>
                        <a:pt x="94" y="20"/>
                        <a:pt x="92" y="23"/>
                      </a:cubicBezTo>
                      <a:cubicBezTo>
                        <a:pt x="90" y="25"/>
                        <a:pt x="89" y="30"/>
                        <a:pt x="86" y="30"/>
                      </a:cubicBezTo>
                      <a:cubicBezTo>
                        <a:pt x="84" y="30"/>
                        <a:pt x="68" y="29"/>
                        <a:pt x="66" y="30"/>
                      </a:cubicBezTo>
                      <a:cubicBezTo>
                        <a:pt x="64" y="31"/>
                        <a:pt x="51" y="36"/>
                        <a:pt x="48" y="36"/>
                      </a:cubicBezTo>
                      <a:cubicBezTo>
                        <a:pt x="45" y="37"/>
                        <a:pt x="37" y="42"/>
                        <a:pt x="32" y="40"/>
                      </a:cubicBezTo>
                      <a:cubicBezTo>
                        <a:pt x="27" y="38"/>
                        <a:pt x="24" y="36"/>
                        <a:pt x="24" y="35"/>
                      </a:cubicBezTo>
                      <a:cubicBezTo>
                        <a:pt x="25" y="34"/>
                        <a:pt x="30" y="32"/>
                        <a:pt x="33" y="32"/>
                      </a:cubicBezTo>
                      <a:cubicBezTo>
                        <a:pt x="36" y="32"/>
                        <a:pt x="43" y="31"/>
                        <a:pt x="45" y="30"/>
                      </a:cubicBezTo>
                      <a:cubicBezTo>
                        <a:pt x="47" y="29"/>
                        <a:pt x="50" y="29"/>
                        <a:pt x="49" y="27"/>
                      </a:cubicBezTo>
                      <a:cubicBezTo>
                        <a:pt x="48" y="26"/>
                        <a:pt x="42" y="26"/>
                        <a:pt x="39" y="26"/>
                      </a:cubicBezTo>
                      <a:cubicBezTo>
                        <a:pt x="36" y="26"/>
                        <a:pt x="30" y="28"/>
                        <a:pt x="29" y="27"/>
                      </a:cubicBezTo>
                      <a:cubicBezTo>
                        <a:pt x="28" y="26"/>
                        <a:pt x="30" y="22"/>
                        <a:pt x="28" y="22"/>
                      </a:cubicBezTo>
                      <a:cubicBezTo>
                        <a:pt x="27" y="22"/>
                        <a:pt x="24" y="23"/>
                        <a:pt x="24" y="23"/>
                      </a:cubicBezTo>
                      <a:cubicBezTo>
                        <a:pt x="24" y="23"/>
                        <a:pt x="23" y="29"/>
                        <a:pt x="22" y="29"/>
                      </a:cubicBezTo>
                      <a:cubicBezTo>
                        <a:pt x="20" y="29"/>
                        <a:pt x="15" y="30"/>
                        <a:pt x="14" y="30"/>
                      </a:cubicBezTo>
                      <a:cubicBezTo>
                        <a:pt x="14" y="30"/>
                        <a:pt x="12" y="29"/>
                        <a:pt x="12" y="29"/>
                      </a:cubicBezTo>
                      <a:cubicBezTo>
                        <a:pt x="10" y="28"/>
                        <a:pt x="0" y="27"/>
                        <a:pt x="1" y="26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2" name="Freeform 250"/>
                <p:cNvSpPr>
                  <a:spLocks/>
                </p:cNvSpPr>
                <p:nvPr/>
              </p:nvSpPr>
              <p:spPr bwMode="auto">
                <a:xfrm>
                  <a:off x="873" y="1139"/>
                  <a:ext cx="288" cy="150"/>
                </a:xfrm>
                <a:custGeom>
                  <a:avLst/>
                  <a:gdLst>
                    <a:gd name="T0" fmla="*/ 155703 w 142"/>
                    <a:gd name="T1" fmla="*/ 2371678 h 74"/>
                    <a:gd name="T2" fmla="*/ 1215474 w 142"/>
                    <a:gd name="T3" fmla="*/ 1368144 h 74"/>
                    <a:gd name="T4" fmla="*/ 3193719 w 142"/>
                    <a:gd name="T5" fmla="*/ 636097 h 74"/>
                    <a:gd name="T6" fmla="*/ 3685098 w 142"/>
                    <a:gd name="T7" fmla="*/ 1368144 h 74"/>
                    <a:gd name="T8" fmla="*/ 4922977 w 142"/>
                    <a:gd name="T9" fmla="*/ 1289386 h 74"/>
                    <a:gd name="T10" fmla="*/ 5178372 w 142"/>
                    <a:gd name="T11" fmla="*/ 1719217 h 74"/>
                    <a:gd name="T12" fmla="*/ 5426975 w 142"/>
                    <a:gd name="T13" fmla="*/ 885002 h 74"/>
                    <a:gd name="T14" fmla="*/ 6633279 w 142"/>
                    <a:gd name="T15" fmla="*/ 1368144 h 74"/>
                    <a:gd name="T16" fmla="*/ 7557735 w 142"/>
                    <a:gd name="T17" fmla="*/ 2193837 h 74"/>
                    <a:gd name="T18" fmla="*/ 6955243 w 142"/>
                    <a:gd name="T19" fmla="*/ 636097 h 74"/>
                    <a:gd name="T20" fmla="*/ 8047024 w 142"/>
                    <a:gd name="T21" fmla="*/ 636097 h 74"/>
                    <a:gd name="T22" fmla="*/ 8686887 w 142"/>
                    <a:gd name="T23" fmla="*/ 76374 h 74"/>
                    <a:gd name="T24" fmla="*/ 8849563 w 142"/>
                    <a:gd name="T25" fmla="*/ 966000 h 74"/>
                    <a:gd name="T26" fmla="*/ 9343558 w 142"/>
                    <a:gd name="T27" fmla="*/ 2613620 h 74"/>
                    <a:gd name="T28" fmla="*/ 9903326 w 142"/>
                    <a:gd name="T29" fmla="*/ 3636330 h 74"/>
                    <a:gd name="T30" fmla="*/ 11477181 w 142"/>
                    <a:gd name="T31" fmla="*/ 4721996 h 74"/>
                    <a:gd name="T32" fmla="*/ 10426255 w 142"/>
                    <a:gd name="T33" fmla="*/ 4721996 h 74"/>
                    <a:gd name="T34" fmla="*/ 10140472 w 142"/>
                    <a:gd name="T35" fmla="*/ 5214651 h 74"/>
                    <a:gd name="T36" fmla="*/ 11006823 w 142"/>
                    <a:gd name="T37" fmla="*/ 5374119 h 74"/>
                    <a:gd name="T38" fmla="*/ 9009202 w 142"/>
                    <a:gd name="T39" fmla="*/ 5538253 h 74"/>
                    <a:gd name="T40" fmla="*/ 8047024 w 142"/>
                    <a:gd name="T41" fmla="*/ 4966792 h 74"/>
                    <a:gd name="T42" fmla="*/ 7387886 w 142"/>
                    <a:gd name="T43" fmla="*/ 5374119 h 74"/>
                    <a:gd name="T44" fmla="*/ 5426975 w 142"/>
                    <a:gd name="T45" fmla="*/ 5852064 h 74"/>
                    <a:gd name="T46" fmla="*/ 3604920 w 142"/>
                    <a:gd name="T47" fmla="*/ 5538253 h 74"/>
                    <a:gd name="T48" fmla="*/ 2228057 w 142"/>
                    <a:gd name="T49" fmla="*/ 5041437 h 74"/>
                    <a:gd name="T50" fmla="*/ 1574681 w 142"/>
                    <a:gd name="T51" fmla="*/ 4292118 h 74"/>
                    <a:gd name="T52" fmla="*/ 4244846 w 142"/>
                    <a:gd name="T53" fmla="*/ 4215758 h 74"/>
                    <a:gd name="T54" fmla="*/ 4165772 w 142"/>
                    <a:gd name="T55" fmla="*/ 3636330 h 74"/>
                    <a:gd name="T56" fmla="*/ 1728730 w 142"/>
                    <a:gd name="T57" fmla="*/ 3734609 h 74"/>
                    <a:gd name="T58" fmla="*/ 640480 w 142"/>
                    <a:gd name="T59" fmla="*/ 3238093 h 74"/>
                    <a:gd name="T60" fmla="*/ 2465187 w 142"/>
                    <a:gd name="T61" fmla="*/ 2689995 h 74"/>
                    <a:gd name="T62" fmla="*/ 895861 w 142"/>
                    <a:gd name="T63" fmla="*/ 2689995 h 7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142" h="74">
                      <a:moveTo>
                        <a:pt x="6" y="31"/>
                      </a:moveTo>
                      <a:cubicBezTo>
                        <a:pt x="4" y="30"/>
                        <a:pt x="0" y="31"/>
                        <a:pt x="2" y="29"/>
                      </a:cubicBezTo>
                      <a:cubicBezTo>
                        <a:pt x="4" y="26"/>
                        <a:pt x="7" y="26"/>
                        <a:pt x="9" y="24"/>
                      </a:cubicBezTo>
                      <a:cubicBezTo>
                        <a:pt x="10" y="23"/>
                        <a:pt x="3" y="19"/>
                        <a:pt x="15" y="17"/>
                      </a:cubicBezTo>
                      <a:cubicBezTo>
                        <a:pt x="18" y="16"/>
                        <a:pt x="25" y="12"/>
                        <a:pt x="26" y="11"/>
                      </a:cubicBezTo>
                      <a:cubicBezTo>
                        <a:pt x="30" y="10"/>
                        <a:pt x="37" y="6"/>
                        <a:pt x="39" y="8"/>
                      </a:cubicBezTo>
                      <a:cubicBezTo>
                        <a:pt x="41" y="10"/>
                        <a:pt x="36" y="17"/>
                        <a:pt x="37" y="17"/>
                      </a:cubicBezTo>
                      <a:cubicBezTo>
                        <a:pt x="38" y="18"/>
                        <a:pt x="44" y="18"/>
                        <a:pt x="45" y="17"/>
                      </a:cubicBezTo>
                      <a:cubicBezTo>
                        <a:pt x="45" y="16"/>
                        <a:pt x="46" y="11"/>
                        <a:pt x="47" y="11"/>
                      </a:cubicBezTo>
                      <a:cubicBezTo>
                        <a:pt x="48" y="11"/>
                        <a:pt x="60" y="14"/>
                        <a:pt x="60" y="16"/>
                      </a:cubicBezTo>
                      <a:cubicBezTo>
                        <a:pt x="61" y="18"/>
                        <a:pt x="56" y="20"/>
                        <a:pt x="58" y="21"/>
                      </a:cubicBezTo>
                      <a:cubicBezTo>
                        <a:pt x="59" y="22"/>
                        <a:pt x="61" y="21"/>
                        <a:pt x="63" y="21"/>
                      </a:cubicBezTo>
                      <a:cubicBezTo>
                        <a:pt x="65" y="21"/>
                        <a:pt x="68" y="18"/>
                        <a:pt x="69" y="17"/>
                      </a:cubicBezTo>
                      <a:cubicBezTo>
                        <a:pt x="70" y="16"/>
                        <a:pt x="65" y="12"/>
                        <a:pt x="66" y="11"/>
                      </a:cubicBezTo>
                      <a:cubicBezTo>
                        <a:pt x="68" y="11"/>
                        <a:pt x="71" y="11"/>
                        <a:pt x="73" y="12"/>
                      </a:cubicBezTo>
                      <a:cubicBezTo>
                        <a:pt x="74" y="13"/>
                        <a:pt x="81" y="15"/>
                        <a:pt x="81" y="17"/>
                      </a:cubicBezTo>
                      <a:cubicBezTo>
                        <a:pt x="81" y="20"/>
                        <a:pt x="83" y="31"/>
                        <a:pt x="85" y="31"/>
                      </a:cubicBezTo>
                      <a:cubicBezTo>
                        <a:pt x="87" y="31"/>
                        <a:pt x="91" y="29"/>
                        <a:pt x="92" y="27"/>
                      </a:cubicBezTo>
                      <a:cubicBezTo>
                        <a:pt x="93" y="26"/>
                        <a:pt x="90" y="24"/>
                        <a:pt x="89" y="22"/>
                      </a:cubicBezTo>
                      <a:cubicBezTo>
                        <a:pt x="89" y="19"/>
                        <a:pt x="84" y="9"/>
                        <a:pt x="85" y="8"/>
                      </a:cubicBezTo>
                      <a:cubicBezTo>
                        <a:pt x="86" y="6"/>
                        <a:pt x="90" y="7"/>
                        <a:pt x="92" y="8"/>
                      </a:cubicBezTo>
                      <a:cubicBezTo>
                        <a:pt x="93" y="8"/>
                        <a:pt x="97" y="8"/>
                        <a:pt x="98" y="8"/>
                      </a:cubicBezTo>
                      <a:cubicBezTo>
                        <a:pt x="98" y="8"/>
                        <a:pt x="94" y="3"/>
                        <a:pt x="96" y="2"/>
                      </a:cubicBezTo>
                      <a:cubicBezTo>
                        <a:pt x="99" y="1"/>
                        <a:pt x="102" y="1"/>
                        <a:pt x="106" y="1"/>
                      </a:cubicBezTo>
                      <a:cubicBezTo>
                        <a:pt x="110" y="0"/>
                        <a:pt x="112" y="2"/>
                        <a:pt x="113" y="4"/>
                      </a:cubicBezTo>
                      <a:cubicBezTo>
                        <a:pt x="113" y="6"/>
                        <a:pt x="109" y="12"/>
                        <a:pt x="108" y="12"/>
                      </a:cubicBezTo>
                      <a:cubicBezTo>
                        <a:pt x="106" y="12"/>
                        <a:pt x="106" y="15"/>
                        <a:pt x="106" y="15"/>
                      </a:cubicBezTo>
                      <a:cubicBezTo>
                        <a:pt x="106" y="15"/>
                        <a:pt x="113" y="30"/>
                        <a:pt x="114" y="32"/>
                      </a:cubicBezTo>
                      <a:cubicBezTo>
                        <a:pt x="114" y="34"/>
                        <a:pt x="110" y="38"/>
                        <a:pt x="112" y="39"/>
                      </a:cubicBezTo>
                      <a:cubicBezTo>
                        <a:pt x="114" y="41"/>
                        <a:pt x="118" y="44"/>
                        <a:pt x="121" y="45"/>
                      </a:cubicBezTo>
                      <a:cubicBezTo>
                        <a:pt x="123" y="46"/>
                        <a:pt x="138" y="49"/>
                        <a:pt x="139" y="51"/>
                      </a:cubicBezTo>
                      <a:cubicBezTo>
                        <a:pt x="140" y="53"/>
                        <a:pt x="142" y="58"/>
                        <a:pt x="140" y="58"/>
                      </a:cubicBezTo>
                      <a:cubicBezTo>
                        <a:pt x="139" y="59"/>
                        <a:pt x="133" y="56"/>
                        <a:pt x="131" y="55"/>
                      </a:cubicBezTo>
                      <a:cubicBezTo>
                        <a:pt x="130" y="55"/>
                        <a:pt x="128" y="57"/>
                        <a:pt x="127" y="58"/>
                      </a:cubicBezTo>
                      <a:cubicBezTo>
                        <a:pt x="126" y="59"/>
                        <a:pt x="124" y="60"/>
                        <a:pt x="123" y="60"/>
                      </a:cubicBezTo>
                      <a:cubicBezTo>
                        <a:pt x="121" y="59"/>
                        <a:pt x="122" y="64"/>
                        <a:pt x="124" y="64"/>
                      </a:cubicBezTo>
                      <a:cubicBezTo>
                        <a:pt x="125" y="64"/>
                        <a:pt x="130" y="60"/>
                        <a:pt x="132" y="61"/>
                      </a:cubicBezTo>
                      <a:cubicBezTo>
                        <a:pt x="133" y="63"/>
                        <a:pt x="135" y="64"/>
                        <a:pt x="134" y="66"/>
                      </a:cubicBezTo>
                      <a:cubicBezTo>
                        <a:pt x="134" y="68"/>
                        <a:pt x="129" y="70"/>
                        <a:pt x="126" y="70"/>
                      </a:cubicBezTo>
                      <a:cubicBezTo>
                        <a:pt x="122" y="70"/>
                        <a:pt x="111" y="69"/>
                        <a:pt x="110" y="68"/>
                      </a:cubicBezTo>
                      <a:cubicBezTo>
                        <a:pt x="109" y="66"/>
                        <a:pt x="105" y="65"/>
                        <a:pt x="103" y="65"/>
                      </a:cubicBezTo>
                      <a:cubicBezTo>
                        <a:pt x="101" y="65"/>
                        <a:pt x="100" y="62"/>
                        <a:pt x="98" y="61"/>
                      </a:cubicBezTo>
                      <a:cubicBezTo>
                        <a:pt x="96" y="61"/>
                        <a:pt x="94" y="61"/>
                        <a:pt x="93" y="63"/>
                      </a:cubicBezTo>
                      <a:cubicBezTo>
                        <a:pt x="92" y="64"/>
                        <a:pt x="93" y="66"/>
                        <a:pt x="90" y="66"/>
                      </a:cubicBezTo>
                      <a:cubicBezTo>
                        <a:pt x="87" y="66"/>
                        <a:pt x="83" y="68"/>
                        <a:pt x="81" y="69"/>
                      </a:cubicBezTo>
                      <a:cubicBezTo>
                        <a:pt x="79" y="69"/>
                        <a:pt x="71" y="72"/>
                        <a:pt x="66" y="72"/>
                      </a:cubicBezTo>
                      <a:cubicBezTo>
                        <a:pt x="62" y="72"/>
                        <a:pt x="51" y="74"/>
                        <a:pt x="49" y="73"/>
                      </a:cubicBezTo>
                      <a:cubicBezTo>
                        <a:pt x="47" y="72"/>
                        <a:pt x="44" y="72"/>
                        <a:pt x="44" y="68"/>
                      </a:cubicBezTo>
                      <a:cubicBezTo>
                        <a:pt x="44" y="65"/>
                        <a:pt x="44" y="63"/>
                        <a:pt x="42" y="63"/>
                      </a:cubicBezTo>
                      <a:cubicBezTo>
                        <a:pt x="41" y="63"/>
                        <a:pt x="31" y="64"/>
                        <a:pt x="27" y="62"/>
                      </a:cubicBezTo>
                      <a:cubicBezTo>
                        <a:pt x="23" y="61"/>
                        <a:pt x="16" y="59"/>
                        <a:pt x="15" y="56"/>
                      </a:cubicBezTo>
                      <a:cubicBezTo>
                        <a:pt x="14" y="54"/>
                        <a:pt x="17" y="53"/>
                        <a:pt x="19" y="53"/>
                      </a:cubicBezTo>
                      <a:cubicBezTo>
                        <a:pt x="22" y="52"/>
                        <a:pt x="34" y="51"/>
                        <a:pt x="38" y="51"/>
                      </a:cubicBezTo>
                      <a:cubicBezTo>
                        <a:pt x="41" y="51"/>
                        <a:pt x="49" y="52"/>
                        <a:pt x="52" y="52"/>
                      </a:cubicBezTo>
                      <a:cubicBezTo>
                        <a:pt x="54" y="52"/>
                        <a:pt x="57" y="50"/>
                        <a:pt x="57" y="48"/>
                      </a:cubicBezTo>
                      <a:cubicBezTo>
                        <a:pt x="57" y="47"/>
                        <a:pt x="54" y="46"/>
                        <a:pt x="51" y="45"/>
                      </a:cubicBezTo>
                      <a:cubicBezTo>
                        <a:pt x="47" y="45"/>
                        <a:pt x="41" y="43"/>
                        <a:pt x="38" y="44"/>
                      </a:cubicBezTo>
                      <a:cubicBezTo>
                        <a:pt x="35" y="44"/>
                        <a:pt x="24" y="46"/>
                        <a:pt x="21" y="46"/>
                      </a:cubicBezTo>
                      <a:cubicBezTo>
                        <a:pt x="19" y="46"/>
                        <a:pt x="13" y="46"/>
                        <a:pt x="11" y="44"/>
                      </a:cubicBezTo>
                      <a:cubicBezTo>
                        <a:pt x="8" y="42"/>
                        <a:pt x="6" y="42"/>
                        <a:pt x="8" y="40"/>
                      </a:cubicBezTo>
                      <a:cubicBezTo>
                        <a:pt x="9" y="39"/>
                        <a:pt x="22" y="37"/>
                        <a:pt x="24" y="36"/>
                      </a:cubicBezTo>
                      <a:cubicBezTo>
                        <a:pt x="26" y="35"/>
                        <a:pt x="30" y="35"/>
                        <a:pt x="30" y="33"/>
                      </a:cubicBezTo>
                      <a:cubicBezTo>
                        <a:pt x="29" y="32"/>
                        <a:pt x="26" y="32"/>
                        <a:pt x="23" y="32"/>
                      </a:cubicBezTo>
                      <a:cubicBezTo>
                        <a:pt x="21" y="32"/>
                        <a:pt x="14" y="34"/>
                        <a:pt x="11" y="33"/>
                      </a:cubicBezTo>
                      <a:cubicBezTo>
                        <a:pt x="7" y="32"/>
                        <a:pt x="8" y="33"/>
                        <a:pt x="6" y="31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3" name="Freeform 251"/>
                <p:cNvSpPr>
                  <a:spLocks/>
                </p:cNvSpPr>
                <p:nvPr/>
              </p:nvSpPr>
              <p:spPr bwMode="auto">
                <a:xfrm>
                  <a:off x="867" y="1068"/>
                  <a:ext cx="37" cy="25"/>
                </a:xfrm>
                <a:custGeom>
                  <a:avLst/>
                  <a:gdLst>
                    <a:gd name="T0" fmla="*/ 1320818 w 18"/>
                    <a:gd name="T1" fmla="*/ 901442 h 12"/>
                    <a:gd name="T2" fmla="*/ 700272 w 18"/>
                    <a:gd name="T3" fmla="*/ 1389306 h 12"/>
                    <a:gd name="T4" fmla="*/ 0 w 18"/>
                    <a:gd name="T5" fmla="*/ 1016710 h 12"/>
                    <a:gd name="T6" fmla="*/ 1229699 w 18"/>
                    <a:gd name="T7" fmla="*/ 112440 h 12"/>
                    <a:gd name="T8" fmla="*/ 1639285 w 18"/>
                    <a:gd name="T9" fmla="*/ 112440 h 12"/>
                    <a:gd name="T10" fmla="*/ 1320818 w 18"/>
                    <a:gd name="T11" fmla="*/ 901442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8" h="12">
                      <a:moveTo>
                        <a:pt x="13" y="7"/>
                      </a:moveTo>
                      <a:cubicBezTo>
                        <a:pt x="13" y="9"/>
                        <a:pt x="9" y="11"/>
                        <a:pt x="7" y="11"/>
                      </a:cubicBezTo>
                      <a:cubicBezTo>
                        <a:pt x="6" y="12"/>
                        <a:pt x="0" y="10"/>
                        <a:pt x="0" y="8"/>
                      </a:cubicBezTo>
                      <a:cubicBezTo>
                        <a:pt x="1" y="7"/>
                        <a:pt x="10" y="1"/>
                        <a:pt x="12" y="1"/>
                      </a:cubicBezTo>
                      <a:cubicBezTo>
                        <a:pt x="12" y="1"/>
                        <a:pt x="15" y="0"/>
                        <a:pt x="16" y="1"/>
                      </a:cubicBezTo>
                      <a:cubicBezTo>
                        <a:pt x="18" y="1"/>
                        <a:pt x="14" y="5"/>
                        <a:pt x="13" y="7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4" name="Freeform 252"/>
                <p:cNvSpPr>
                  <a:spLocks/>
                </p:cNvSpPr>
                <p:nvPr/>
              </p:nvSpPr>
              <p:spPr bwMode="auto">
                <a:xfrm>
                  <a:off x="770" y="1115"/>
                  <a:ext cx="164" cy="103"/>
                </a:xfrm>
                <a:custGeom>
                  <a:avLst/>
                  <a:gdLst>
                    <a:gd name="T0" fmla="*/ 546778 w 81"/>
                    <a:gd name="T1" fmla="*/ 2159999 h 51"/>
                    <a:gd name="T2" fmla="*/ 1190897 w 81"/>
                    <a:gd name="T3" fmla="*/ 1219126 h 51"/>
                    <a:gd name="T4" fmla="*/ 1422435 w 81"/>
                    <a:gd name="T5" fmla="*/ 903393 h 51"/>
                    <a:gd name="T6" fmla="*/ 778320 w 81"/>
                    <a:gd name="T7" fmla="*/ 677568 h 51"/>
                    <a:gd name="T8" fmla="*/ 626118 w 81"/>
                    <a:gd name="T9" fmla="*/ 221484 h 51"/>
                    <a:gd name="T10" fmla="*/ 1921758 w 81"/>
                    <a:gd name="T11" fmla="*/ 73279 h 51"/>
                    <a:gd name="T12" fmla="*/ 2806210 w 81"/>
                    <a:gd name="T13" fmla="*/ 0 h 51"/>
                    <a:gd name="T14" fmla="*/ 3738232 w 81"/>
                    <a:gd name="T15" fmla="*/ 447311 h 51"/>
                    <a:gd name="T16" fmla="*/ 5034357 w 81"/>
                    <a:gd name="T17" fmla="*/ 373298 h 51"/>
                    <a:gd name="T18" fmla="*/ 6460033 w 81"/>
                    <a:gd name="T19" fmla="*/ 1219126 h 51"/>
                    <a:gd name="T20" fmla="*/ 4144235 w 81"/>
                    <a:gd name="T21" fmla="*/ 2081604 h 51"/>
                    <a:gd name="T22" fmla="*/ 3815596 w 81"/>
                    <a:gd name="T23" fmla="*/ 2614427 h 51"/>
                    <a:gd name="T24" fmla="*/ 3344193 w 81"/>
                    <a:gd name="T25" fmla="*/ 2688078 h 51"/>
                    <a:gd name="T26" fmla="*/ 3264801 w 81"/>
                    <a:gd name="T27" fmla="*/ 3383695 h 51"/>
                    <a:gd name="T28" fmla="*/ 2643864 w 81"/>
                    <a:gd name="T29" fmla="*/ 3531133 h 51"/>
                    <a:gd name="T30" fmla="*/ 1921758 w 81"/>
                    <a:gd name="T31" fmla="*/ 3906273 h 51"/>
                    <a:gd name="T32" fmla="*/ 1500428 w 81"/>
                    <a:gd name="T33" fmla="*/ 3757058 h 51"/>
                    <a:gd name="T34" fmla="*/ 1343059 w 81"/>
                    <a:gd name="T35" fmla="*/ 3458930 h 51"/>
                    <a:gd name="T36" fmla="*/ 152735 w 81"/>
                    <a:gd name="T37" fmla="*/ 2927464 h 51"/>
                    <a:gd name="T38" fmla="*/ 546778 w 81"/>
                    <a:gd name="T39" fmla="*/ 2159999 h 5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81" h="51">
                      <a:moveTo>
                        <a:pt x="7" y="28"/>
                      </a:moveTo>
                      <a:cubicBezTo>
                        <a:pt x="8" y="26"/>
                        <a:pt x="14" y="17"/>
                        <a:pt x="15" y="16"/>
                      </a:cubicBezTo>
                      <a:cubicBezTo>
                        <a:pt x="16" y="15"/>
                        <a:pt x="18" y="14"/>
                        <a:pt x="18" y="12"/>
                      </a:cubicBezTo>
                      <a:cubicBezTo>
                        <a:pt x="18" y="11"/>
                        <a:pt x="11" y="11"/>
                        <a:pt x="10" y="9"/>
                      </a:cubicBezTo>
                      <a:cubicBezTo>
                        <a:pt x="10" y="8"/>
                        <a:pt x="7" y="4"/>
                        <a:pt x="8" y="3"/>
                      </a:cubicBezTo>
                      <a:cubicBezTo>
                        <a:pt x="9" y="3"/>
                        <a:pt x="22" y="1"/>
                        <a:pt x="24" y="1"/>
                      </a:cubicBezTo>
                      <a:cubicBezTo>
                        <a:pt x="27" y="1"/>
                        <a:pt x="34" y="0"/>
                        <a:pt x="35" y="0"/>
                      </a:cubicBezTo>
                      <a:cubicBezTo>
                        <a:pt x="36" y="0"/>
                        <a:pt x="44" y="6"/>
                        <a:pt x="47" y="6"/>
                      </a:cubicBezTo>
                      <a:cubicBezTo>
                        <a:pt x="49" y="7"/>
                        <a:pt x="61" y="5"/>
                        <a:pt x="63" y="5"/>
                      </a:cubicBezTo>
                      <a:cubicBezTo>
                        <a:pt x="65" y="5"/>
                        <a:pt x="81" y="14"/>
                        <a:pt x="81" y="16"/>
                      </a:cubicBezTo>
                      <a:cubicBezTo>
                        <a:pt x="80" y="17"/>
                        <a:pt x="54" y="27"/>
                        <a:pt x="52" y="27"/>
                      </a:cubicBezTo>
                      <a:cubicBezTo>
                        <a:pt x="51" y="28"/>
                        <a:pt x="50" y="34"/>
                        <a:pt x="48" y="34"/>
                      </a:cubicBezTo>
                      <a:cubicBezTo>
                        <a:pt x="47" y="34"/>
                        <a:pt x="43" y="34"/>
                        <a:pt x="42" y="35"/>
                      </a:cubicBezTo>
                      <a:cubicBezTo>
                        <a:pt x="42" y="36"/>
                        <a:pt x="44" y="43"/>
                        <a:pt x="41" y="44"/>
                      </a:cubicBezTo>
                      <a:cubicBezTo>
                        <a:pt x="38" y="46"/>
                        <a:pt x="34" y="46"/>
                        <a:pt x="33" y="46"/>
                      </a:cubicBezTo>
                      <a:cubicBezTo>
                        <a:pt x="32" y="46"/>
                        <a:pt x="27" y="51"/>
                        <a:pt x="24" y="51"/>
                      </a:cubicBezTo>
                      <a:cubicBezTo>
                        <a:pt x="22" y="51"/>
                        <a:pt x="19" y="51"/>
                        <a:pt x="19" y="49"/>
                      </a:cubicBezTo>
                      <a:cubicBezTo>
                        <a:pt x="18" y="48"/>
                        <a:pt x="18" y="46"/>
                        <a:pt x="17" y="45"/>
                      </a:cubicBezTo>
                      <a:cubicBezTo>
                        <a:pt x="14" y="43"/>
                        <a:pt x="4" y="38"/>
                        <a:pt x="2" y="38"/>
                      </a:cubicBezTo>
                      <a:cubicBezTo>
                        <a:pt x="0" y="38"/>
                        <a:pt x="5" y="29"/>
                        <a:pt x="7" y="28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5" name="Freeform 253"/>
                <p:cNvSpPr>
                  <a:spLocks/>
                </p:cNvSpPr>
                <p:nvPr/>
              </p:nvSpPr>
              <p:spPr bwMode="auto">
                <a:xfrm>
                  <a:off x="815" y="1020"/>
                  <a:ext cx="117" cy="54"/>
                </a:xfrm>
                <a:custGeom>
                  <a:avLst/>
                  <a:gdLst>
                    <a:gd name="T0" fmla="*/ 294782 w 58"/>
                    <a:gd name="T1" fmla="*/ 1245184 h 27"/>
                    <a:gd name="T2" fmla="*/ 889525 w 58"/>
                    <a:gd name="T3" fmla="*/ 1179648 h 27"/>
                    <a:gd name="T4" fmla="*/ 1199545 w 58"/>
                    <a:gd name="T5" fmla="*/ 917504 h 27"/>
                    <a:gd name="T6" fmla="*/ 2270653 w 58"/>
                    <a:gd name="T7" fmla="*/ 262144 h 27"/>
                    <a:gd name="T8" fmla="*/ 3396276 w 58"/>
                    <a:gd name="T9" fmla="*/ 327680 h 27"/>
                    <a:gd name="T10" fmla="*/ 3690926 w 58"/>
                    <a:gd name="T11" fmla="*/ 0 h 27"/>
                    <a:gd name="T12" fmla="*/ 4359166 w 58"/>
                    <a:gd name="T13" fmla="*/ 262144 h 27"/>
                    <a:gd name="T14" fmla="*/ 3845917 w 58"/>
                    <a:gd name="T15" fmla="*/ 458752 h 27"/>
                    <a:gd name="T16" fmla="*/ 4141675 w 58"/>
                    <a:gd name="T17" fmla="*/ 851968 h 27"/>
                    <a:gd name="T18" fmla="*/ 3619712 w 58"/>
                    <a:gd name="T19" fmla="*/ 1048576 h 27"/>
                    <a:gd name="T20" fmla="*/ 3160182 w 58"/>
                    <a:gd name="T21" fmla="*/ 1245184 h 27"/>
                    <a:gd name="T22" fmla="*/ 2942134 w 58"/>
                    <a:gd name="T23" fmla="*/ 917504 h 27"/>
                    <a:gd name="T24" fmla="*/ 2566480 w 58"/>
                    <a:gd name="T25" fmla="*/ 917504 h 27"/>
                    <a:gd name="T26" fmla="*/ 2419772 w 58"/>
                    <a:gd name="T27" fmla="*/ 1310720 h 27"/>
                    <a:gd name="T28" fmla="*/ 2016227 w 58"/>
                    <a:gd name="T29" fmla="*/ 1572864 h 27"/>
                    <a:gd name="T30" fmla="*/ 1566586 w 58"/>
                    <a:gd name="T31" fmla="*/ 1769472 h 27"/>
                    <a:gd name="T32" fmla="*/ 1199545 w 58"/>
                    <a:gd name="T33" fmla="*/ 1441792 h 27"/>
                    <a:gd name="T34" fmla="*/ 889525 w 58"/>
                    <a:gd name="T35" fmla="*/ 1769472 h 27"/>
                    <a:gd name="T36" fmla="*/ 513241 w 58"/>
                    <a:gd name="T37" fmla="*/ 1703936 h 27"/>
                    <a:gd name="T38" fmla="*/ 294782 w 58"/>
                    <a:gd name="T39" fmla="*/ 1769472 h 27"/>
                    <a:gd name="T40" fmla="*/ 72441 w 58"/>
                    <a:gd name="T41" fmla="*/ 1638400 h 27"/>
                    <a:gd name="T42" fmla="*/ 294782 w 58"/>
                    <a:gd name="T43" fmla="*/ 1245184 h 27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58" h="27">
                      <a:moveTo>
                        <a:pt x="4" y="19"/>
                      </a:moveTo>
                      <a:cubicBezTo>
                        <a:pt x="6" y="18"/>
                        <a:pt x="10" y="20"/>
                        <a:pt x="12" y="18"/>
                      </a:cubicBezTo>
                      <a:cubicBezTo>
                        <a:pt x="14" y="17"/>
                        <a:pt x="14" y="15"/>
                        <a:pt x="16" y="14"/>
                      </a:cubicBezTo>
                      <a:cubicBezTo>
                        <a:pt x="17" y="12"/>
                        <a:pt x="28" y="5"/>
                        <a:pt x="30" y="4"/>
                      </a:cubicBezTo>
                      <a:cubicBezTo>
                        <a:pt x="32" y="4"/>
                        <a:pt x="44" y="6"/>
                        <a:pt x="45" y="5"/>
                      </a:cubicBezTo>
                      <a:cubicBezTo>
                        <a:pt x="47" y="3"/>
                        <a:pt x="46" y="0"/>
                        <a:pt x="49" y="0"/>
                      </a:cubicBezTo>
                      <a:cubicBezTo>
                        <a:pt x="52" y="0"/>
                        <a:pt x="58" y="4"/>
                        <a:pt x="58" y="4"/>
                      </a:cubicBezTo>
                      <a:cubicBezTo>
                        <a:pt x="58" y="5"/>
                        <a:pt x="51" y="6"/>
                        <a:pt x="51" y="7"/>
                      </a:cubicBezTo>
                      <a:cubicBezTo>
                        <a:pt x="51" y="8"/>
                        <a:pt x="56" y="12"/>
                        <a:pt x="55" y="13"/>
                      </a:cubicBezTo>
                      <a:cubicBezTo>
                        <a:pt x="54" y="14"/>
                        <a:pt x="50" y="16"/>
                        <a:pt x="48" y="16"/>
                      </a:cubicBezTo>
                      <a:cubicBezTo>
                        <a:pt x="46" y="16"/>
                        <a:pt x="46" y="20"/>
                        <a:pt x="42" y="19"/>
                      </a:cubicBezTo>
                      <a:cubicBezTo>
                        <a:pt x="39" y="18"/>
                        <a:pt x="39" y="16"/>
                        <a:pt x="39" y="14"/>
                      </a:cubicBezTo>
                      <a:cubicBezTo>
                        <a:pt x="39" y="12"/>
                        <a:pt x="36" y="13"/>
                        <a:pt x="34" y="14"/>
                      </a:cubicBezTo>
                      <a:cubicBezTo>
                        <a:pt x="33" y="15"/>
                        <a:pt x="34" y="19"/>
                        <a:pt x="32" y="20"/>
                      </a:cubicBezTo>
                      <a:cubicBezTo>
                        <a:pt x="29" y="21"/>
                        <a:pt x="29" y="24"/>
                        <a:pt x="27" y="24"/>
                      </a:cubicBezTo>
                      <a:cubicBezTo>
                        <a:pt x="25" y="24"/>
                        <a:pt x="22" y="27"/>
                        <a:pt x="21" y="27"/>
                      </a:cubicBezTo>
                      <a:cubicBezTo>
                        <a:pt x="20" y="27"/>
                        <a:pt x="18" y="21"/>
                        <a:pt x="16" y="22"/>
                      </a:cubicBezTo>
                      <a:cubicBezTo>
                        <a:pt x="14" y="23"/>
                        <a:pt x="14" y="27"/>
                        <a:pt x="12" y="27"/>
                      </a:cubicBezTo>
                      <a:cubicBezTo>
                        <a:pt x="10" y="27"/>
                        <a:pt x="8" y="25"/>
                        <a:pt x="7" y="26"/>
                      </a:cubicBezTo>
                      <a:cubicBezTo>
                        <a:pt x="5" y="26"/>
                        <a:pt x="5" y="27"/>
                        <a:pt x="4" y="27"/>
                      </a:cubicBezTo>
                      <a:cubicBezTo>
                        <a:pt x="2" y="26"/>
                        <a:pt x="1" y="25"/>
                        <a:pt x="1" y="25"/>
                      </a:cubicBezTo>
                      <a:cubicBezTo>
                        <a:pt x="0" y="23"/>
                        <a:pt x="2" y="19"/>
                        <a:pt x="4" y="1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" name="Freeform 254"/>
                <p:cNvSpPr>
                  <a:spLocks/>
                </p:cNvSpPr>
                <p:nvPr/>
              </p:nvSpPr>
              <p:spPr bwMode="auto">
                <a:xfrm>
                  <a:off x="728" y="1702"/>
                  <a:ext cx="85" cy="47"/>
                </a:xfrm>
                <a:custGeom>
                  <a:avLst/>
                  <a:gdLst>
                    <a:gd name="T0" fmla="*/ 152008 w 42"/>
                    <a:gd name="T1" fmla="*/ 85127 h 23"/>
                    <a:gd name="T2" fmla="*/ 544000 w 42"/>
                    <a:gd name="T3" fmla="*/ 85127 h 23"/>
                    <a:gd name="T4" fmla="*/ 1100952 w 42"/>
                    <a:gd name="T5" fmla="*/ 445491 h 23"/>
                    <a:gd name="T6" fmla="*/ 1679541 w 42"/>
                    <a:gd name="T7" fmla="*/ 726401 h 23"/>
                    <a:gd name="T8" fmla="*/ 2305423 w 42"/>
                    <a:gd name="T9" fmla="*/ 1214194 h 23"/>
                    <a:gd name="T10" fmla="*/ 3172390 w 42"/>
                    <a:gd name="T11" fmla="*/ 1764470 h 23"/>
                    <a:gd name="T12" fmla="*/ 3324372 w 42"/>
                    <a:gd name="T13" fmla="*/ 2125679 h 23"/>
                    <a:gd name="T14" fmla="*/ 3098477 w 42"/>
                    <a:gd name="T15" fmla="*/ 2125679 h 23"/>
                    <a:gd name="T16" fmla="*/ 2941723 w 42"/>
                    <a:gd name="T17" fmla="*/ 2125679 h 23"/>
                    <a:gd name="T18" fmla="*/ 1836190 w 42"/>
                    <a:gd name="T19" fmla="*/ 1860282 h 23"/>
                    <a:gd name="T20" fmla="*/ 774546 w 42"/>
                    <a:gd name="T21" fmla="*/ 910351 h 23"/>
                    <a:gd name="T22" fmla="*/ 230868 w 42"/>
                    <a:gd name="T23" fmla="*/ 355473 h 23"/>
                    <a:gd name="T24" fmla="*/ 152008 w 42"/>
                    <a:gd name="T25" fmla="*/ 85127 h 2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42" h="23">
                      <a:moveTo>
                        <a:pt x="2" y="1"/>
                      </a:moveTo>
                      <a:cubicBezTo>
                        <a:pt x="4" y="0"/>
                        <a:pt x="6" y="0"/>
                        <a:pt x="7" y="1"/>
                      </a:cubicBezTo>
                      <a:cubicBezTo>
                        <a:pt x="8" y="2"/>
                        <a:pt x="12" y="5"/>
                        <a:pt x="14" y="5"/>
                      </a:cubicBezTo>
                      <a:cubicBezTo>
                        <a:pt x="16" y="6"/>
                        <a:pt x="19" y="7"/>
                        <a:pt x="21" y="8"/>
                      </a:cubicBezTo>
                      <a:cubicBezTo>
                        <a:pt x="24" y="9"/>
                        <a:pt x="26" y="11"/>
                        <a:pt x="29" y="13"/>
                      </a:cubicBezTo>
                      <a:cubicBezTo>
                        <a:pt x="31" y="16"/>
                        <a:pt x="38" y="18"/>
                        <a:pt x="40" y="19"/>
                      </a:cubicBezTo>
                      <a:cubicBezTo>
                        <a:pt x="42" y="20"/>
                        <a:pt x="42" y="23"/>
                        <a:pt x="42" y="23"/>
                      </a:cubicBezTo>
                      <a:cubicBezTo>
                        <a:pt x="41" y="23"/>
                        <a:pt x="40" y="23"/>
                        <a:pt x="39" y="23"/>
                      </a:cubicBezTo>
                      <a:cubicBezTo>
                        <a:pt x="38" y="23"/>
                        <a:pt x="37" y="23"/>
                        <a:pt x="37" y="23"/>
                      </a:cubicBezTo>
                      <a:cubicBezTo>
                        <a:pt x="35" y="23"/>
                        <a:pt x="26" y="21"/>
                        <a:pt x="23" y="20"/>
                      </a:cubicBezTo>
                      <a:cubicBezTo>
                        <a:pt x="20" y="19"/>
                        <a:pt x="12" y="12"/>
                        <a:pt x="10" y="10"/>
                      </a:cubicBezTo>
                      <a:cubicBezTo>
                        <a:pt x="9" y="8"/>
                        <a:pt x="4" y="6"/>
                        <a:pt x="3" y="4"/>
                      </a:cubicBezTo>
                      <a:cubicBezTo>
                        <a:pt x="2" y="2"/>
                        <a:pt x="0" y="2"/>
                        <a:pt x="2" y="1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7" name="Freeform 255"/>
                <p:cNvSpPr>
                  <a:spLocks/>
                </p:cNvSpPr>
                <p:nvPr/>
              </p:nvSpPr>
              <p:spPr bwMode="auto">
                <a:xfrm>
                  <a:off x="657" y="1635"/>
                  <a:ext cx="40" cy="51"/>
                </a:xfrm>
                <a:custGeom>
                  <a:avLst/>
                  <a:gdLst>
                    <a:gd name="T0" fmla="*/ 655360 w 20"/>
                    <a:gd name="T1" fmla="*/ 1619091 h 25"/>
                    <a:gd name="T2" fmla="*/ 65536 w 20"/>
                    <a:gd name="T3" fmla="*/ 624160 h 25"/>
                    <a:gd name="T4" fmla="*/ 0 w 20"/>
                    <a:gd name="T5" fmla="*/ 170675 h 25"/>
                    <a:gd name="T6" fmla="*/ 65536 w 20"/>
                    <a:gd name="T7" fmla="*/ 0 h 25"/>
                    <a:gd name="T8" fmla="*/ 720896 w 20"/>
                    <a:gd name="T9" fmla="*/ 0 h 25"/>
                    <a:gd name="T10" fmla="*/ 655360 w 20"/>
                    <a:gd name="T11" fmla="*/ 435487 h 25"/>
                    <a:gd name="T12" fmla="*/ 851968 w 20"/>
                    <a:gd name="T13" fmla="*/ 1059639 h 25"/>
                    <a:gd name="T14" fmla="*/ 1048576 w 20"/>
                    <a:gd name="T15" fmla="*/ 1537766 h 25"/>
                    <a:gd name="T16" fmla="*/ 1245184 w 20"/>
                    <a:gd name="T17" fmla="*/ 1993423 h 25"/>
                    <a:gd name="T18" fmla="*/ 1245184 w 20"/>
                    <a:gd name="T19" fmla="*/ 2161664 h 25"/>
                    <a:gd name="T20" fmla="*/ 655360 w 20"/>
                    <a:gd name="T21" fmla="*/ 1619091 h 2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0" h="25">
                      <a:moveTo>
                        <a:pt x="10" y="18"/>
                      </a:moveTo>
                      <a:cubicBezTo>
                        <a:pt x="7" y="16"/>
                        <a:pt x="1" y="9"/>
                        <a:pt x="1" y="7"/>
                      </a:cubicBezTo>
                      <a:cubicBezTo>
                        <a:pt x="0" y="6"/>
                        <a:pt x="0" y="4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10" y="0"/>
                        <a:pt x="11" y="0"/>
                      </a:cubicBezTo>
                      <a:cubicBezTo>
                        <a:pt x="11" y="1"/>
                        <a:pt x="10" y="3"/>
                        <a:pt x="10" y="5"/>
                      </a:cubicBezTo>
                      <a:cubicBezTo>
                        <a:pt x="10" y="8"/>
                        <a:pt x="12" y="11"/>
                        <a:pt x="13" y="12"/>
                      </a:cubicBezTo>
                      <a:cubicBezTo>
                        <a:pt x="14" y="14"/>
                        <a:pt x="15" y="16"/>
                        <a:pt x="16" y="17"/>
                      </a:cubicBezTo>
                      <a:cubicBezTo>
                        <a:pt x="17" y="18"/>
                        <a:pt x="19" y="22"/>
                        <a:pt x="19" y="22"/>
                      </a:cubicBezTo>
                      <a:cubicBezTo>
                        <a:pt x="20" y="23"/>
                        <a:pt x="19" y="24"/>
                        <a:pt x="19" y="24"/>
                      </a:cubicBezTo>
                      <a:cubicBezTo>
                        <a:pt x="18" y="25"/>
                        <a:pt x="12" y="21"/>
                        <a:pt x="10" y="18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8" name="Freeform 256"/>
                <p:cNvSpPr>
                  <a:spLocks/>
                </p:cNvSpPr>
                <p:nvPr/>
              </p:nvSpPr>
              <p:spPr bwMode="auto">
                <a:xfrm>
                  <a:off x="535" y="1127"/>
                  <a:ext cx="1324" cy="743"/>
                </a:xfrm>
                <a:custGeom>
                  <a:avLst/>
                  <a:gdLst>
                    <a:gd name="T0" fmla="*/ 3417942 w 654"/>
                    <a:gd name="T1" fmla="*/ 6219681 h 367"/>
                    <a:gd name="T2" fmla="*/ 6837915 w 654"/>
                    <a:gd name="T3" fmla="*/ 4377126 h 367"/>
                    <a:gd name="T4" fmla="*/ 7790865 w 654"/>
                    <a:gd name="T5" fmla="*/ 4057764 h 367"/>
                    <a:gd name="T6" fmla="*/ 10742596 w 654"/>
                    <a:gd name="T7" fmla="*/ 5499267 h 367"/>
                    <a:gd name="T8" fmla="*/ 15303567 w 654"/>
                    <a:gd name="T9" fmla="*/ 5903726 h 367"/>
                    <a:gd name="T10" fmla="*/ 18468709 w 654"/>
                    <a:gd name="T11" fmla="*/ 6996726 h 367"/>
                    <a:gd name="T12" fmla="*/ 21192974 w 654"/>
                    <a:gd name="T13" fmla="*/ 6144406 h 367"/>
                    <a:gd name="T14" fmla="*/ 24839463 w 654"/>
                    <a:gd name="T15" fmla="*/ 7074666 h 367"/>
                    <a:gd name="T16" fmla="*/ 25559782 w 654"/>
                    <a:gd name="T17" fmla="*/ 6062613 h 367"/>
                    <a:gd name="T18" fmla="*/ 27451581 w 654"/>
                    <a:gd name="T19" fmla="*/ 5751324 h 367"/>
                    <a:gd name="T20" fmla="*/ 27947338 w 654"/>
                    <a:gd name="T21" fmla="*/ 7643526 h 367"/>
                    <a:gd name="T22" fmla="*/ 28516267 w 654"/>
                    <a:gd name="T23" fmla="*/ 6144406 h 367"/>
                    <a:gd name="T24" fmla="*/ 27133394 w 654"/>
                    <a:gd name="T25" fmla="*/ 4608531 h 367"/>
                    <a:gd name="T26" fmla="*/ 27526416 w 654"/>
                    <a:gd name="T27" fmla="*/ 2957871 h 367"/>
                    <a:gd name="T28" fmla="*/ 27872646 w 654"/>
                    <a:gd name="T29" fmla="*/ 383809 h 367"/>
                    <a:gd name="T30" fmla="*/ 30319144 w 654"/>
                    <a:gd name="T31" fmla="*/ 1028334 h 367"/>
                    <a:gd name="T32" fmla="*/ 29213643 w 654"/>
                    <a:gd name="T33" fmla="*/ 3184808 h 367"/>
                    <a:gd name="T34" fmla="*/ 30792025 w 654"/>
                    <a:gd name="T35" fmla="*/ 5348612 h 367"/>
                    <a:gd name="T36" fmla="*/ 32403416 w 654"/>
                    <a:gd name="T37" fmla="*/ 6681512 h 367"/>
                    <a:gd name="T38" fmla="*/ 34128416 w 654"/>
                    <a:gd name="T39" fmla="*/ 6219681 h 367"/>
                    <a:gd name="T40" fmla="*/ 36306882 w 654"/>
                    <a:gd name="T41" fmla="*/ 5751324 h 367"/>
                    <a:gd name="T42" fmla="*/ 35195856 w 654"/>
                    <a:gd name="T43" fmla="*/ 8610963 h 367"/>
                    <a:gd name="T44" fmla="*/ 33118965 w 654"/>
                    <a:gd name="T45" fmla="*/ 9330078 h 367"/>
                    <a:gd name="T46" fmla="*/ 32863370 w 654"/>
                    <a:gd name="T47" fmla="*/ 9791805 h 367"/>
                    <a:gd name="T48" fmla="*/ 30319144 w 654"/>
                    <a:gd name="T49" fmla="*/ 11401861 h 367"/>
                    <a:gd name="T50" fmla="*/ 28105133 w 654"/>
                    <a:gd name="T51" fmla="*/ 15474495 h 367"/>
                    <a:gd name="T52" fmla="*/ 30867240 w 654"/>
                    <a:gd name="T53" fmla="*/ 17275282 h 367"/>
                    <a:gd name="T54" fmla="*/ 35815779 w 654"/>
                    <a:gd name="T55" fmla="*/ 20619586 h 367"/>
                    <a:gd name="T56" fmla="*/ 37313865 w 654"/>
                    <a:gd name="T57" fmla="*/ 19273444 h 367"/>
                    <a:gd name="T58" fmla="*/ 38541000 w 654"/>
                    <a:gd name="T59" fmla="*/ 15137993 h 367"/>
                    <a:gd name="T60" fmla="*/ 38541000 w 654"/>
                    <a:gd name="T61" fmla="*/ 12364129 h 367"/>
                    <a:gd name="T62" fmla="*/ 43454407 w 654"/>
                    <a:gd name="T63" fmla="*/ 13446725 h 367"/>
                    <a:gd name="T64" fmla="*/ 44290665 w 654"/>
                    <a:gd name="T65" fmla="*/ 15701305 h 367"/>
                    <a:gd name="T66" fmla="*/ 45938684 w 654"/>
                    <a:gd name="T67" fmla="*/ 14830231 h 367"/>
                    <a:gd name="T68" fmla="*/ 48010888 w 654"/>
                    <a:gd name="T69" fmla="*/ 16327083 h 367"/>
                    <a:gd name="T70" fmla="*/ 50967483 w 654"/>
                    <a:gd name="T71" fmla="*/ 19195800 h 367"/>
                    <a:gd name="T72" fmla="*/ 48876786 w 654"/>
                    <a:gd name="T73" fmla="*/ 20619586 h 367"/>
                    <a:gd name="T74" fmla="*/ 51896370 w 654"/>
                    <a:gd name="T75" fmla="*/ 20384699 h 367"/>
                    <a:gd name="T76" fmla="*/ 48326265 w 654"/>
                    <a:gd name="T77" fmla="*/ 23083332 h 367"/>
                    <a:gd name="T78" fmla="*/ 46322505 w 654"/>
                    <a:gd name="T79" fmla="*/ 24544120 h 367"/>
                    <a:gd name="T80" fmla="*/ 46322505 w 654"/>
                    <a:gd name="T81" fmla="*/ 25184040 h 367"/>
                    <a:gd name="T82" fmla="*/ 49124141 w 654"/>
                    <a:gd name="T83" fmla="*/ 25961070 h 367"/>
                    <a:gd name="T84" fmla="*/ 45938684 w 654"/>
                    <a:gd name="T85" fmla="*/ 28293355 h 367"/>
                    <a:gd name="T86" fmla="*/ 46322505 w 654"/>
                    <a:gd name="T87" fmla="*/ 26521095 h 367"/>
                    <a:gd name="T88" fmla="*/ 42986014 w 654"/>
                    <a:gd name="T89" fmla="*/ 26521095 h 367"/>
                    <a:gd name="T90" fmla="*/ 38222115 w 654"/>
                    <a:gd name="T91" fmla="*/ 27728813 h 367"/>
                    <a:gd name="T92" fmla="*/ 35511293 w 654"/>
                    <a:gd name="T93" fmla="*/ 29228336 h 367"/>
                    <a:gd name="T94" fmla="*/ 37005608 w 654"/>
                    <a:gd name="T95" fmla="*/ 27460458 h 367"/>
                    <a:gd name="T96" fmla="*/ 34399036 w 654"/>
                    <a:gd name="T97" fmla="*/ 25886250 h 367"/>
                    <a:gd name="T98" fmla="*/ 31930531 w 654"/>
                    <a:gd name="T99" fmla="*/ 24113891 h 367"/>
                    <a:gd name="T100" fmla="*/ 28742949 w 654"/>
                    <a:gd name="T101" fmla="*/ 24387131 h 367"/>
                    <a:gd name="T102" fmla="*/ 11284031 w 654"/>
                    <a:gd name="T103" fmla="*/ 23881368 h 367"/>
                    <a:gd name="T104" fmla="*/ 8289898 w 654"/>
                    <a:gd name="T105" fmla="*/ 22230791 h 367"/>
                    <a:gd name="T106" fmla="*/ 6444341 w 654"/>
                    <a:gd name="T107" fmla="*/ 19823736 h 367"/>
                    <a:gd name="T108" fmla="*/ 5573834 w 654"/>
                    <a:gd name="T109" fmla="*/ 18661595 h 367"/>
                    <a:gd name="T110" fmla="*/ 3733982 w 654"/>
                    <a:gd name="T111" fmla="*/ 15385362 h 367"/>
                    <a:gd name="T112" fmla="*/ 1341016 w 654"/>
                    <a:gd name="T113" fmla="*/ 14548762 h 367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0" t="0" r="r" b="b"/>
                  <a:pathLst>
                    <a:path w="654" h="367">
                      <a:moveTo>
                        <a:pt x="1" y="175"/>
                      </a:moveTo>
                      <a:cubicBezTo>
                        <a:pt x="0" y="63"/>
                        <a:pt x="0" y="63"/>
                        <a:pt x="0" y="63"/>
                      </a:cubicBezTo>
                      <a:cubicBezTo>
                        <a:pt x="4" y="65"/>
                        <a:pt x="7" y="66"/>
                        <a:pt x="8" y="66"/>
                      </a:cubicBezTo>
                      <a:cubicBezTo>
                        <a:pt x="11" y="66"/>
                        <a:pt x="16" y="67"/>
                        <a:pt x="20" y="69"/>
                      </a:cubicBezTo>
                      <a:cubicBezTo>
                        <a:pt x="25" y="72"/>
                        <a:pt x="28" y="74"/>
                        <a:pt x="33" y="76"/>
                      </a:cubicBezTo>
                      <a:cubicBezTo>
                        <a:pt x="37" y="78"/>
                        <a:pt x="41" y="78"/>
                        <a:pt x="43" y="78"/>
                      </a:cubicBezTo>
                      <a:cubicBezTo>
                        <a:pt x="45" y="78"/>
                        <a:pt x="41" y="74"/>
                        <a:pt x="39" y="73"/>
                      </a:cubicBezTo>
                      <a:cubicBezTo>
                        <a:pt x="38" y="72"/>
                        <a:pt x="38" y="69"/>
                        <a:pt x="41" y="68"/>
                      </a:cubicBezTo>
                      <a:cubicBezTo>
                        <a:pt x="43" y="68"/>
                        <a:pt x="49" y="65"/>
                        <a:pt x="51" y="65"/>
                      </a:cubicBezTo>
                      <a:cubicBezTo>
                        <a:pt x="53" y="66"/>
                        <a:pt x="60" y="67"/>
                        <a:pt x="62" y="67"/>
                      </a:cubicBezTo>
                      <a:cubicBezTo>
                        <a:pt x="64" y="67"/>
                        <a:pt x="73" y="60"/>
                        <a:pt x="75" y="59"/>
                      </a:cubicBezTo>
                      <a:cubicBezTo>
                        <a:pt x="76" y="58"/>
                        <a:pt x="84" y="54"/>
                        <a:pt x="86" y="55"/>
                      </a:cubicBezTo>
                      <a:cubicBezTo>
                        <a:pt x="87" y="55"/>
                        <a:pt x="89" y="57"/>
                        <a:pt x="89" y="58"/>
                      </a:cubicBezTo>
                      <a:cubicBezTo>
                        <a:pt x="89" y="60"/>
                        <a:pt x="82" y="62"/>
                        <a:pt x="82" y="63"/>
                      </a:cubicBezTo>
                      <a:cubicBezTo>
                        <a:pt x="81" y="64"/>
                        <a:pt x="82" y="66"/>
                        <a:pt x="84" y="66"/>
                      </a:cubicBezTo>
                      <a:cubicBezTo>
                        <a:pt x="85" y="65"/>
                        <a:pt x="94" y="63"/>
                        <a:pt x="96" y="62"/>
                      </a:cubicBezTo>
                      <a:cubicBezTo>
                        <a:pt x="98" y="61"/>
                        <a:pt x="98" y="58"/>
                        <a:pt x="98" y="57"/>
                      </a:cubicBezTo>
                      <a:cubicBezTo>
                        <a:pt x="98" y="55"/>
                        <a:pt x="96" y="52"/>
                        <a:pt x="98" y="51"/>
                      </a:cubicBezTo>
                      <a:cubicBezTo>
                        <a:pt x="100" y="51"/>
                        <a:pt x="104" y="54"/>
                        <a:pt x="106" y="57"/>
                      </a:cubicBezTo>
                      <a:cubicBezTo>
                        <a:pt x="109" y="59"/>
                        <a:pt x="114" y="66"/>
                        <a:pt x="116" y="67"/>
                      </a:cubicBezTo>
                      <a:cubicBezTo>
                        <a:pt x="118" y="68"/>
                        <a:pt x="119" y="60"/>
                        <a:pt x="120" y="60"/>
                      </a:cubicBezTo>
                      <a:cubicBezTo>
                        <a:pt x="121" y="59"/>
                        <a:pt x="127" y="57"/>
                        <a:pt x="128" y="59"/>
                      </a:cubicBezTo>
                      <a:cubicBezTo>
                        <a:pt x="128" y="61"/>
                        <a:pt x="125" y="68"/>
                        <a:pt x="127" y="69"/>
                      </a:cubicBezTo>
                      <a:cubicBezTo>
                        <a:pt x="128" y="71"/>
                        <a:pt x="132" y="69"/>
                        <a:pt x="135" y="69"/>
                      </a:cubicBezTo>
                      <a:cubicBezTo>
                        <a:pt x="137" y="69"/>
                        <a:pt x="137" y="63"/>
                        <a:pt x="138" y="63"/>
                      </a:cubicBezTo>
                      <a:cubicBezTo>
                        <a:pt x="139" y="63"/>
                        <a:pt x="144" y="62"/>
                        <a:pt x="147" y="62"/>
                      </a:cubicBezTo>
                      <a:cubicBezTo>
                        <a:pt x="150" y="63"/>
                        <a:pt x="153" y="64"/>
                        <a:pt x="156" y="66"/>
                      </a:cubicBezTo>
                      <a:cubicBezTo>
                        <a:pt x="160" y="68"/>
                        <a:pt x="172" y="72"/>
                        <a:pt x="175" y="73"/>
                      </a:cubicBezTo>
                      <a:cubicBezTo>
                        <a:pt x="178" y="74"/>
                        <a:pt x="185" y="75"/>
                        <a:pt x="187" y="76"/>
                      </a:cubicBezTo>
                      <a:cubicBezTo>
                        <a:pt x="189" y="77"/>
                        <a:pt x="190" y="74"/>
                        <a:pt x="192" y="74"/>
                      </a:cubicBezTo>
                      <a:cubicBezTo>
                        <a:pt x="194" y="75"/>
                        <a:pt x="202" y="77"/>
                        <a:pt x="204" y="78"/>
                      </a:cubicBezTo>
                      <a:cubicBezTo>
                        <a:pt x="206" y="79"/>
                        <a:pt x="208" y="83"/>
                        <a:pt x="207" y="83"/>
                      </a:cubicBezTo>
                      <a:cubicBezTo>
                        <a:pt x="206" y="84"/>
                        <a:pt x="200" y="84"/>
                        <a:pt x="198" y="84"/>
                      </a:cubicBezTo>
                      <a:cubicBezTo>
                        <a:pt x="197" y="84"/>
                        <a:pt x="196" y="88"/>
                        <a:pt x="197" y="89"/>
                      </a:cubicBezTo>
                      <a:cubicBezTo>
                        <a:pt x="198" y="89"/>
                        <a:pt x="210" y="90"/>
                        <a:pt x="212" y="90"/>
                      </a:cubicBezTo>
                      <a:cubicBezTo>
                        <a:pt x="214" y="90"/>
                        <a:pt x="230" y="88"/>
                        <a:pt x="232" y="88"/>
                      </a:cubicBezTo>
                      <a:cubicBezTo>
                        <a:pt x="236" y="88"/>
                        <a:pt x="238" y="87"/>
                        <a:pt x="240" y="87"/>
                      </a:cubicBezTo>
                      <a:cubicBezTo>
                        <a:pt x="244" y="88"/>
                        <a:pt x="250" y="105"/>
                        <a:pt x="256" y="105"/>
                      </a:cubicBezTo>
                      <a:cubicBezTo>
                        <a:pt x="256" y="105"/>
                        <a:pt x="257" y="102"/>
                        <a:pt x="256" y="99"/>
                      </a:cubicBezTo>
                      <a:cubicBezTo>
                        <a:pt x="251" y="88"/>
                        <a:pt x="260" y="88"/>
                        <a:pt x="258" y="85"/>
                      </a:cubicBezTo>
                      <a:cubicBezTo>
                        <a:pt x="256" y="84"/>
                        <a:pt x="249" y="85"/>
                        <a:pt x="249" y="84"/>
                      </a:cubicBezTo>
                      <a:cubicBezTo>
                        <a:pt x="251" y="78"/>
                        <a:pt x="264" y="77"/>
                        <a:pt x="266" y="77"/>
                      </a:cubicBezTo>
                      <a:cubicBezTo>
                        <a:pt x="269" y="77"/>
                        <a:pt x="272" y="78"/>
                        <a:pt x="273" y="79"/>
                      </a:cubicBezTo>
                      <a:cubicBezTo>
                        <a:pt x="275" y="81"/>
                        <a:pt x="278" y="84"/>
                        <a:pt x="280" y="85"/>
                      </a:cubicBezTo>
                      <a:cubicBezTo>
                        <a:pt x="282" y="87"/>
                        <a:pt x="286" y="85"/>
                        <a:pt x="289" y="85"/>
                      </a:cubicBezTo>
                      <a:cubicBezTo>
                        <a:pt x="291" y="85"/>
                        <a:pt x="292" y="88"/>
                        <a:pt x="294" y="89"/>
                      </a:cubicBezTo>
                      <a:cubicBezTo>
                        <a:pt x="297" y="91"/>
                        <a:pt x="300" y="91"/>
                        <a:pt x="302" y="91"/>
                      </a:cubicBezTo>
                      <a:cubicBezTo>
                        <a:pt x="305" y="91"/>
                        <a:pt x="310" y="89"/>
                        <a:pt x="312" y="89"/>
                      </a:cubicBezTo>
                      <a:cubicBezTo>
                        <a:pt x="314" y="89"/>
                        <a:pt x="316" y="90"/>
                        <a:pt x="318" y="91"/>
                      </a:cubicBezTo>
                      <a:cubicBezTo>
                        <a:pt x="320" y="92"/>
                        <a:pt x="324" y="91"/>
                        <a:pt x="326" y="90"/>
                      </a:cubicBezTo>
                      <a:cubicBezTo>
                        <a:pt x="327" y="88"/>
                        <a:pt x="322" y="86"/>
                        <a:pt x="323" y="85"/>
                      </a:cubicBezTo>
                      <a:cubicBezTo>
                        <a:pt x="323" y="84"/>
                        <a:pt x="322" y="82"/>
                        <a:pt x="324" y="82"/>
                      </a:cubicBezTo>
                      <a:cubicBezTo>
                        <a:pt x="326" y="82"/>
                        <a:pt x="329" y="80"/>
                        <a:pt x="329" y="78"/>
                      </a:cubicBezTo>
                      <a:cubicBezTo>
                        <a:pt x="329" y="77"/>
                        <a:pt x="324" y="76"/>
                        <a:pt x="321" y="76"/>
                      </a:cubicBezTo>
                      <a:cubicBezTo>
                        <a:pt x="318" y="76"/>
                        <a:pt x="317" y="73"/>
                        <a:pt x="318" y="72"/>
                      </a:cubicBezTo>
                      <a:cubicBezTo>
                        <a:pt x="320" y="71"/>
                        <a:pt x="325" y="69"/>
                        <a:pt x="326" y="68"/>
                      </a:cubicBezTo>
                      <a:cubicBezTo>
                        <a:pt x="327" y="68"/>
                        <a:pt x="328" y="61"/>
                        <a:pt x="329" y="61"/>
                      </a:cubicBezTo>
                      <a:cubicBezTo>
                        <a:pt x="331" y="62"/>
                        <a:pt x="335" y="65"/>
                        <a:pt x="336" y="66"/>
                      </a:cubicBezTo>
                      <a:cubicBezTo>
                        <a:pt x="338" y="67"/>
                        <a:pt x="340" y="68"/>
                        <a:pt x="342" y="68"/>
                      </a:cubicBezTo>
                      <a:cubicBezTo>
                        <a:pt x="344" y="68"/>
                        <a:pt x="345" y="71"/>
                        <a:pt x="345" y="72"/>
                      </a:cubicBezTo>
                      <a:cubicBezTo>
                        <a:pt x="346" y="74"/>
                        <a:pt x="347" y="77"/>
                        <a:pt x="347" y="77"/>
                      </a:cubicBezTo>
                      <a:cubicBezTo>
                        <a:pt x="346" y="78"/>
                        <a:pt x="338" y="78"/>
                        <a:pt x="337" y="78"/>
                      </a:cubicBezTo>
                      <a:cubicBezTo>
                        <a:pt x="335" y="78"/>
                        <a:pt x="334" y="80"/>
                        <a:pt x="335" y="81"/>
                      </a:cubicBezTo>
                      <a:cubicBezTo>
                        <a:pt x="336" y="82"/>
                        <a:pt x="344" y="83"/>
                        <a:pt x="343" y="84"/>
                      </a:cubicBezTo>
                      <a:cubicBezTo>
                        <a:pt x="343" y="85"/>
                        <a:pt x="340" y="92"/>
                        <a:pt x="341" y="94"/>
                      </a:cubicBezTo>
                      <a:cubicBezTo>
                        <a:pt x="342" y="95"/>
                        <a:pt x="351" y="97"/>
                        <a:pt x="351" y="96"/>
                      </a:cubicBezTo>
                      <a:cubicBezTo>
                        <a:pt x="351" y="94"/>
                        <a:pt x="348" y="91"/>
                        <a:pt x="348" y="90"/>
                      </a:cubicBezTo>
                      <a:cubicBezTo>
                        <a:pt x="348" y="88"/>
                        <a:pt x="349" y="87"/>
                        <a:pt x="350" y="86"/>
                      </a:cubicBezTo>
                      <a:cubicBezTo>
                        <a:pt x="350" y="85"/>
                        <a:pt x="354" y="86"/>
                        <a:pt x="356" y="86"/>
                      </a:cubicBezTo>
                      <a:cubicBezTo>
                        <a:pt x="357" y="85"/>
                        <a:pt x="362" y="83"/>
                        <a:pt x="362" y="81"/>
                      </a:cubicBezTo>
                      <a:cubicBezTo>
                        <a:pt x="362" y="80"/>
                        <a:pt x="363" y="78"/>
                        <a:pt x="363" y="77"/>
                      </a:cubicBezTo>
                      <a:cubicBezTo>
                        <a:pt x="362" y="76"/>
                        <a:pt x="359" y="77"/>
                        <a:pt x="358" y="77"/>
                      </a:cubicBezTo>
                      <a:cubicBezTo>
                        <a:pt x="357" y="77"/>
                        <a:pt x="358" y="75"/>
                        <a:pt x="358" y="73"/>
                      </a:cubicBezTo>
                      <a:cubicBezTo>
                        <a:pt x="359" y="72"/>
                        <a:pt x="363" y="70"/>
                        <a:pt x="363" y="69"/>
                      </a:cubicBezTo>
                      <a:cubicBezTo>
                        <a:pt x="363" y="68"/>
                        <a:pt x="361" y="67"/>
                        <a:pt x="359" y="67"/>
                      </a:cubicBezTo>
                      <a:cubicBezTo>
                        <a:pt x="358" y="67"/>
                        <a:pt x="356" y="64"/>
                        <a:pt x="355" y="64"/>
                      </a:cubicBezTo>
                      <a:cubicBezTo>
                        <a:pt x="354" y="64"/>
                        <a:pt x="349" y="63"/>
                        <a:pt x="347" y="63"/>
                      </a:cubicBezTo>
                      <a:cubicBezTo>
                        <a:pt x="345" y="63"/>
                        <a:pt x="342" y="60"/>
                        <a:pt x="341" y="58"/>
                      </a:cubicBezTo>
                      <a:cubicBezTo>
                        <a:pt x="339" y="57"/>
                        <a:pt x="342" y="54"/>
                        <a:pt x="343" y="53"/>
                      </a:cubicBezTo>
                      <a:cubicBezTo>
                        <a:pt x="344" y="52"/>
                        <a:pt x="342" y="51"/>
                        <a:pt x="341" y="50"/>
                      </a:cubicBezTo>
                      <a:cubicBezTo>
                        <a:pt x="340" y="49"/>
                        <a:pt x="341" y="45"/>
                        <a:pt x="342" y="43"/>
                      </a:cubicBezTo>
                      <a:cubicBezTo>
                        <a:pt x="342" y="41"/>
                        <a:pt x="346" y="44"/>
                        <a:pt x="347" y="43"/>
                      </a:cubicBezTo>
                      <a:cubicBezTo>
                        <a:pt x="347" y="43"/>
                        <a:pt x="347" y="41"/>
                        <a:pt x="348" y="41"/>
                      </a:cubicBezTo>
                      <a:cubicBezTo>
                        <a:pt x="349" y="40"/>
                        <a:pt x="344" y="39"/>
                        <a:pt x="346" y="37"/>
                      </a:cubicBezTo>
                      <a:cubicBezTo>
                        <a:pt x="348" y="35"/>
                        <a:pt x="350" y="28"/>
                        <a:pt x="350" y="25"/>
                      </a:cubicBezTo>
                      <a:cubicBezTo>
                        <a:pt x="350" y="23"/>
                        <a:pt x="348" y="21"/>
                        <a:pt x="347" y="21"/>
                      </a:cubicBezTo>
                      <a:cubicBezTo>
                        <a:pt x="345" y="20"/>
                        <a:pt x="347" y="17"/>
                        <a:pt x="347" y="16"/>
                      </a:cubicBezTo>
                      <a:cubicBezTo>
                        <a:pt x="348" y="15"/>
                        <a:pt x="347" y="12"/>
                        <a:pt x="347" y="10"/>
                      </a:cubicBezTo>
                      <a:cubicBezTo>
                        <a:pt x="347" y="8"/>
                        <a:pt x="351" y="10"/>
                        <a:pt x="353" y="9"/>
                      </a:cubicBezTo>
                      <a:cubicBezTo>
                        <a:pt x="354" y="8"/>
                        <a:pt x="351" y="6"/>
                        <a:pt x="350" y="5"/>
                      </a:cubicBezTo>
                      <a:cubicBezTo>
                        <a:pt x="349" y="3"/>
                        <a:pt x="352" y="1"/>
                        <a:pt x="354" y="0"/>
                      </a:cubicBezTo>
                      <a:cubicBezTo>
                        <a:pt x="357" y="0"/>
                        <a:pt x="365" y="0"/>
                        <a:pt x="368" y="0"/>
                      </a:cubicBezTo>
                      <a:cubicBezTo>
                        <a:pt x="370" y="0"/>
                        <a:pt x="371" y="4"/>
                        <a:pt x="373" y="4"/>
                      </a:cubicBezTo>
                      <a:cubicBezTo>
                        <a:pt x="376" y="4"/>
                        <a:pt x="378" y="2"/>
                        <a:pt x="382" y="2"/>
                      </a:cubicBezTo>
                      <a:cubicBezTo>
                        <a:pt x="385" y="3"/>
                        <a:pt x="390" y="4"/>
                        <a:pt x="389" y="5"/>
                      </a:cubicBezTo>
                      <a:cubicBezTo>
                        <a:pt x="389" y="6"/>
                        <a:pt x="383" y="11"/>
                        <a:pt x="381" y="13"/>
                      </a:cubicBezTo>
                      <a:cubicBezTo>
                        <a:pt x="380" y="16"/>
                        <a:pt x="377" y="18"/>
                        <a:pt x="375" y="20"/>
                      </a:cubicBezTo>
                      <a:cubicBezTo>
                        <a:pt x="372" y="21"/>
                        <a:pt x="361" y="18"/>
                        <a:pt x="360" y="19"/>
                      </a:cubicBezTo>
                      <a:cubicBezTo>
                        <a:pt x="358" y="19"/>
                        <a:pt x="359" y="22"/>
                        <a:pt x="361" y="22"/>
                      </a:cubicBezTo>
                      <a:cubicBezTo>
                        <a:pt x="363" y="23"/>
                        <a:pt x="364" y="27"/>
                        <a:pt x="363" y="28"/>
                      </a:cubicBezTo>
                      <a:cubicBezTo>
                        <a:pt x="362" y="30"/>
                        <a:pt x="358" y="32"/>
                        <a:pt x="358" y="34"/>
                      </a:cubicBezTo>
                      <a:cubicBezTo>
                        <a:pt x="358" y="36"/>
                        <a:pt x="363" y="38"/>
                        <a:pt x="367" y="40"/>
                      </a:cubicBezTo>
                      <a:cubicBezTo>
                        <a:pt x="370" y="43"/>
                        <a:pt x="368" y="46"/>
                        <a:pt x="368" y="48"/>
                      </a:cubicBezTo>
                      <a:cubicBezTo>
                        <a:pt x="368" y="50"/>
                        <a:pt x="370" y="50"/>
                        <a:pt x="372" y="51"/>
                      </a:cubicBezTo>
                      <a:cubicBezTo>
                        <a:pt x="375" y="51"/>
                        <a:pt x="378" y="55"/>
                        <a:pt x="377" y="56"/>
                      </a:cubicBezTo>
                      <a:cubicBezTo>
                        <a:pt x="377" y="57"/>
                        <a:pt x="369" y="63"/>
                        <a:pt x="370" y="64"/>
                      </a:cubicBezTo>
                      <a:cubicBezTo>
                        <a:pt x="370" y="64"/>
                        <a:pt x="377" y="66"/>
                        <a:pt x="379" y="65"/>
                      </a:cubicBezTo>
                      <a:cubicBezTo>
                        <a:pt x="380" y="64"/>
                        <a:pt x="385" y="66"/>
                        <a:pt x="387" y="67"/>
                      </a:cubicBezTo>
                      <a:cubicBezTo>
                        <a:pt x="388" y="69"/>
                        <a:pt x="384" y="69"/>
                        <a:pt x="386" y="73"/>
                      </a:cubicBezTo>
                      <a:cubicBezTo>
                        <a:pt x="389" y="76"/>
                        <a:pt x="383" y="81"/>
                        <a:pt x="390" y="81"/>
                      </a:cubicBezTo>
                      <a:cubicBezTo>
                        <a:pt x="391" y="80"/>
                        <a:pt x="392" y="74"/>
                        <a:pt x="392" y="74"/>
                      </a:cubicBezTo>
                      <a:cubicBezTo>
                        <a:pt x="392" y="73"/>
                        <a:pt x="395" y="69"/>
                        <a:pt x="397" y="69"/>
                      </a:cubicBezTo>
                      <a:cubicBezTo>
                        <a:pt x="398" y="69"/>
                        <a:pt x="405" y="74"/>
                        <a:pt x="407" y="76"/>
                      </a:cubicBezTo>
                      <a:cubicBezTo>
                        <a:pt x="408" y="79"/>
                        <a:pt x="408" y="83"/>
                        <a:pt x="407" y="84"/>
                      </a:cubicBezTo>
                      <a:cubicBezTo>
                        <a:pt x="406" y="85"/>
                        <a:pt x="403" y="82"/>
                        <a:pt x="403" y="85"/>
                      </a:cubicBezTo>
                      <a:cubicBezTo>
                        <a:pt x="403" y="89"/>
                        <a:pt x="408" y="96"/>
                        <a:pt x="410" y="96"/>
                      </a:cubicBezTo>
                      <a:cubicBezTo>
                        <a:pt x="413" y="97"/>
                        <a:pt x="417" y="96"/>
                        <a:pt x="417" y="94"/>
                      </a:cubicBezTo>
                      <a:cubicBezTo>
                        <a:pt x="417" y="93"/>
                        <a:pt x="419" y="91"/>
                        <a:pt x="419" y="89"/>
                      </a:cubicBezTo>
                      <a:cubicBezTo>
                        <a:pt x="420" y="88"/>
                        <a:pt x="422" y="83"/>
                        <a:pt x="422" y="81"/>
                      </a:cubicBezTo>
                      <a:cubicBezTo>
                        <a:pt x="422" y="79"/>
                        <a:pt x="429" y="78"/>
                        <a:pt x="429" y="78"/>
                      </a:cubicBezTo>
                      <a:cubicBezTo>
                        <a:pt x="429" y="77"/>
                        <a:pt x="429" y="75"/>
                        <a:pt x="428" y="73"/>
                      </a:cubicBezTo>
                      <a:cubicBezTo>
                        <a:pt x="427" y="72"/>
                        <a:pt x="423" y="67"/>
                        <a:pt x="424" y="66"/>
                      </a:cubicBezTo>
                      <a:cubicBezTo>
                        <a:pt x="426" y="64"/>
                        <a:pt x="430" y="63"/>
                        <a:pt x="432" y="63"/>
                      </a:cubicBezTo>
                      <a:cubicBezTo>
                        <a:pt x="434" y="63"/>
                        <a:pt x="438" y="65"/>
                        <a:pt x="440" y="65"/>
                      </a:cubicBezTo>
                      <a:cubicBezTo>
                        <a:pt x="442" y="65"/>
                        <a:pt x="446" y="66"/>
                        <a:pt x="447" y="67"/>
                      </a:cubicBezTo>
                      <a:cubicBezTo>
                        <a:pt x="448" y="68"/>
                        <a:pt x="456" y="71"/>
                        <a:pt x="456" y="72"/>
                      </a:cubicBezTo>
                      <a:cubicBezTo>
                        <a:pt x="457" y="73"/>
                        <a:pt x="457" y="76"/>
                        <a:pt x="457" y="79"/>
                      </a:cubicBezTo>
                      <a:cubicBezTo>
                        <a:pt x="457" y="82"/>
                        <a:pt x="449" y="79"/>
                        <a:pt x="447" y="81"/>
                      </a:cubicBezTo>
                      <a:cubicBezTo>
                        <a:pt x="446" y="82"/>
                        <a:pt x="458" y="92"/>
                        <a:pt x="458" y="94"/>
                      </a:cubicBezTo>
                      <a:cubicBezTo>
                        <a:pt x="458" y="95"/>
                        <a:pt x="456" y="101"/>
                        <a:pt x="455" y="101"/>
                      </a:cubicBezTo>
                      <a:cubicBezTo>
                        <a:pt x="453" y="101"/>
                        <a:pt x="448" y="105"/>
                        <a:pt x="446" y="106"/>
                      </a:cubicBezTo>
                      <a:cubicBezTo>
                        <a:pt x="444" y="106"/>
                        <a:pt x="443" y="107"/>
                        <a:pt x="442" y="108"/>
                      </a:cubicBezTo>
                      <a:cubicBezTo>
                        <a:pt x="440" y="108"/>
                        <a:pt x="444" y="113"/>
                        <a:pt x="438" y="115"/>
                      </a:cubicBezTo>
                      <a:cubicBezTo>
                        <a:pt x="436" y="116"/>
                        <a:pt x="435" y="111"/>
                        <a:pt x="432" y="110"/>
                      </a:cubicBezTo>
                      <a:cubicBezTo>
                        <a:pt x="430" y="109"/>
                        <a:pt x="430" y="105"/>
                        <a:pt x="426" y="104"/>
                      </a:cubicBezTo>
                      <a:cubicBezTo>
                        <a:pt x="423" y="104"/>
                        <a:pt x="416" y="105"/>
                        <a:pt x="415" y="106"/>
                      </a:cubicBezTo>
                      <a:cubicBezTo>
                        <a:pt x="414" y="107"/>
                        <a:pt x="421" y="110"/>
                        <a:pt x="421" y="111"/>
                      </a:cubicBezTo>
                      <a:cubicBezTo>
                        <a:pt x="421" y="112"/>
                        <a:pt x="417" y="116"/>
                        <a:pt x="416" y="117"/>
                      </a:cubicBezTo>
                      <a:cubicBezTo>
                        <a:pt x="415" y="117"/>
                        <a:pt x="407" y="118"/>
                        <a:pt x="405" y="117"/>
                      </a:cubicBezTo>
                      <a:cubicBezTo>
                        <a:pt x="403" y="116"/>
                        <a:pt x="397" y="113"/>
                        <a:pt x="394" y="113"/>
                      </a:cubicBezTo>
                      <a:cubicBezTo>
                        <a:pt x="392" y="113"/>
                        <a:pt x="390" y="113"/>
                        <a:pt x="390" y="114"/>
                      </a:cubicBezTo>
                      <a:cubicBezTo>
                        <a:pt x="389" y="115"/>
                        <a:pt x="392" y="118"/>
                        <a:pt x="394" y="119"/>
                      </a:cubicBezTo>
                      <a:cubicBezTo>
                        <a:pt x="397" y="121"/>
                        <a:pt x="401" y="122"/>
                        <a:pt x="404" y="122"/>
                      </a:cubicBezTo>
                      <a:cubicBezTo>
                        <a:pt x="406" y="122"/>
                        <a:pt x="411" y="122"/>
                        <a:pt x="413" y="123"/>
                      </a:cubicBezTo>
                      <a:cubicBezTo>
                        <a:pt x="413" y="124"/>
                        <a:pt x="414" y="124"/>
                        <a:pt x="413" y="125"/>
                      </a:cubicBezTo>
                      <a:cubicBezTo>
                        <a:pt x="413" y="127"/>
                        <a:pt x="410" y="129"/>
                        <a:pt x="409" y="131"/>
                      </a:cubicBezTo>
                      <a:cubicBezTo>
                        <a:pt x="408" y="133"/>
                        <a:pt x="403" y="137"/>
                        <a:pt x="400" y="138"/>
                      </a:cubicBezTo>
                      <a:cubicBezTo>
                        <a:pt x="398" y="139"/>
                        <a:pt x="393" y="135"/>
                        <a:pt x="392" y="136"/>
                      </a:cubicBezTo>
                      <a:cubicBezTo>
                        <a:pt x="391" y="137"/>
                        <a:pt x="390" y="140"/>
                        <a:pt x="387" y="141"/>
                      </a:cubicBezTo>
                      <a:cubicBezTo>
                        <a:pt x="384" y="142"/>
                        <a:pt x="381" y="142"/>
                        <a:pt x="381" y="143"/>
                      </a:cubicBezTo>
                      <a:cubicBezTo>
                        <a:pt x="381" y="144"/>
                        <a:pt x="385" y="148"/>
                        <a:pt x="385" y="150"/>
                      </a:cubicBezTo>
                      <a:cubicBezTo>
                        <a:pt x="385" y="152"/>
                        <a:pt x="377" y="155"/>
                        <a:pt x="375" y="156"/>
                      </a:cubicBezTo>
                      <a:cubicBezTo>
                        <a:pt x="373" y="157"/>
                        <a:pt x="370" y="158"/>
                        <a:pt x="367" y="160"/>
                      </a:cubicBezTo>
                      <a:cubicBezTo>
                        <a:pt x="365" y="161"/>
                        <a:pt x="367" y="165"/>
                        <a:pt x="366" y="166"/>
                      </a:cubicBezTo>
                      <a:cubicBezTo>
                        <a:pt x="364" y="166"/>
                        <a:pt x="359" y="174"/>
                        <a:pt x="356" y="177"/>
                      </a:cubicBezTo>
                      <a:cubicBezTo>
                        <a:pt x="354" y="181"/>
                        <a:pt x="352" y="194"/>
                        <a:pt x="353" y="194"/>
                      </a:cubicBezTo>
                      <a:cubicBezTo>
                        <a:pt x="353" y="195"/>
                        <a:pt x="354" y="199"/>
                        <a:pt x="355" y="199"/>
                      </a:cubicBezTo>
                      <a:cubicBezTo>
                        <a:pt x="357" y="200"/>
                        <a:pt x="364" y="197"/>
                        <a:pt x="366" y="199"/>
                      </a:cubicBezTo>
                      <a:cubicBezTo>
                        <a:pt x="368" y="202"/>
                        <a:pt x="368" y="208"/>
                        <a:pt x="370" y="210"/>
                      </a:cubicBezTo>
                      <a:cubicBezTo>
                        <a:pt x="372" y="213"/>
                        <a:pt x="369" y="218"/>
                        <a:pt x="370" y="219"/>
                      </a:cubicBezTo>
                      <a:cubicBezTo>
                        <a:pt x="371" y="220"/>
                        <a:pt x="374" y="217"/>
                        <a:pt x="377" y="217"/>
                      </a:cubicBezTo>
                      <a:cubicBezTo>
                        <a:pt x="380" y="217"/>
                        <a:pt x="385" y="216"/>
                        <a:pt x="388" y="217"/>
                      </a:cubicBezTo>
                      <a:cubicBezTo>
                        <a:pt x="391" y="219"/>
                        <a:pt x="398" y="219"/>
                        <a:pt x="401" y="221"/>
                      </a:cubicBezTo>
                      <a:cubicBezTo>
                        <a:pt x="405" y="223"/>
                        <a:pt x="406" y="224"/>
                        <a:pt x="408" y="227"/>
                      </a:cubicBezTo>
                      <a:cubicBezTo>
                        <a:pt x="410" y="231"/>
                        <a:pt x="417" y="230"/>
                        <a:pt x="423" y="234"/>
                      </a:cubicBezTo>
                      <a:cubicBezTo>
                        <a:pt x="430" y="238"/>
                        <a:pt x="434" y="236"/>
                        <a:pt x="439" y="237"/>
                      </a:cubicBezTo>
                      <a:cubicBezTo>
                        <a:pt x="444" y="237"/>
                        <a:pt x="449" y="237"/>
                        <a:pt x="450" y="240"/>
                      </a:cubicBezTo>
                      <a:cubicBezTo>
                        <a:pt x="451" y="242"/>
                        <a:pt x="450" y="255"/>
                        <a:pt x="450" y="259"/>
                      </a:cubicBezTo>
                      <a:cubicBezTo>
                        <a:pt x="450" y="263"/>
                        <a:pt x="451" y="263"/>
                        <a:pt x="453" y="266"/>
                      </a:cubicBezTo>
                      <a:cubicBezTo>
                        <a:pt x="455" y="268"/>
                        <a:pt x="460" y="271"/>
                        <a:pt x="462" y="273"/>
                      </a:cubicBezTo>
                      <a:cubicBezTo>
                        <a:pt x="464" y="275"/>
                        <a:pt x="465" y="280"/>
                        <a:pt x="468" y="279"/>
                      </a:cubicBezTo>
                      <a:cubicBezTo>
                        <a:pt x="471" y="279"/>
                        <a:pt x="476" y="272"/>
                        <a:pt x="477" y="268"/>
                      </a:cubicBezTo>
                      <a:cubicBezTo>
                        <a:pt x="479" y="265"/>
                        <a:pt x="473" y="254"/>
                        <a:pt x="472" y="251"/>
                      </a:cubicBezTo>
                      <a:cubicBezTo>
                        <a:pt x="472" y="247"/>
                        <a:pt x="468" y="243"/>
                        <a:pt x="469" y="242"/>
                      </a:cubicBezTo>
                      <a:cubicBezTo>
                        <a:pt x="470" y="241"/>
                        <a:pt x="475" y="240"/>
                        <a:pt x="477" y="240"/>
                      </a:cubicBezTo>
                      <a:cubicBezTo>
                        <a:pt x="479" y="239"/>
                        <a:pt x="488" y="232"/>
                        <a:pt x="491" y="229"/>
                      </a:cubicBezTo>
                      <a:cubicBezTo>
                        <a:pt x="493" y="226"/>
                        <a:pt x="492" y="218"/>
                        <a:pt x="491" y="214"/>
                      </a:cubicBezTo>
                      <a:cubicBezTo>
                        <a:pt x="491" y="211"/>
                        <a:pt x="485" y="205"/>
                        <a:pt x="483" y="205"/>
                      </a:cubicBezTo>
                      <a:cubicBezTo>
                        <a:pt x="480" y="204"/>
                        <a:pt x="476" y="201"/>
                        <a:pt x="476" y="199"/>
                      </a:cubicBezTo>
                      <a:cubicBezTo>
                        <a:pt x="476" y="196"/>
                        <a:pt x="482" y="192"/>
                        <a:pt x="484" y="190"/>
                      </a:cubicBezTo>
                      <a:cubicBezTo>
                        <a:pt x="485" y="188"/>
                        <a:pt x="484" y="183"/>
                        <a:pt x="484" y="181"/>
                      </a:cubicBezTo>
                      <a:cubicBezTo>
                        <a:pt x="484" y="179"/>
                        <a:pt x="478" y="177"/>
                        <a:pt x="478" y="176"/>
                      </a:cubicBezTo>
                      <a:cubicBezTo>
                        <a:pt x="478" y="175"/>
                        <a:pt x="479" y="174"/>
                        <a:pt x="481" y="173"/>
                      </a:cubicBezTo>
                      <a:cubicBezTo>
                        <a:pt x="484" y="172"/>
                        <a:pt x="483" y="170"/>
                        <a:pt x="481" y="165"/>
                      </a:cubicBezTo>
                      <a:cubicBezTo>
                        <a:pt x="480" y="163"/>
                        <a:pt x="480" y="161"/>
                        <a:pt x="480" y="160"/>
                      </a:cubicBezTo>
                      <a:cubicBezTo>
                        <a:pt x="480" y="157"/>
                        <a:pt x="481" y="155"/>
                        <a:pt x="484" y="155"/>
                      </a:cubicBezTo>
                      <a:cubicBezTo>
                        <a:pt x="489" y="154"/>
                        <a:pt x="503" y="158"/>
                        <a:pt x="508" y="159"/>
                      </a:cubicBezTo>
                      <a:cubicBezTo>
                        <a:pt x="511" y="159"/>
                        <a:pt x="514" y="155"/>
                        <a:pt x="515" y="156"/>
                      </a:cubicBezTo>
                      <a:cubicBezTo>
                        <a:pt x="516" y="157"/>
                        <a:pt x="523" y="159"/>
                        <a:pt x="525" y="161"/>
                      </a:cubicBezTo>
                      <a:cubicBezTo>
                        <a:pt x="527" y="163"/>
                        <a:pt x="529" y="165"/>
                        <a:pt x="531" y="168"/>
                      </a:cubicBezTo>
                      <a:cubicBezTo>
                        <a:pt x="532" y="171"/>
                        <a:pt x="538" y="172"/>
                        <a:pt x="540" y="173"/>
                      </a:cubicBezTo>
                      <a:cubicBezTo>
                        <a:pt x="547" y="174"/>
                        <a:pt x="543" y="167"/>
                        <a:pt x="546" y="169"/>
                      </a:cubicBezTo>
                      <a:cubicBezTo>
                        <a:pt x="547" y="170"/>
                        <a:pt x="548" y="171"/>
                        <a:pt x="549" y="172"/>
                      </a:cubicBezTo>
                      <a:cubicBezTo>
                        <a:pt x="550" y="174"/>
                        <a:pt x="546" y="179"/>
                        <a:pt x="546" y="179"/>
                      </a:cubicBezTo>
                      <a:cubicBezTo>
                        <a:pt x="546" y="179"/>
                        <a:pt x="546" y="181"/>
                        <a:pt x="547" y="183"/>
                      </a:cubicBezTo>
                      <a:cubicBezTo>
                        <a:pt x="547" y="185"/>
                        <a:pt x="547" y="187"/>
                        <a:pt x="547" y="189"/>
                      </a:cubicBezTo>
                      <a:cubicBezTo>
                        <a:pt x="547" y="191"/>
                        <a:pt x="548" y="193"/>
                        <a:pt x="549" y="195"/>
                      </a:cubicBezTo>
                      <a:cubicBezTo>
                        <a:pt x="550" y="197"/>
                        <a:pt x="555" y="196"/>
                        <a:pt x="556" y="197"/>
                      </a:cubicBezTo>
                      <a:cubicBezTo>
                        <a:pt x="557" y="198"/>
                        <a:pt x="559" y="203"/>
                        <a:pt x="561" y="203"/>
                      </a:cubicBezTo>
                      <a:cubicBezTo>
                        <a:pt x="562" y="204"/>
                        <a:pt x="566" y="203"/>
                        <a:pt x="568" y="202"/>
                      </a:cubicBezTo>
                      <a:cubicBezTo>
                        <a:pt x="569" y="202"/>
                        <a:pt x="569" y="198"/>
                        <a:pt x="570" y="198"/>
                      </a:cubicBezTo>
                      <a:cubicBezTo>
                        <a:pt x="571" y="197"/>
                        <a:pt x="574" y="198"/>
                        <a:pt x="575" y="196"/>
                      </a:cubicBezTo>
                      <a:cubicBezTo>
                        <a:pt x="576" y="195"/>
                        <a:pt x="579" y="193"/>
                        <a:pt x="579" y="192"/>
                      </a:cubicBezTo>
                      <a:cubicBezTo>
                        <a:pt x="579" y="190"/>
                        <a:pt x="575" y="187"/>
                        <a:pt x="577" y="186"/>
                      </a:cubicBezTo>
                      <a:cubicBezTo>
                        <a:pt x="578" y="184"/>
                        <a:pt x="579" y="186"/>
                        <a:pt x="580" y="183"/>
                      </a:cubicBezTo>
                      <a:cubicBezTo>
                        <a:pt x="581" y="181"/>
                        <a:pt x="581" y="177"/>
                        <a:pt x="582" y="177"/>
                      </a:cubicBezTo>
                      <a:cubicBezTo>
                        <a:pt x="583" y="177"/>
                        <a:pt x="584" y="176"/>
                        <a:pt x="585" y="176"/>
                      </a:cubicBezTo>
                      <a:cubicBezTo>
                        <a:pt x="585" y="177"/>
                        <a:pt x="586" y="179"/>
                        <a:pt x="586" y="181"/>
                      </a:cubicBezTo>
                      <a:cubicBezTo>
                        <a:pt x="587" y="182"/>
                        <a:pt x="592" y="191"/>
                        <a:pt x="594" y="195"/>
                      </a:cubicBezTo>
                      <a:cubicBezTo>
                        <a:pt x="596" y="198"/>
                        <a:pt x="600" y="203"/>
                        <a:pt x="603" y="205"/>
                      </a:cubicBezTo>
                      <a:cubicBezTo>
                        <a:pt x="605" y="207"/>
                        <a:pt x="602" y="210"/>
                        <a:pt x="605" y="212"/>
                      </a:cubicBezTo>
                      <a:cubicBezTo>
                        <a:pt x="607" y="214"/>
                        <a:pt x="610" y="215"/>
                        <a:pt x="611" y="218"/>
                      </a:cubicBezTo>
                      <a:cubicBezTo>
                        <a:pt x="612" y="222"/>
                        <a:pt x="608" y="224"/>
                        <a:pt x="609" y="226"/>
                      </a:cubicBezTo>
                      <a:cubicBezTo>
                        <a:pt x="609" y="229"/>
                        <a:pt x="615" y="231"/>
                        <a:pt x="617" y="233"/>
                      </a:cubicBezTo>
                      <a:cubicBezTo>
                        <a:pt x="619" y="235"/>
                        <a:pt x="624" y="236"/>
                        <a:pt x="626" y="237"/>
                      </a:cubicBezTo>
                      <a:cubicBezTo>
                        <a:pt x="629" y="239"/>
                        <a:pt x="638" y="241"/>
                        <a:pt x="640" y="241"/>
                      </a:cubicBezTo>
                      <a:cubicBezTo>
                        <a:pt x="642" y="242"/>
                        <a:pt x="641" y="245"/>
                        <a:pt x="640" y="245"/>
                      </a:cubicBezTo>
                      <a:cubicBezTo>
                        <a:pt x="639" y="245"/>
                        <a:pt x="636" y="244"/>
                        <a:pt x="633" y="245"/>
                      </a:cubicBezTo>
                      <a:cubicBezTo>
                        <a:pt x="631" y="246"/>
                        <a:pt x="627" y="248"/>
                        <a:pt x="625" y="248"/>
                      </a:cubicBezTo>
                      <a:cubicBezTo>
                        <a:pt x="624" y="249"/>
                        <a:pt x="621" y="250"/>
                        <a:pt x="620" y="251"/>
                      </a:cubicBezTo>
                      <a:cubicBezTo>
                        <a:pt x="618" y="251"/>
                        <a:pt x="617" y="254"/>
                        <a:pt x="616" y="255"/>
                      </a:cubicBezTo>
                      <a:cubicBezTo>
                        <a:pt x="616" y="256"/>
                        <a:pt x="612" y="259"/>
                        <a:pt x="614" y="259"/>
                      </a:cubicBezTo>
                      <a:cubicBezTo>
                        <a:pt x="618" y="259"/>
                        <a:pt x="618" y="259"/>
                        <a:pt x="618" y="259"/>
                      </a:cubicBezTo>
                      <a:cubicBezTo>
                        <a:pt x="621" y="259"/>
                        <a:pt x="626" y="255"/>
                        <a:pt x="627" y="254"/>
                      </a:cubicBezTo>
                      <a:cubicBezTo>
                        <a:pt x="628" y="253"/>
                        <a:pt x="633" y="250"/>
                        <a:pt x="634" y="250"/>
                      </a:cubicBezTo>
                      <a:cubicBezTo>
                        <a:pt x="636" y="249"/>
                        <a:pt x="639" y="249"/>
                        <a:pt x="640" y="250"/>
                      </a:cubicBezTo>
                      <a:cubicBezTo>
                        <a:pt x="641" y="250"/>
                        <a:pt x="642" y="252"/>
                        <a:pt x="643" y="252"/>
                      </a:cubicBezTo>
                      <a:cubicBezTo>
                        <a:pt x="644" y="253"/>
                        <a:pt x="650" y="254"/>
                        <a:pt x="652" y="256"/>
                      </a:cubicBezTo>
                      <a:cubicBezTo>
                        <a:pt x="654" y="257"/>
                        <a:pt x="652" y="261"/>
                        <a:pt x="652" y="263"/>
                      </a:cubicBezTo>
                      <a:cubicBezTo>
                        <a:pt x="652" y="266"/>
                        <a:pt x="653" y="268"/>
                        <a:pt x="652" y="270"/>
                      </a:cubicBezTo>
                      <a:cubicBezTo>
                        <a:pt x="651" y="271"/>
                        <a:pt x="642" y="276"/>
                        <a:pt x="641" y="276"/>
                      </a:cubicBezTo>
                      <a:cubicBezTo>
                        <a:pt x="639" y="277"/>
                        <a:pt x="632" y="278"/>
                        <a:pt x="631" y="279"/>
                      </a:cubicBezTo>
                      <a:cubicBezTo>
                        <a:pt x="629" y="281"/>
                        <a:pt x="622" y="288"/>
                        <a:pt x="619" y="289"/>
                      </a:cubicBezTo>
                      <a:cubicBezTo>
                        <a:pt x="617" y="289"/>
                        <a:pt x="610" y="290"/>
                        <a:pt x="607" y="290"/>
                      </a:cubicBezTo>
                      <a:cubicBezTo>
                        <a:pt x="605" y="290"/>
                        <a:pt x="600" y="288"/>
                        <a:pt x="598" y="288"/>
                      </a:cubicBezTo>
                      <a:cubicBezTo>
                        <a:pt x="585" y="288"/>
                        <a:pt x="585" y="288"/>
                        <a:pt x="585" y="288"/>
                      </a:cubicBezTo>
                      <a:cubicBezTo>
                        <a:pt x="584" y="288"/>
                        <a:pt x="581" y="290"/>
                        <a:pt x="580" y="291"/>
                      </a:cubicBezTo>
                      <a:cubicBezTo>
                        <a:pt x="579" y="292"/>
                        <a:pt x="581" y="296"/>
                        <a:pt x="584" y="297"/>
                      </a:cubicBezTo>
                      <a:cubicBezTo>
                        <a:pt x="586" y="299"/>
                        <a:pt x="589" y="304"/>
                        <a:pt x="587" y="305"/>
                      </a:cubicBezTo>
                      <a:cubicBezTo>
                        <a:pt x="586" y="306"/>
                        <a:pt x="584" y="306"/>
                        <a:pt x="582" y="308"/>
                      </a:cubicBezTo>
                      <a:cubicBezTo>
                        <a:pt x="580" y="309"/>
                        <a:pt x="578" y="308"/>
                        <a:pt x="577" y="308"/>
                      </a:cubicBezTo>
                      <a:cubicBezTo>
                        <a:pt x="575" y="308"/>
                        <a:pt x="569" y="308"/>
                        <a:pt x="569" y="309"/>
                      </a:cubicBezTo>
                      <a:cubicBezTo>
                        <a:pt x="569" y="310"/>
                        <a:pt x="571" y="311"/>
                        <a:pt x="572" y="311"/>
                      </a:cubicBezTo>
                      <a:cubicBezTo>
                        <a:pt x="574" y="312"/>
                        <a:pt x="575" y="314"/>
                        <a:pt x="577" y="315"/>
                      </a:cubicBezTo>
                      <a:cubicBezTo>
                        <a:pt x="578" y="316"/>
                        <a:pt x="584" y="311"/>
                        <a:pt x="584" y="312"/>
                      </a:cubicBezTo>
                      <a:cubicBezTo>
                        <a:pt x="584" y="313"/>
                        <a:pt x="583" y="314"/>
                        <a:pt x="582" y="316"/>
                      </a:cubicBezTo>
                      <a:cubicBezTo>
                        <a:pt x="582" y="318"/>
                        <a:pt x="583" y="320"/>
                        <a:pt x="586" y="323"/>
                      </a:cubicBezTo>
                      <a:cubicBezTo>
                        <a:pt x="588" y="325"/>
                        <a:pt x="589" y="324"/>
                        <a:pt x="592" y="327"/>
                      </a:cubicBezTo>
                      <a:cubicBezTo>
                        <a:pt x="594" y="330"/>
                        <a:pt x="598" y="331"/>
                        <a:pt x="600" y="331"/>
                      </a:cubicBezTo>
                      <a:cubicBezTo>
                        <a:pt x="603" y="331"/>
                        <a:pt x="607" y="328"/>
                        <a:pt x="609" y="326"/>
                      </a:cubicBezTo>
                      <a:cubicBezTo>
                        <a:pt x="611" y="324"/>
                        <a:pt x="615" y="319"/>
                        <a:pt x="617" y="320"/>
                      </a:cubicBezTo>
                      <a:cubicBezTo>
                        <a:pt x="619" y="320"/>
                        <a:pt x="616" y="324"/>
                        <a:pt x="617" y="326"/>
                      </a:cubicBezTo>
                      <a:cubicBezTo>
                        <a:pt x="618" y="328"/>
                        <a:pt x="622" y="328"/>
                        <a:pt x="622" y="330"/>
                      </a:cubicBezTo>
                      <a:cubicBezTo>
                        <a:pt x="622" y="332"/>
                        <a:pt x="614" y="336"/>
                        <a:pt x="612" y="337"/>
                      </a:cubicBezTo>
                      <a:cubicBezTo>
                        <a:pt x="611" y="338"/>
                        <a:pt x="607" y="340"/>
                        <a:pt x="604" y="341"/>
                      </a:cubicBezTo>
                      <a:cubicBezTo>
                        <a:pt x="600" y="341"/>
                        <a:pt x="590" y="344"/>
                        <a:pt x="588" y="344"/>
                      </a:cubicBezTo>
                      <a:cubicBezTo>
                        <a:pt x="587" y="345"/>
                        <a:pt x="583" y="350"/>
                        <a:pt x="581" y="351"/>
                      </a:cubicBezTo>
                      <a:cubicBezTo>
                        <a:pt x="580" y="352"/>
                        <a:pt x="579" y="355"/>
                        <a:pt x="577" y="355"/>
                      </a:cubicBezTo>
                      <a:cubicBezTo>
                        <a:pt x="576" y="355"/>
                        <a:pt x="575" y="354"/>
                        <a:pt x="573" y="352"/>
                      </a:cubicBezTo>
                      <a:cubicBezTo>
                        <a:pt x="572" y="350"/>
                        <a:pt x="572" y="346"/>
                        <a:pt x="573" y="344"/>
                      </a:cubicBezTo>
                      <a:cubicBezTo>
                        <a:pt x="574" y="342"/>
                        <a:pt x="581" y="338"/>
                        <a:pt x="584" y="337"/>
                      </a:cubicBezTo>
                      <a:cubicBezTo>
                        <a:pt x="587" y="336"/>
                        <a:pt x="590" y="336"/>
                        <a:pt x="588" y="334"/>
                      </a:cubicBezTo>
                      <a:cubicBezTo>
                        <a:pt x="587" y="333"/>
                        <a:pt x="586" y="329"/>
                        <a:pt x="585" y="330"/>
                      </a:cubicBezTo>
                      <a:cubicBezTo>
                        <a:pt x="585" y="330"/>
                        <a:pt x="583" y="332"/>
                        <a:pt x="582" y="333"/>
                      </a:cubicBezTo>
                      <a:cubicBezTo>
                        <a:pt x="580" y="334"/>
                        <a:pt x="572" y="337"/>
                        <a:pt x="570" y="337"/>
                      </a:cubicBezTo>
                      <a:cubicBezTo>
                        <a:pt x="568" y="338"/>
                        <a:pt x="567" y="340"/>
                        <a:pt x="567" y="340"/>
                      </a:cubicBezTo>
                      <a:cubicBezTo>
                        <a:pt x="561" y="331"/>
                        <a:pt x="561" y="331"/>
                        <a:pt x="561" y="331"/>
                      </a:cubicBezTo>
                      <a:cubicBezTo>
                        <a:pt x="561" y="329"/>
                        <a:pt x="561" y="321"/>
                        <a:pt x="560" y="318"/>
                      </a:cubicBezTo>
                      <a:cubicBezTo>
                        <a:pt x="559" y="315"/>
                        <a:pt x="553" y="318"/>
                        <a:pt x="550" y="316"/>
                      </a:cubicBezTo>
                      <a:cubicBezTo>
                        <a:pt x="548" y="315"/>
                        <a:pt x="541" y="330"/>
                        <a:pt x="540" y="333"/>
                      </a:cubicBezTo>
                      <a:cubicBezTo>
                        <a:pt x="539" y="337"/>
                        <a:pt x="532" y="338"/>
                        <a:pt x="532" y="338"/>
                      </a:cubicBezTo>
                      <a:cubicBezTo>
                        <a:pt x="506" y="339"/>
                        <a:pt x="506" y="339"/>
                        <a:pt x="506" y="339"/>
                      </a:cubicBezTo>
                      <a:cubicBezTo>
                        <a:pt x="495" y="349"/>
                        <a:pt x="495" y="349"/>
                        <a:pt x="495" y="349"/>
                      </a:cubicBezTo>
                      <a:cubicBezTo>
                        <a:pt x="495" y="349"/>
                        <a:pt x="495" y="349"/>
                        <a:pt x="495" y="349"/>
                      </a:cubicBezTo>
                      <a:cubicBezTo>
                        <a:pt x="495" y="348"/>
                        <a:pt x="494" y="348"/>
                        <a:pt x="492" y="348"/>
                      </a:cubicBezTo>
                      <a:cubicBezTo>
                        <a:pt x="488" y="348"/>
                        <a:pt x="480" y="348"/>
                        <a:pt x="480" y="348"/>
                      </a:cubicBezTo>
                      <a:cubicBezTo>
                        <a:pt x="476" y="348"/>
                        <a:pt x="474" y="350"/>
                        <a:pt x="473" y="351"/>
                      </a:cubicBezTo>
                      <a:cubicBezTo>
                        <a:pt x="472" y="352"/>
                        <a:pt x="472" y="354"/>
                        <a:pt x="476" y="354"/>
                      </a:cubicBezTo>
                      <a:cubicBezTo>
                        <a:pt x="472" y="359"/>
                        <a:pt x="472" y="359"/>
                        <a:pt x="472" y="359"/>
                      </a:cubicBezTo>
                      <a:cubicBezTo>
                        <a:pt x="470" y="359"/>
                        <a:pt x="467" y="359"/>
                        <a:pt x="466" y="360"/>
                      </a:cubicBezTo>
                      <a:cubicBezTo>
                        <a:pt x="463" y="360"/>
                        <a:pt x="459" y="360"/>
                        <a:pt x="456" y="361"/>
                      </a:cubicBezTo>
                      <a:cubicBezTo>
                        <a:pt x="453" y="362"/>
                        <a:pt x="448" y="367"/>
                        <a:pt x="446" y="367"/>
                      </a:cubicBezTo>
                      <a:cubicBezTo>
                        <a:pt x="446" y="367"/>
                        <a:pt x="445" y="367"/>
                        <a:pt x="444" y="367"/>
                      </a:cubicBezTo>
                      <a:cubicBezTo>
                        <a:pt x="448" y="358"/>
                        <a:pt x="448" y="358"/>
                        <a:pt x="448" y="358"/>
                      </a:cubicBezTo>
                      <a:cubicBezTo>
                        <a:pt x="450" y="360"/>
                        <a:pt x="451" y="357"/>
                        <a:pt x="453" y="356"/>
                      </a:cubicBezTo>
                      <a:cubicBezTo>
                        <a:pt x="455" y="356"/>
                        <a:pt x="455" y="348"/>
                        <a:pt x="455" y="346"/>
                      </a:cubicBezTo>
                      <a:cubicBezTo>
                        <a:pt x="456" y="344"/>
                        <a:pt x="455" y="339"/>
                        <a:pt x="457" y="339"/>
                      </a:cubicBezTo>
                      <a:cubicBezTo>
                        <a:pt x="459" y="338"/>
                        <a:pt x="462" y="344"/>
                        <a:pt x="465" y="345"/>
                      </a:cubicBezTo>
                      <a:cubicBezTo>
                        <a:pt x="468" y="346"/>
                        <a:pt x="468" y="344"/>
                        <a:pt x="468" y="342"/>
                      </a:cubicBezTo>
                      <a:cubicBezTo>
                        <a:pt x="469" y="341"/>
                        <a:pt x="463" y="331"/>
                        <a:pt x="461" y="331"/>
                      </a:cubicBezTo>
                      <a:cubicBezTo>
                        <a:pt x="460" y="331"/>
                        <a:pt x="455" y="329"/>
                        <a:pt x="454" y="329"/>
                      </a:cubicBezTo>
                      <a:cubicBezTo>
                        <a:pt x="452" y="329"/>
                        <a:pt x="453" y="333"/>
                        <a:pt x="451" y="333"/>
                      </a:cubicBezTo>
                      <a:cubicBezTo>
                        <a:pt x="449" y="333"/>
                        <a:pt x="443" y="332"/>
                        <a:pt x="440" y="332"/>
                      </a:cubicBezTo>
                      <a:cubicBezTo>
                        <a:pt x="432" y="325"/>
                        <a:pt x="432" y="325"/>
                        <a:pt x="432" y="325"/>
                      </a:cubicBezTo>
                      <a:cubicBezTo>
                        <a:pt x="434" y="325"/>
                        <a:pt x="431" y="321"/>
                        <a:pt x="431" y="319"/>
                      </a:cubicBezTo>
                      <a:cubicBezTo>
                        <a:pt x="431" y="317"/>
                        <a:pt x="431" y="312"/>
                        <a:pt x="430" y="312"/>
                      </a:cubicBezTo>
                      <a:cubicBezTo>
                        <a:pt x="429" y="312"/>
                        <a:pt x="422" y="312"/>
                        <a:pt x="421" y="311"/>
                      </a:cubicBezTo>
                      <a:cubicBezTo>
                        <a:pt x="419" y="310"/>
                        <a:pt x="420" y="303"/>
                        <a:pt x="417" y="303"/>
                      </a:cubicBezTo>
                      <a:cubicBezTo>
                        <a:pt x="415" y="303"/>
                        <a:pt x="409" y="302"/>
                        <a:pt x="407" y="301"/>
                      </a:cubicBezTo>
                      <a:cubicBezTo>
                        <a:pt x="404" y="300"/>
                        <a:pt x="402" y="302"/>
                        <a:pt x="401" y="303"/>
                      </a:cubicBezTo>
                      <a:cubicBezTo>
                        <a:pt x="401" y="304"/>
                        <a:pt x="395" y="308"/>
                        <a:pt x="394" y="310"/>
                      </a:cubicBezTo>
                      <a:cubicBezTo>
                        <a:pt x="394" y="310"/>
                        <a:pt x="393" y="311"/>
                        <a:pt x="392" y="311"/>
                      </a:cubicBezTo>
                      <a:cubicBezTo>
                        <a:pt x="392" y="311"/>
                        <a:pt x="392" y="311"/>
                        <a:pt x="392" y="311"/>
                      </a:cubicBezTo>
                      <a:cubicBezTo>
                        <a:pt x="392" y="311"/>
                        <a:pt x="388" y="307"/>
                        <a:pt x="386" y="308"/>
                      </a:cubicBezTo>
                      <a:cubicBezTo>
                        <a:pt x="385" y="308"/>
                        <a:pt x="380" y="309"/>
                        <a:pt x="376" y="308"/>
                      </a:cubicBezTo>
                      <a:cubicBezTo>
                        <a:pt x="373" y="307"/>
                        <a:pt x="362" y="306"/>
                        <a:pt x="361" y="306"/>
                      </a:cubicBezTo>
                      <a:cubicBezTo>
                        <a:pt x="360" y="306"/>
                        <a:pt x="356" y="298"/>
                        <a:pt x="356" y="297"/>
                      </a:cubicBezTo>
                      <a:cubicBezTo>
                        <a:pt x="356" y="296"/>
                        <a:pt x="350" y="295"/>
                        <a:pt x="350" y="295"/>
                      </a:cubicBezTo>
                      <a:cubicBezTo>
                        <a:pt x="350" y="295"/>
                        <a:pt x="350" y="301"/>
                        <a:pt x="348" y="301"/>
                      </a:cubicBezTo>
                      <a:cubicBezTo>
                        <a:pt x="142" y="301"/>
                        <a:pt x="142" y="301"/>
                        <a:pt x="142" y="301"/>
                      </a:cubicBezTo>
                      <a:cubicBezTo>
                        <a:pt x="142" y="301"/>
                        <a:pt x="142" y="301"/>
                        <a:pt x="142" y="301"/>
                      </a:cubicBezTo>
                      <a:cubicBezTo>
                        <a:pt x="142" y="301"/>
                        <a:pt x="142" y="301"/>
                        <a:pt x="142" y="300"/>
                      </a:cubicBezTo>
                      <a:cubicBezTo>
                        <a:pt x="141" y="299"/>
                        <a:pt x="139" y="295"/>
                        <a:pt x="137" y="295"/>
                      </a:cubicBezTo>
                      <a:cubicBezTo>
                        <a:pt x="135" y="295"/>
                        <a:pt x="132" y="295"/>
                        <a:pt x="129" y="294"/>
                      </a:cubicBezTo>
                      <a:cubicBezTo>
                        <a:pt x="126" y="292"/>
                        <a:pt x="123" y="289"/>
                        <a:pt x="122" y="288"/>
                      </a:cubicBezTo>
                      <a:cubicBezTo>
                        <a:pt x="122" y="287"/>
                        <a:pt x="116" y="285"/>
                        <a:pt x="115" y="284"/>
                      </a:cubicBezTo>
                      <a:cubicBezTo>
                        <a:pt x="114" y="284"/>
                        <a:pt x="110" y="282"/>
                        <a:pt x="110" y="282"/>
                      </a:cubicBezTo>
                      <a:cubicBezTo>
                        <a:pt x="109" y="281"/>
                        <a:pt x="106" y="279"/>
                        <a:pt x="104" y="279"/>
                      </a:cubicBezTo>
                      <a:cubicBezTo>
                        <a:pt x="103" y="278"/>
                        <a:pt x="102" y="277"/>
                        <a:pt x="100" y="275"/>
                      </a:cubicBezTo>
                      <a:cubicBezTo>
                        <a:pt x="97" y="273"/>
                        <a:pt x="97" y="270"/>
                        <a:pt x="96" y="268"/>
                      </a:cubicBezTo>
                      <a:cubicBezTo>
                        <a:pt x="96" y="266"/>
                        <a:pt x="92" y="263"/>
                        <a:pt x="91" y="261"/>
                      </a:cubicBezTo>
                      <a:cubicBezTo>
                        <a:pt x="90" y="260"/>
                        <a:pt x="87" y="259"/>
                        <a:pt x="84" y="258"/>
                      </a:cubicBezTo>
                      <a:cubicBezTo>
                        <a:pt x="81" y="257"/>
                        <a:pt x="81" y="253"/>
                        <a:pt x="80" y="252"/>
                      </a:cubicBezTo>
                      <a:cubicBezTo>
                        <a:pt x="78" y="250"/>
                        <a:pt x="80" y="250"/>
                        <a:pt x="81" y="249"/>
                      </a:cubicBezTo>
                      <a:cubicBezTo>
                        <a:pt x="82" y="249"/>
                        <a:pt x="84" y="244"/>
                        <a:pt x="84" y="243"/>
                      </a:cubicBezTo>
                      <a:cubicBezTo>
                        <a:pt x="84" y="242"/>
                        <a:pt x="84" y="241"/>
                        <a:pt x="82" y="240"/>
                      </a:cubicBezTo>
                      <a:cubicBezTo>
                        <a:pt x="81" y="239"/>
                        <a:pt x="79" y="242"/>
                        <a:pt x="78" y="241"/>
                      </a:cubicBezTo>
                      <a:cubicBezTo>
                        <a:pt x="77" y="240"/>
                        <a:pt x="78" y="235"/>
                        <a:pt x="78" y="233"/>
                      </a:cubicBezTo>
                      <a:cubicBezTo>
                        <a:pt x="78" y="231"/>
                        <a:pt x="76" y="229"/>
                        <a:pt x="74" y="229"/>
                      </a:cubicBezTo>
                      <a:cubicBezTo>
                        <a:pt x="72" y="228"/>
                        <a:pt x="72" y="234"/>
                        <a:pt x="70" y="234"/>
                      </a:cubicBezTo>
                      <a:cubicBezTo>
                        <a:pt x="69" y="235"/>
                        <a:pt x="68" y="233"/>
                        <a:pt x="66" y="232"/>
                      </a:cubicBezTo>
                      <a:cubicBezTo>
                        <a:pt x="66" y="231"/>
                        <a:pt x="62" y="225"/>
                        <a:pt x="62" y="223"/>
                      </a:cubicBezTo>
                      <a:cubicBezTo>
                        <a:pt x="61" y="220"/>
                        <a:pt x="62" y="219"/>
                        <a:pt x="60" y="218"/>
                      </a:cubicBezTo>
                      <a:cubicBezTo>
                        <a:pt x="59" y="216"/>
                        <a:pt x="59" y="213"/>
                        <a:pt x="58" y="212"/>
                      </a:cubicBezTo>
                      <a:cubicBezTo>
                        <a:pt x="58" y="211"/>
                        <a:pt x="54" y="205"/>
                        <a:pt x="52" y="204"/>
                      </a:cubicBezTo>
                      <a:cubicBezTo>
                        <a:pt x="51" y="203"/>
                        <a:pt x="48" y="194"/>
                        <a:pt x="47" y="193"/>
                      </a:cubicBezTo>
                      <a:cubicBezTo>
                        <a:pt x="46" y="192"/>
                        <a:pt x="46" y="192"/>
                        <a:pt x="45" y="192"/>
                      </a:cubicBezTo>
                      <a:cubicBezTo>
                        <a:pt x="45" y="192"/>
                        <a:pt x="45" y="185"/>
                        <a:pt x="43" y="185"/>
                      </a:cubicBezTo>
                      <a:cubicBezTo>
                        <a:pt x="41" y="184"/>
                        <a:pt x="38" y="186"/>
                        <a:pt x="37" y="186"/>
                      </a:cubicBezTo>
                      <a:cubicBezTo>
                        <a:pt x="36" y="186"/>
                        <a:pt x="29" y="194"/>
                        <a:pt x="29" y="194"/>
                      </a:cubicBezTo>
                      <a:cubicBezTo>
                        <a:pt x="29" y="193"/>
                        <a:pt x="26" y="190"/>
                        <a:pt x="25" y="190"/>
                      </a:cubicBezTo>
                      <a:cubicBezTo>
                        <a:pt x="24" y="189"/>
                        <a:pt x="17" y="183"/>
                        <a:pt x="17" y="183"/>
                      </a:cubicBezTo>
                      <a:cubicBezTo>
                        <a:pt x="17" y="182"/>
                        <a:pt x="19" y="178"/>
                        <a:pt x="18" y="177"/>
                      </a:cubicBezTo>
                      <a:cubicBezTo>
                        <a:pt x="16" y="176"/>
                        <a:pt x="9" y="178"/>
                        <a:pt x="8" y="177"/>
                      </a:cubicBezTo>
                      <a:cubicBezTo>
                        <a:pt x="7" y="177"/>
                        <a:pt x="1" y="175"/>
                        <a:pt x="1" y="175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63" name="Group 257"/>
              <p:cNvGrpSpPr>
                <a:grpSpLocks/>
              </p:cNvGrpSpPr>
              <p:nvPr/>
            </p:nvGrpSpPr>
            <p:grpSpPr bwMode="auto">
              <a:xfrm>
                <a:off x="2082901" y="2918336"/>
                <a:ext cx="2217280" cy="1396692"/>
                <a:chOff x="98" y="1208"/>
                <a:chExt cx="1609" cy="1077"/>
              </a:xfrm>
            </p:grpSpPr>
            <p:sp>
              <p:nvSpPr>
                <p:cNvPr id="176" name="Freeform 258"/>
                <p:cNvSpPr>
                  <a:spLocks/>
                </p:cNvSpPr>
                <p:nvPr/>
              </p:nvSpPr>
              <p:spPr bwMode="auto">
                <a:xfrm>
                  <a:off x="1675" y="2271"/>
                  <a:ext cx="32" cy="14"/>
                </a:xfrm>
                <a:custGeom>
                  <a:avLst/>
                  <a:gdLst>
                    <a:gd name="T0" fmla="*/ 196608 w 16"/>
                    <a:gd name="T1" fmla="*/ 458752 h 7"/>
                    <a:gd name="T2" fmla="*/ 131072 w 16"/>
                    <a:gd name="T3" fmla="*/ 65536 h 7"/>
                    <a:gd name="T4" fmla="*/ 589824 w 16"/>
                    <a:gd name="T5" fmla="*/ 0 h 7"/>
                    <a:gd name="T6" fmla="*/ 1048576 w 16"/>
                    <a:gd name="T7" fmla="*/ 131072 h 7"/>
                    <a:gd name="T8" fmla="*/ 720896 w 16"/>
                    <a:gd name="T9" fmla="*/ 458752 h 7"/>
                    <a:gd name="T10" fmla="*/ 196608 w 16"/>
                    <a:gd name="T11" fmla="*/ 458752 h 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6" h="7">
                      <a:moveTo>
                        <a:pt x="3" y="7"/>
                      </a:moveTo>
                      <a:cubicBezTo>
                        <a:pt x="2" y="6"/>
                        <a:pt x="0" y="3"/>
                        <a:pt x="2" y="1"/>
                      </a:cubicBezTo>
                      <a:cubicBezTo>
                        <a:pt x="3" y="0"/>
                        <a:pt x="6" y="0"/>
                        <a:pt x="9" y="0"/>
                      </a:cubicBezTo>
                      <a:cubicBezTo>
                        <a:pt x="9" y="0"/>
                        <a:pt x="16" y="1"/>
                        <a:pt x="16" y="2"/>
                      </a:cubicBezTo>
                      <a:cubicBezTo>
                        <a:pt x="15" y="4"/>
                        <a:pt x="13" y="7"/>
                        <a:pt x="11" y="7"/>
                      </a:cubicBezTo>
                      <a:cubicBezTo>
                        <a:pt x="11" y="7"/>
                        <a:pt x="3" y="7"/>
                        <a:pt x="3" y="7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7" name="Freeform 259"/>
                <p:cNvSpPr>
                  <a:spLocks/>
                </p:cNvSpPr>
                <p:nvPr/>
              </p:nvSpPr>
              <p:spPr bwMode="auto">
                <a:xfrm>
                  <a:off x="1527" y="2160"/>
                  <a:ext cx="27" cy="30"/>
                </a:xfrm>
                <a:custGeom>
                  <a:avLst/>
                  <a:gdLst>
                    <a:gd name="T0" fmla="*/ 227087 w 13"/>
                    <a:gd name="T1" fmla="*/ 524288 h 15"/>
                    <a:gd name="T2" fmla="*/ 334370 w 13"/>
                    <a:gd name="T3" fmla="*/ 65536 h 15"/>
                    <a:gd name="T4" fmla="*/ 694461 w 13"/>
                    <a:gd name="T5" fmla="*/ 65536 h 15"/>
                    <a:gd name="T6" fmla="*/ 979564 w 13"/>
                    <a:gd name="T7" fmla="*/ 458752 h 15"/>
                    <a:gd name="T8" fmla="*/ 1442342 w 13"/>
                    <a:gd name="T9" fmla="*/ 655360 h 15"/>
                    <a:gd name="T10" fmla="*/ 1083095 w 13"/>
                    <a:gd name="T11" fmla="*/ 983040 h 15"/>
                    <a:gd name="T12" fmla="*/ 227087 w 13"/>
                    <a:gd name="T13" fmla="*/ 524288 h 1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15">
                      <a:moveTo>
                        <a:pt x="2" y="8"/>
                      </a:moveTo>
                      <a:cubicBezTo>
                        <a:pt x="0" y="6"/>
                        <a:pt x="0" y="2"/>
                        <a:pt x="3" y="1"/>
                      </a:cubicBezTo>
                      <a:cubicBezTo>
                        <a:pt x="3" y="1"/>
                        <a:pt x="5" y="0"/>
                        <a:pt x="6" y="1"/>
                      </a:cubicBezTo>
                      <a:cubicBezTo>
                        <a:pt x="7" y="2"/>
                        <a:pt x="6" y="6"/>
                        <a:pt x="8" y="7"/>
                      </a:cubicBezTo>
                      <a:cubicBezTo>
                        <a:pt x="9" y="8"/>
                        <a:pt x="11" y="8"/>
                        <a:pt x="12" y="10"/>
                      </a:cubicBezTo>
                      <a:cubicBezTo>
                        <a:pt x="13" y="12"/>
                        <a:pt x="10" y="15"/>
                        <a:pt x="9" y="15"/>
                      </a:cubicBezTo>
                      <a:cubicBezTo>
                        <a:pt x="8" y="15"/>
                        <a:pt x="4" y="10"/>
                        <a:pt x="2" y="8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8" name="Freeform 260"/>
                <p:cNvSpPr>
                  <a:spLocks/>
                </p:cNvSpPr>
                <p:nvPr/>
              </p:nvSpPr>
              <p:spPr bwMode="auto">
                <a:xfrm>
                  <a:off x="1503" y="2135"/>
                  <a:ext cx="24" cy="19"/>
                </a:xfrm>
                <a:custGeom>
                  <a:avLst/>
                  <a:gdLst>
                    <a:gd name="T0" fmla="*/ 393216 w 12"/>
                    <a:gd name="T1" fmla="*/ 1128790 h 9"/>
                    <a:gd name="T2" fmla="*/ 131072 w 12"/>
                    <a:gd name="T3" fmla="*/ 444575 h 9"/>
                    <a:gd name="T4" fmla="*/ 393216 w 12"/>
                    <a:gd name="T5" fmla="*/ 0 h 9"/>
                    <a:gd name="T6" fmla="*/ 655360 w 12"/>
                    <a:gd name="T7" fmla="*/ 133378 h 9"/>
                    <a:gd name="T8" fmla="*/ 655360 w 12"/>
                    <a:gd name="T9" fmla="*/ 1254925 h 9"/>
                    <a:gd name="T10" fmla="*/ 393216 w 12"/>
                    <a:gd name="T11" fmla="*/ 1128790 h 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2" h="9">
                      <a:moveTo>
                        <a:pt x="6" y="7"/>
                      </a:moveTo>
                      <a:cubicBezTo>
                        <a:pt x="5" y="7"/>
                        <a:pt x="2" y="4"/>
                        <a:pt x="2" y="3"/>
                      </a:cubicBezTo>
                      <a:cubicBezTo>
                        <a:pt x="0" y="1"/>
                        <a:pt x="4" y="0"/>
                        <a:pt x="6" y="0"/>
                      </a:cubicBezTo>
                      <a:cubicBezTo>
                        <a:pt x="6" y="0"/>
                        <a:pt x="8" y="0"/>
                        <a:pt x="10" y="1"/>
                      </a:cubicBezTo>
                      <a:cubicBezTo>
                        <a:pt x="12" y="2"/>
                        <a:pt x="11" y="7"/>
                        <a:pt x="10" y="8"/>
                      </a:cubicBezTo>
                      <a:cubicBezTo>
                        <a:pt x="10" y="9"/>
                        <a:pt x="7" y="8"/>
                        <a:pt x="6" y="7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9" name="Freeform 261"/>
                <p:cNvSpPr>
                  <a:spLocks/>
                </p:cNvSpPr>
                <p:nvPr/>
              </p:nvSpPr>
              <p:spPr bwMode="auto">
                <a:xfrm>
                  <a:off x="786" y="1724"/>
                  <a:ext cx="897" cy="442"/>
                </a:xfrm>
                <a:custGeom>
                  <a:avLst/>
                  <a:gdLst>
                    <a:gd name="T0" fmla="*/ 1107578 w 443"/>
                    <a:gd name="T1" fmla="*/ 2047269 h 218"/>
                    <a:gd name="T2" fmla="*/ 1424053 w 443"/>
                    <a:gd name="T3" fmla="*/ 478939 h 218"/>
                    <a:gd name="T4" fmla="*/ 18542308 w 443"/>
                    <a:gd name="T5" fmla="*/ 155053 h 218"/>
                    <a:gd name="T6" fmla="*/ 20936237 w 443"/>
                    <a:gd name="T7" fmla="*/ 1047522 h 218"/>
                    <a:gd name="T8" fmla="*/ 20581367 w 443"/>
                    <a:gd name="T9" fmla="*/ 1644972 h 218"/>
                    <a:gd name="T10" fmla="*/ 20936237 w 443"/>
                    <a:gd name="T11" fmla="*/ 2456293 h 218"/>
                    <a:gd name="T12" fmla="*/ 22588894 w 443"/>
                    <a:gd name="T13" fmla="*/ 2297415 h 218"/>
                    <a:gd name="T14" fmla="*/ 24589734 w 443"/>
                    <a:gd name="T15" fmla="*/ 2456293 h 218"/>
                    <a:gd name="T16" fmla="*/ 23543964 w 443"/>
                    <a:gd name="T17" fmla="*/ 2935241 h 218"/>
                    <a:gd name="T18" fmla="*/ 22746936 w 443"/>
                    <a:gd name="T19" fmla="*/ 4150885 h 218"/>
                    <a:gd name="T20" fmla="*/ 23234294 w 443"/>
                    <a:gd name="T21" fmla="*/ 6105622 h 218"/>
                    <a:gd name="T22" fmla="*/ 23696539 w 443"/>
                    <a:gd name="T23" fmla="*/ 3827333 h 218"/>
                    <a:gd name="T24" fmla="*/ 25159672 w 443"/>
                    <a:gd name="T25" fmla="*/ 3493832 h 218"/>
                    <a:gd name="T26" fmla="*/ 25704450 w 443"/>
                    <a:gd name="T27" fmla="*/ 4382400 h 218"/>
                    <a:gd name="T28" fmla="*/ 25392418 w 443"/>
                    <a:gd name="T29" fmla="*/ 5951268 h 218"/>
                    <a:gd name="T30" fmla="*/ 27803489 w 443"/>
                    <a:gd name="T31" fmla="*/ 5559665 h 218"/>
                    <a:gd name="T32" fmla="*/ 28123353 w 443"/>
                    <a:gd name="T33" fmla="*/ 4827074 h 218"/>
                    <a:gd name="T34" fmla="*/ 29620171 w 443"/>
                    <a:gd name="T35" fmla="*/ 4382400 h 218"/>
                    <a:gd name="T36" fmla="*/ 32581923 w 443"/>
                    <a:gd name="T37" fmla="*/ 3493832 h 218"/>
                    <a:gd name="T38" fmla="*/ 34815623 w 443"/>
                    <a:gd name="T39" fmla="*/ 1887689 h 218"/>
                    <a:gd name="T40" fmla="*/ 34582746 w 443"/>
                    <a:gd name="T41" fmla="*/ 4150885 h 218"/>
                    <a:gd name="T42" fmla="*/ 33044237 w 443"/>
                    <a:gd name="T43" fmla="*/ 5872343 h 218"/>
                    <a:gd name="T44" fmla="*/ 33438297 w 443"/>
                    <a:gd name="T45" fmla="*/ 6274760 h 218"/>
                    <a:gd name="T46" fmla="*/ 31238643 w 443"/>
                    <a:gd name="T47" fmla="*/ 6923829 h 218"/>
                    <a:gd name="T48" fmla="*/ 30478203 w 443"/>
                    <a:gd name="T49" fmla="*/ 8571092 h 218"/>
                    <a:gd name="T50" fmla="*/ 29926712 w 443"/>
                    <a:gd name="T51" fmla="*/ 9049928 h 218"/>
                    <a:gd name="T52" fmla="*/ 29851798 w 443"/>
                    <a:gd name="T53" fmla="*/ 7760005 h 218"/>
                    <a:gd name="T54" fmla="*/ 29467315 w 443"/>
                    <a:gd name="T55" fmla="*/ 9285031 h 218"/>
                    <a:gd name="T56" fmla="*/ 29467315 w 443"/>
                    <a:gd name="T57" fmla="*/ 11103326 h 218"/>
                    <a:gd name="T58" fmla="*/ 28043126 w 443"/>
                    <a:gd name="T59" fmla="*/ 11818354 h 218"/>
                    <a:gd name="T60" fmla="*/ 26658696 w 443"/>
                    <a:gd name="T61" fmla="*/ 13396221 h 218"/>
                    <a:gd name="T62" fmla="*/ 26968060 w 443"/>
                    <a:gd name="T63" fmla="*/ 15733588 h 218"/>
                    <a:gd name="T64" fmla="*/ 26889235 w 443"/>
                    <a:gd name="T65" fmla="*/ 17778659 h 218"/>
                    <a:gd name="T66" fmla="*/ 26088771 w 443"/>
                    <a:gd name="T67" fmla="*/ 16899166 h 218"/>
                    <a:gd name="T68" fmla="*/ 24925640 w 443"/>
                    <a:gd name="T69" fmla="*/ 14443678 h 218"/>
                    <a:gd name="T70" fmla="*/ 23387096 w 443"/>
                    <a:gd name="T71" fmla="*/ 14207226 h 218"/>
                    <a:gd name="T72" fmla="*/ 21735341 w 443"/>
                    <a:gd name="T73" fmla="*/ 15000081 h 218"/>
                    <a:gd name="T74" fmla="*/ 19780834 w 443"/>
                    <a:gd name="T75" fmla="*/ 14846143 h 218"/>
                    <a:gd name="T76" fmla="*/ 17541606 w 443"/>
                    <a:gd name="T77" fmla="*/ 15409264 h 218"/>
                    <a:gd name="T78" fmla="*/ 16926682 w 443"/>
                    <a:gd name="T79" fmla="*/ 17142459 h 218"/>
                    <a:gd name="T80" fmla="*/ 14424181 w 443"/>
                    <a:gd name="T81" fmla="*/ 14677121 h 218"/>
                    <a:gd name="T82" fmla="*/ 12309987 w 443"/>
                    <a:gd name="T83" fmla="*/ 14443678 h 218"/>
                    <a:gd name="T84" fmla="*/ 10126095 w 443"/>
                    <a:gd name="T85" fmla="*/ 13189410 h 218"/>
                    <a:gd name="T86" fmla="*/ 6155001 w 443"/>
                    <a:gd name="T87" fmla="*/ 12643522 h 218"/>
                    <a:gd name="T88" fmla="*/ 4694475 w 443"/>
                    <a:gd name="T89" fmla="*/ 12643522 h 218"/>
                    <a:gd name="T90" fmla="*/ 2646237 w 443"/>
                    <a:gd name="T91" fmla="*/ 11427377 h 218"/>
                    <a:gd name="T92" fmla="*/ 1192431 w 443"/>
                    <a:gd name="T93" fmla="*/ 8571092 h 218"/>
                    <a:gd name="T94" fmla="*/ 468987 w 443"/>
                    <a:gd name="T95" fmla="*/ 6274760 h 218"/>
                    <a:gd name="T96" fmla="*/ 309362 w 443"/>
                    <a:gd name="T97" fmla="*/ 1887689 h 218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0" t="0" r="r" b="b"/>
                  <a:pathLst>
                    <a:path w="443" h="218">
                      <a:moveTo>
                        <a:pt x="7" y="19"/>
                      </a:moveTo>
                      <a:cubicBezTo>
                        <a:pt x="8" y="19"/>
                        <a:pt x="11" y="17"/>
                        <a:pt x="13" y="18"/>
                      </a:cubicBezTo>
                      <a:cubicBezTo>
                        <a:pt x="16" y="19"/>
                        <a:pt x="13" y="24"/>
                        <a:pt x="14" y="25"/>
                      </a:cubicBezTo>
                      <a:cubicBezTo>
                        <a:pt x="16" y="26"/>
                        <a:pt x="18" y="25"/>
                        <a:pt x="20" y="23"/>
                      </a:cubicBezTo>
                      <a:cubicBezTo>
                        <a:pt x="20" y="22"/>
                        <a:pt x="18" y="16"/>
                        <a:pt x="19" y="13"/>
                      </a:cubicBezTo>
                      <a:cubicBezTo>
                        <a:pt x="19" y="10"/>
                        <a:pt x="19" y="8"/>
                        <a:pt x="18" y="6"/>
                      </a:cubicBezTo>
                      <a:cubicBezTo>
                        <a:pt x="224" y="6"/>
                        <a:pt x="224" y="6"/>
                        <a:pt x="224" y="6"/>
                      </a:cubicBezTo>
                      <a:cubicBezTo>
                        <a:pt x="226" y="6"/>
                        <a:pt x="226" y="0"/>
                        <a:pt x="226" y="0"/>
                      </a:cubicBezTo>
                      <a:cubicBezTo>
                        <a:pt x="226" y="0"/>
                        <a:pt x="232" y="1"/>
                        <a:pt x="232" y="2"/>
                      </a:cubicBezTo>
                      <a:cubicBezTo>
                        <a:pt x="232" y="3"/>
                        <a:pt x="236" y="11"/>
                        <a:pt x="237" y="11"/>
                      </a:cubicBezTo>
                      <a:cubicBezTo>
                        <a:pt x="238" y="11"/>
                        <a:pt x="249" y="12"/>
                        <a:pt x="252" y="13"/>
                      </a:cubicBezTo>
                      <a:cubicBezTo>
                        <a:pt x="256" y="14"/>
                        <a:pt x="261" y="13"/>
                        <a:pt x="262" y="13"/>
                      </a:cubicBezTo>
                      <a:cubicBezTo>
                        <a:pt x="264" y="12"/>
                        <a:pt x="268" y="16"/>
                        <a:pt x="268" y="16"/>
                      </a:cubicBezTo>
                      <a:cubicBezTo>
                        <a:pt x="268" y="16"/>
                        <a:pt x="268" y="16"/>
                        <a:pt x="268" y="16"/>
                      </a:cubicBezTo>
                      <a:cubicBezTo>
                        <a:pt x="265" y="18"/>
                        <a:pt x="259" y="19"/>
                        <a:pt x="258" y="20"/>
                      </a:cubicBezTo>
                      <a:cubicBezTo>
                        <a:pt x="257" y="22"/>
                        <a:pt x="249" y="26"/>
                        <a:pt x="250" y="28"/>
                      </a:cubicBezTo>
                      <a:cubicBezTo>
                        <a:pt x="250" y="30"/>
                        <a:pt x="254" y="30"/>
                        <a:pt x="255" y="28"/>
                      </a:cubicBezTo>
                      <a:cubicBezTo>
                        <a:pt x="257" y="27"/>
                        <a:pt x="260" y="28"/>
                        <a:pt x="262" y="30"/>
                      </a:cubicBezTo>
                      <a:cubicBezTo>
                        <a:pt x="263" y="32"/>
                        <a:pt x="269" y="28"/>
                        <a:pt x="273" y="26"/>
                      </a:cubicBezTo>
                      <a:cubicBezTo>
                        <a:pt x="273" y="26"/>
                        <a:pt x="282" y="19"/>
                        <a:pt x="283" y="22"/>
                      </a:cubicBezTo>
                      <a:cubicBezTo>
                        <a:pt x="284" y="24"/>
                        <a:pt x="282" y="26"/>
                        <a:pt x="283" y="28"/>
                      </a:cubicBezTo>
                      <a:cubicBezTo>
                        <a:pt x="285" y="30"/>
                        <a:pt x="288" y="31"/>
                        <a:pt x="291" y="32"/>
                      </a:cubicBezTo>
                      <a:cubicBezTo>
                        <a:pt x="294" y="32"/>
                        <a:pt x="298" y="29"/>
                        <a:pt x="301" y="29"/>
                      </a:cubicBezTo>
                      <a:cubicBezTo>
                        <a:pt x="303" y="28"/>
                        <a:pt x="305" y="30"/>
                        <a:pt x="308" y="30"/>
                      </a:cubicBezTo>
                      <a:cubicBezTo>
                        <a:pt x="316" y="37"/>
                        <a:pt x="316" y="37"/>
                        <a:pt x="316" y="37"/>
                      </a:cubicBezTo>
                      <a:cubicBezTo>
                        <a:pt x="313" y="37"/>
                        <a:pt x="306" y="37"/>
                        <a:pt x="304" y="35"/>
                      </a:cubicBezTo>
                      <a:cubicBezTo>
                        <a:pt x="303" y="34"/>
                        <a:pt x="299" y="35"/>
                        <a:pt x="295" y="36"/>
                      </a:cubicBezTo>
                      <a:cubicBezTo>
                        <a:pt x="292" y="36"/>
                        <a:pt x="289" y="38"/>
                        <a:pt x="287" y="39"/>
                      </a:cubicBezTo>
                      <a:cubicBezTo>
                        <a:pt x="285" y="41"/>
                        <a:pt x="284" y="44"/>
                        <a:pt x="286" y="45"/>
                      </a:cubicBezTo>
                      <a:cubicBezTo>
                        <a:pt x="287" y="46"/>
                        <a:pt x="286" y="49"/>
                        <a:pt x="285" y="51"/>
                      </a:cubicBezTo>
                      <a:cubicBezTo>
                        <a:pt x="284" y="54"/>
                        <a:pt x="283" y="64"/>
                        <a:pt x="283" y="68"/>
                      </a:cubicBezTo>
                      <a:cubicBezTo>
                        <a:pt x="283" y="72"/>
                        <a:pt x="285" y="76"/>
                        <a:pt x="287" y="76"/>
                      </a:cubicBezTo>
                      <a:cubicBezTo>
                        <a:pt x="289" y="77"/>
                        <a:pt x="290" y="76"/>
                        <a:pt x="291" y="75"/>
                      </a:cubicBezTo>
                      <a:cubicBezTo>
                        <a:pt x="293" y="74"/>
                        <a:pt x="294" y="70"/>
                        <a:pt x="295" y="68"/>
                      </a:cubicBezTo>
                      <a:cubicBezTo>
                        <a:pt x="297" y="66"/>
                        <a:pt x="293" y="58"/>
                        <a:pt x="293" y="55"/>
                      </a:cubicBezTo>
                      <a:cubicBezTo>
                        <a:pt x="293" y="52"/>
                        <a:pt x="294" y="48"/>
                        <a:pt x="297" y="47"/>
                      </a:cubicBezTo>
                      <a:cubicBezTo>
                        <a:pt x="301" y="45"/>
                        <a:pt x="303" y="46"/>
                        <a:pt x="303" y="45"/>
                      </a:cubicBezTo>
                      <a:cubicBezTo>
                        <a:pt x="303" y="43"/>
                        <a:pt x="305" y="41"/>
                        <a:pt x="307" y="41"/>
                      </a:cubicBezTo>
                      <a:cubicBezTo>
                        <a:pt x="309" y="41"/>
                        <a:pt x="313" y="42"/>
                        <a:pt x="315" y="43"/>
                      </a:cubicBezTo>
                      <a:cubicBezTo>
                        <a:pt x="317" y="44"/>
                        <a:pt x="316" y="46"/>
                        <a:pt x="316" y="49"/>
                      </a:cubicBezTo>
                      <a:cubicBezTo>
                        <a:pt x="316" y="52"/>
                        <a:pt x="311" y="55"/>
                        <a:pt x="313" y="57"/>
                      </a:cubicBezTo>
                      <a:cubicBezTo>
                        <a:pt x="315" y="60"/>
                        <a:pt x="320" y="55"/>
                        <a:pt x="322" y="54"/>
                      </a:cubicBezTo>
                      <a:cubicBezTo>
                        <a:pt x="323" y="54"/>
                        <a:pt x="322" y="61"/>
                        <a:pt x="324" y="63"/>
                      </a:cubicBezTo>
                      <a:cubicBezTo>
                        <a:pt x="320" y="72"/>
                        <a:pt x="320" y="72"/>
                        <a:pt x="320" y="72"/>
                      </a:cubicBezTo>
                      <a:cubicBezTo>
                        <a:pt x="319" y="72"/>
                        <a:pt x="318" y="72"/>
                        <a:pt x="318" y="73"/>
                      </a:cubicBezTo>
                      <a:cubicBezTo>
                        <a:pt x="316" y="74"/>
                        <a:pt x="319" y="77"/>
                        <a:pt x="320" y="77"/>
                      </a:cubicBezTo>
                      <a:cubicBezTo>
                        <a:pt x="322" y="78"/>
                        <a:pt x="327" y="78"/>
                        <a:pt x="330" y="77"/>
                      </a:cubicBezTo>
                      <a:cubicBezTo>
                        <a:pt x="333" y="75"/>
                        <a:pt x="346" y="69"/>
                        <a:pt x="348" y="68"/>
                      </a:cubicBezTo>
                      <a:cubicBezTo>
                        <a:pt x="350" y="68"/>
                        <a:pt x="352" y="66"/>
                        <a:pt x="351" y="65"/>
                      </a:cubicBezTo>
                      <a:cubicBezTo>
                        <a:pt x="351" y="64"/>
                        <a:pt x="350" y="64"/>
                        <a:pt x="348" y="64"/>
                      </a:cubicBezTo>
                      <a:cubicBezTo>
                        <a:pt x="352" y="59"/>
                        <a:pt x="352" y="59"/>
                        <a:pt x="352" y="59"/>
                      </a:cubicBezTo>
                      <a:cubicBezTo>
                        <a:pt x="355" y="59"/>
                        <a:pt x="364" y="60"/>
                        <a:pt x="366" y="60"/>
                      </a:cubicBezTo>
                      <a:cubicBezTo>
                        <a:pt x="369" y="60"/>
                        <a:pt x="371" y="59"/>
                        <a:pt x="372" y="57"/>
                      </a:cubicBezTo>
                      <a:cubicBezTo>
                        <a:pt x="372" y="56"/>
                        <a:pt x="372" y="54"/>
                        <a:pt x="371" y="54"/>
                      </a:cubicBezTo>
                      <a:cubicBezTo>
                        <a:pt x="371" y="54"/>
                        <a:pt x="371" y="54"/>
                        <a:pt x="371" y="54"/>
                      </a:cubicBezTo>
                      <a:cubicBezTo>
                        <a:pt x="382" y="44"/>
                        <a:pt x="382" y="44"/>
                        <a:pt x="382" y="44"/>
                      </a:cubicBezTo>
                      <a:cubicBezTo>
                        <a:pt x="408" y="43"/>
                        <a:pt x="408" y="43"/>
                        <a:pt x="408" y="43"/>
                      </a:cubicBezTo>
                      <a:cubicBezTo>
                        <a:pt x="408" y="43"/>
                        <a:pt x="415" y="42"/>
                        <a:pt x="416" y="38"/>
                      </a:cubicBezTo>
                      <a:cubicBezTo>
                        <a:pt x="417" y="35"/>
                        <a:pt x="424" y="20"/>
                        <a:pt x="426" y="21"/>
                      </a:cubicBezTo>
                      <a:cubicBezTo>
                        <a:pt x="429" y="23"/>
                        <a:pt x="435" y="20"/>
                        <a:pt x="436" y="23"/>
                      </a:cubicBezTo>
                      <a:cubicBezTo>
                        <a:pt x="437" y="26"/>
                        <a:pt x="437" y="34"/>
                        <a:pt x="437" y="36"/>
                      </a:cubicBezTo>
                      <a:cubicBezTo>
                        <a:pt x="443" y="45"/>
                        <a:pt x="443" y="45"/>
                        <a:pt x="443" y="45"/>
                      </a:cubicBezTo>
                      <a:cubicBezTo>
                        <a:pt x="443" y="46"/>
                        <a:pt x="437" y="50"/>
                        <a:pt x="433" y="51"/>
                      </a:cubicBezTo>
                      <a:cubicBezTo>
                        <a:pt x="430" y="53"/>
                        <a:pt x="424" y="54"/>
                        <a:pt x="422" y="56"/>
                      </a:cubicBezTo>
                      <a:cubicBezTo>
                        <a:pt x="419" y="57"/>
                        <a:pt x="416" y="60"/>
                        <a:pt x="413" y="64"/>
                      </a:cubicBezTo>
                      <a:cubicBezTo>
                        <a:pt x="410" y="68"/>
                        <a:pt x="413" y="71"/>
                        <a:pt x="414" y="72"/>
                      </a:cubicBezTo>
                      <a:cubicBezTo>
                        <a:pt x="415" y="73"/>
                        <a:pt x="418" y="70"/>
                        <a:pt x="418" y="70"/>
                      </a:cubicBezTo>
                      <a:cubicBezTo>
                        <a:pt x="419" y="70"/>
                        <a:pt x="419" y="71"/>
                        <a:pt x="420" y="73"/>
                      </a:cubicBezTo>
                      <a:cubicBezTo>
                        <a:pt x="420" y="74"/>
                        <a:pt x="420" y="77"/>
                        <a:pt x="419" y="77"/>
                      </a:cubicBezTo>
                      <a:cubicBezTo>
                        <a:pt x="418" y="77"/>
                        <a:pt x="416" y="77"/>
                        <a:pt x="413" y="77"/>
                      </a:cubicBezTo>
                      <a:cubicBezTo>
                        <a:pt x="411" y="77"/>
                        <a:pt x="406" y="80"/>
                        <a:pt x="401" y="80"/>
                      </a:cubicBezTo>
                      <a:cubicBezTo>
                        <a:pt x="396" y="80"/>
                        <a:pt x="392" y="84"/>
                        <a:pt x="391" y="85"/>
                      </a:cubicBezTo>
                      <a:cubicBezTo>
                        <a:pt x="390" y="87"/>
                        <a:pt x="389" y="90"/>
                        <a:pt x="389" y="92"/>
                      </a:cubicBezTo>
                      <a:cubicBezTo>
                        <a:pt x="389" y="94"/>
                        <a:pt x="385" y="96"/>
                        <a:pt x="384" y="98"/>
                      </a:cubicBezTo>
                      <a:cubicBezTo>
                        <a:pt x="382" y="99"/>
                        <a:pt x="382" y="102"/>
                        <a:pt x="382" y="105"/>
                      </a:cubicBezTo>
                      <a:cubicBezTo>
                        <a:pt x="382" y="107"/>
                        <a:pt x="379" y="112"/>
                        <a:pt x="379" y="113"/>
                      </a:cubicBezTo>
                      <a:cubicBezTo>
                        <a:pt x="378" y="114"/>
                        <a:pt x="378" y="115"/>
                        <a:pt x="377" y="115"/>
                      </a:cubicBezTo>
                      <a:cubicBezTo>
                        <a:pt x="376" y="115"/>
                        <a:pt x="375" y="113"/>
                        <a:pt x="375" y="111"/>
                      </a:cubicBezTo>
                      <a:cubicBezTo>
                        <a:pt x="375" y="110"/>
                        <a:pt x="374" y="107"/>
                        <a:pt x="374" y="105"/>
                      </a:cubicBezTo>
                      <a:cubicBezTo>
                        <a:pt x="374" y="103"/>
                        <a:pt x="374" y="103"/>
                        <a:pt x="374" y="101"/>
                      </a:cubicBezTo>
                      <a:cubicBezTo>
                        <a:pt x="373" y="98"/>
                        <a:pt x="374" y="96"/>
                        <a:pt x="374" y="95"/>
                      </a:cubicBezTo>
                      <a:cubicBezTo>
                        <a:pt x="374" y="94"/>
                        <a:pt x="372" y="95"/>
                        <a:pt x="370" y="96"/>
                      </a:cubicBezTo>
                      <a:cubicBezTo>
                        <a:pt x="368" y="97"/>
                        <a:pt x="368" y="102"/>
                        <a:pt x="369" y="105"/>
                      </a:cubicBezTo>
                      <a:cubicBezTo>
                        <a:pt x="370" y="108"/>
                        <a:pt x="369" y="111"/>
                        <a:pt x="369" y="114"/>
                      </a:cubicBezTo>
                      <a:cubicBezTo>
                        <a:pt x="369" y="116"/>
                        <a:pt x="373" y="118"/>
                        <a:pt x="373" y="119"/>
                      </a:cubicBezTo>
                      <a:cubicBezTo>
                        <a:pt x="373" y="120"/>
                        <a:pt x="378" y="131"/>
                        <a:pt x="378" y="132"/>
                      </a:cubicBezTo>
                      <a:cubicBezTo>
                        <a:pt x="377" y="134"/>
                        <a:pt x="371" y="136"/>
                        <a:pt x="369" y="136"/>
                      </a:cubicBezTo>
                      <a:cubicBezTo>
                        <a:pt x="367" y="136"/>
                        <a:pt x="363" y="138"/>
                        <a:pt x="361" y="139"/>
                      </a:cubicBezTo>
                      <a:cubicBezTo>
                        <a:pt x="360" y="140"/>
                        <a:pt x="360" y="144"/>
                        <a:pt x="358" y="145"/>
                      </a:cubicBezTo>
                      <a:cubicBezTo>
                        <a:pt x="357" y="146"/>
                        <a:pt x="354" y="143"/>
                        <a:pt x="351" y="145"/>
                      </a:cubicBezTo>
                      <a:cubicBezTo>
                        <a:pt x="348" y="146"/>
                        <a:pt x="349" y="151"/>
                        <a:pt x="349" y="151"/>
                      </a:cubicBezTo>
                      <a:cubicBezTo>
                        <a:pt x="348" y="152"/>
                        <a:pt x="347" y="153"/>
                        <a:pt x="345" y="154"/>
                      </a:cubicBezTo>
                      <a:cubicBezTo>
                        <a:pt x="343" y="156"/>
                        <a:pt x="338" y="157"/>
                        <a:pt x="334" y="164"/>
                      </a:cubicBezTo>
                      <a:cubicBezTo>
                        <a:pt x="330" y="170"/>
                        <a:pt x="334" y="179"/>
                        <a:pt x="335" y="183"/>
                      </a:cubicBezTo>
                      <a:cubicBezTo>
                        <a:pt x="335" y="186"/>
                        <a:pt x="339" y="187"/>
                        <a:pt x="340" y="188"/>
                      </a:cubicBezTo>
                      <a:cubicBezTo>
                        <a:pt x="340" y="190"/>
                        <a:pt x="338" y="192"/>
                        <a:pt x="338" y="193"/>
                      </a:cubicBezTo>
                      <a:cubicBezTo>
                        <a:pt x="338" y="195"/>
                        <a:pt x="339" y="195"/>
                        <a:pt x="342" y="199"/>
                      </a:cubicBezTo>
                      <a:cubicBezTo>
                        <a:pt x="344" y="204"/>
                        <a:pt x="343" y="210"/>
                        <a:pt x="343" y="213"/>
                      </a:cubicBezTo>
                      <a:cubicBezTo>
                        <a:pt x="342" y="216"/>
                        <a:pt x="340" y="218"/>
                        <a:pt x="337" y="218"/>
                      </a:cubicBezTo>
                      <a:cubicBezTo>
                        <a:pt x="336" y="218"/>
                        <a:pt x="336" y="217"/>
                        <a:pt x="336" y="217"/>
                      </a:cubicBezTo>
                      <a:cubicBezTo>
                        <a:pt x="333" y="217"/>
                        <a:pt x="333" y="216"/>
                        <a:pt x="332" y="213"/>
                      </a:cubicBezTo>
                      <a:cubicBezTo>
                        <a:pt x="330" y="211"/>
                        <a:pt x="329" y="210"/>
                        <a:pt x="327" y="207"/>
                      </a:cubicBezTo>
                      <a:cubicBezTo>
                        <a:pt x="325" y="205"/>
                        <a:pt x="321" y="197"/>
                        <a:pt x="321" y="193"/>
                      </a:cubicBezTo>
                      <a:cubicBezTo>
                        <a:pt x="321" y="190"/>
                        <a:pt x="321" y="186"/>
                        <a:pt x="319" y="184"/>
                      </a:cubicBezTo>
                      <a:cubicBezTo>
                        <a:pt x="318" y="182"/>
                        <a:pt x="315" y="178"/>
                        <a:pt x="312" y="177"/>
                      </a:cubicBezTo>
                      <a:cubicBezTo>
                        <a:pt x="309" y="176"/>
                        <a:pt x="308" y="180"/>
                        <a:pt x="306" y="181"/>
                      </a:cubicBezTo>
                      <a:cubicBezTo>
                        <a:pt x="304" y="182"/>
                        <a:pt x="302" y="181"/>
                        <a:pt x="301" y="179"/>
                      </a:cubicBezTo>
                      <a:cubicBezTo>
                        <a:pt x="300" y="177"/>
                        <a:pt x="296" y="174"/>
                        <a:pt x="293" y="174"/>
                      </a:cubicBezTo>
                      <a:cubicBezTo>
                        <a:pt x="291" y="174"/>
                        <a:pt x="285" y="176"/>
                        <a:pt x="279" y="176"/>
                      </a:cubicBezTo>
                      <a:cubicBezTo>
                        <a:pt x="273" y="176"/>
                        <a:pt x="274" y="177"/>
                        <a:pt x="272" y="178"/>
                      </a:cubicBezTo>
                      <a:cubicBezTo>
                        <a:pt x="271" y="179"/>
                        <a:pt x="273" y="183"/>
                        <a:pt x="272" y="184"/>
                      </a:cubicBezTo>
                      <a:cubicBezTo>
                        <a:pt x="270" y="185"/>
                        <a:pt x="267" y="186"/>
                        <a:pt x="264" y="186"/>
                      </a:cubicBezTo>
                      <a:cubicBezTo>
                        <a:pt x="261" y="186"/>
                        <a:pt x="258" y="182"/>
                        <a:pt x="255" y="181"/>
                      </a:cubicBezTo>
                      <a:cubicBezTo>
                        <a:pt x="253" y="180"/>
                        <a:pt x="249" y="182"/>
                        <a:pt x="248" y="182"/>
                      </a:cubicBezTo>
                      <a:cubicBezTo>
                        <a:pt x="247" y="181"/>
                        <a:pt x="246" y="181"/>
                        <a:pt x="242" y="180"/>
                      </a:cubicBezTo>
                      <a:cubicBezTo>
                        <a:pt x="239" y="178"/>
                        <a:pt x="234" y="181"/>
                        <a:pt x="232" y="182"/>
                      </a:cubicBezTo>
                      <a:cubicBezTo>
                        <a:pt x="229" y="183"/>
                        <a:pt x="223" y="188"/>
                        <a:pt x="220" y="189"/>
                      </a:cubicBezTo>
                      <a:cubicBezTo>
                        <a:pt x="218" y="190"/>
                        <a:pt x="209" y="198"/>
                        <a:pt x="209" y="200"/>
                      </a:cubicBezTo>
                      <a:cubicBezTo>
                        <a:pt x="209" y="202"/>
                        <a:pt x="212" y="207"/>
                        <a:pt x="213" y="210"/>
                      </a:cubicBezTo>
                      <a:cubicBezTo>
                        <a:pt x="212" y="210"/>
                        <a:pt x="212" y="210"/>
                        <a:pt x="212" y="210"/>
                      </a:cubicBezTo>
                      <a:cubicBezTo>
                        <a:pt x="207" y="212"/>
                        <a:pt x="207" y="212"/>
                        <a:pt x="207" y="212"/>
                      </a:cubicBezTo>
                      <a:cubicBezTo>
                        <a:pt x="207" y="212"/>
                        <a:pt x="198" y="208"/>
                        <a:pt x="197" y="207"/>
                      </a:cubicBezTo>
                      <a:cubicBezTo>
                        <a:pt x="196" y="206"/>
                        <a:pt x="185" y="182"/>
                        <a:pt x="181" y="180"/>
                      </a:cubicBezTo>
                      <a:cubicBezTo>
                        <a:pt x="176" y="178"/>
                        <a:pt x="173" y="178"/>
                        <a:pt x="171" y="178"/>
                      </a:cubicBezTo>
                      <a:cubicBezTo>
                        <a:pt x="169" y="179"/>
                        <a:pt x="169" y="186"/>
                        <a:pt x="165" y="185"/>
                      </a:cubicBezTo>
                      <a:cubicBezTo>
                        <a:pt x="161" y="183"/>
                        <a:pt x="155" y="181"/>
                        <a:pt x="154" y="177"/>
                      </a:cubicBezTo>
                      <a:cubicBezTo>
                        <a:pt x="153" y="173"/>
                        <a:pt x="152" y="171"/>
                        <a:pt x="149" y="170"/>
                      </a:cubicBezTo>
                      <a:cubicBezTo>
                        <a:pt x="147" y="168"/>
                        <a:pt x="141" y="162"/>
                        <a:pt x="141" y="162"/>
                      </a:cubicBezTo>
                      <a:cubicBezTo>
                        <a:pt x="127" y="162"/>
                        <a:pt x="127" y="162"/>
                        <a:pt x="127" y="162"/>
                      </a:cubicBezTo>
                      <a:cubicBezTo>
                        <a:pt x="127" y="167"/>
                        <a:pt x="127" y="167"/>
                        <a:pt x="127" y="167"/>
                      </a:cubicBezTo>
                      <a:cubicBezTo>
                        <a:pt x="105" y="166"/>
                        <a:pt x="105" y="166"/>
                        <a:pt x="105" y="166"/>
                      </a:cubicBezTo>
                      <a:cubicBezTo>
                        <a:pt x="77" y="155"/>
                        <a:pt x="77" y="155"/>
                        <a:pt x="77" y="155"/>
                      </a:cubicBezTo>
                      <a:cubicBezTo>
                        <a:pt x="77" y="152"/>
                        <a:pt x="77" y="152"/>
                        <a:pt x="77" y="152"/>
                      </a:cubicBezTo>
                      <a:cubicBezTo>
                        <a:pt x="66" y="154"/>
                        <a:pt x="66" y="154"/>
                        <a:pt x="66" y="154"/>
                      </a:cubicBezTo>
                      <a:cubicBezTo>
                        <a:pt x="59" y="155"/>
                        <a:pt x="59" y="155"/>
                        <a:pt x="59" y="155"/>
                      </a:cubicBezTo>
                      <a:cubicBezTo>
                        <a:pt x="58" y="154"/>
                        <a:pt x="58" y="152"/>
                        <a:pt x="58" y="151"/>
                      </a:cubicBezTo>
                      <a:cubicBezTo>
                        <a:pt x="57" y="148"/>
                        <a:pt x="43" y="141"/>
                        <a:pt x="40" y="140"/>
                      </a:cubicBezTo>
                      <a:cubicBezTo>
                        <a:pt x="38" y="138"/>
                        <a:pt x="34" y="142"/>
                        <a:pt x="33" y="140"/>
                      </a:cubicBezTo>
                      <a:cubicBezTo>
                        <a:pt x="32" y="138"/>
                        <a:pt x="30" y="131"/>
                        <a:pt x="30" y="130"/>
                      </a:cubicBezTo>
                      <a:cubicBezTo>
                        <a:pt x="29" y="129"/>
                        <a:pt x="25" y="125"/>
                        <a:pt x="22" y="122"/>
                      </a:cubicBezTo>
                      <a:cubicBezTo>
                        <a:pt x="20" y="119"/>
                        <a:pt x="17" y="108"/>
                        <a:pt x="15" y="105"/>
                      </a:cubicBezTo>
                      <a:cubicBezTo>
                        <a:pt x="12" y="102"/>
                        <a:pt x="9" y="97"/>
                        <a:pt x="9" y="95"/>
                      </a:cubicBezTo>
                      <a:cubicBezTo>
                        <a:pt x="9" y="93"/>
                        <a:pt x="3" y="89"/>
                        <a:pt x="3" y="87"/>
                      </a:cubicBezTo>
                      <a:cubicBezTo>
                        <a:pt x="3" y="85"/>
                        <a:pt x="6" y="79"/>
                        <a:pt x="6" y="77"/>
                      </a:cubicBezTo>
                      <a:cubicBezTo>
                        <a:pt x="6" y="74"/>
                        <a:pt x="2" y="67"/>
                        <a:pt x="2" y="65"/>
                      </a:cubicBezTo>
                      <a:cubicBezTo>
                        <a:pt x="2" y="62"/>
                        <a:pt x="7" y="43"/>
                        <a:pt x="7" y="38"/>
                      </a:cubicBezTo>
                      <a:cubicBezTo>
                        <a:pt x="7" y="34"/>
                        <a:pt x="5" y="26"/>
                        <a:pt x="4" y="23"/>
                      </a:cubicBezTo>
                      <a:cubicBezTo>
                        <a:pt x="3" y="21"/>
                        <a:pt x="0" y="17"/>
                        <a:pt x="1" y="17"/>
                      </a:cubicBezTo>
                      <a:cubicBezTo>
                        <a:pt x="2" y="18"/>
                        <a:pt x="6" y="19"/>
                        <a:pt x="7" y="19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0" name="Freeform 262"/>
                <p:cNvSpPr>
                  <a:spLocks/>
                </p:cNvSpPr>
                <p:nvPr/>
              </p:nvSpPr>
              <p:spPr bwMode="auto">
                <a:xfrm>
                  <a:off x="651" y="1603"/>
                  <a:ext cx="26" cy="22"/>
                </a:xfrm>
                <a:custGeom>
                  <a:avLst/>
                  <a:gdLst>
                    <a:gd name="T0" fmla="*/ 524288 w 13"/>
                    <a:gd name="T1" fmla="*/ 196608 h 11"/>
                    <a:gd name="T2" fmla="*/ 786432 w 13"/>
                    <a:gd name="T3" fmla="*/ 589824 h 11"/>
                    <a:gd name="T4" fmla="*/ 393216 w 13"/>
                    <a:gd name="T5" fmla="*/ 458752 h 11"/>
                    <a:gd name="T6" fmla="*/ 327680 w 13"/>
                    <a:gd name="T7" fmla="*/ 720896 h 11"/>
                    <a:gd name="T8" fmla="*/ 0 w 13"/>
                    <a:gd name="T9" fmla="*/ 131072 h 11"/>
                    <a:gd name="T10" fmla="*/ 262144 w 13"/>
                    <a:gd name="T11" fmla="*/ 0 h 11"/>
                    <a:gd name="T12" fmla="*/ 524288 w 13"/>
                    <a:gd name="T13" fmla="*/ 196608 h 1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11">
                      <a:moveTo>
                        <a:pt x="8" y="3"/>
                      </a:moveTo>
                      <a:cubicBezTo>
                        <a:pt x="9" y="4"/>
                        <a:pt x="13" y="8"/>
                        <a:pt x="12" y="9"/>
                      </a:cubicBezTo>
                      <a:cubicBezTo>
                        <a:pt x="12" y="10"/>
                        <a:pt x="7" y="7"/>
                        <a:pt x="6" y="7"/>
                      </a:cubicBezTo>
                      <a:cubicBezTo>
                        <a:pt x="6" y="7"/>
                        <a:pt x="6" y="11"/>
                        <a:pt x="5" y="11"/>
                      </a:cubicBezTo>
                      <a:cubicBezTo>
                        <a:pt x="3" y="10"/>
                        <a:pt x="0" y="2"/>
                        <a:pt x="0" y="2"/>
                      </a:cubicBezTo>
                      <a:cubicBezTo>
                        <a:pt x="1" y="1"/>
                        <a:pt x="3" y="0"/>
                        <a:pt x="4" y="0"/>
                      </a:cubicBezTo>
                      <a:cubicBezTo>
                        <a:pt x="5" y="1"/>
                        <a:pt x="7" y="2"/>
                        <a:pt x="8" y="3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1" name="Freeform 263"/>
                <p:cNvSpPr>
                  <a:spLocks/>
                </p:cNvSpPr>
                <p:nvPr/>
              </p:nvSpPr>
              <p:spPr bwMode="auto">
                <a:xfrm>
                  <a:off x="636" y="1577"/>
                  <a:ext cx="13" cy="22"/>
                </a:xfrm>
                <a:custGeom>
                  <a:avLst/>
                  <a:gdLst>
                    <a:gd name="T0" fmla="*/ 212734 w 6"/>
                    <a:gd name="T1" fmla="*/ 393216 h 11"/>
                    <a:gd name="T2" fmla="*/ 460924 w 6"/>
                    <a:gd name="T3" fmla="*/ 0 h 11"/>
                    <a:gd name="T4" fmla="*/ 1211368 w 6"/>
                    <a:gd name="T5" fmla="*/ 65536 h 11"/>
                    <a:gd name="T6" fmla="*/ 1211368 w 6"/>
                    <a:gd name="T7" fmla="*/ 589824 h 11"/>
                    <a:gd name="T8" fmla="*/ 212734 w 6"/>
                    <a:gd name="T9" fmla="*/ 720896 h 11"/>
                    <a:gd name="T10" fmla="*/ 212734 w 6"/>
                    <a:gd name="T11" fmla="*/ 393216 h 1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6" h="11">
                      <a:moveTo>
                        <a:pt x="1" y="6"/>
                      </a:moveTo>
                      <a:cubicBezTo>
                        <a:pt x="1" y="4"/>
                        <a:pt x="2" y="0"/>
                        <a:pt x="2" y="0"/>
                      </a:cubicBezTo>
                      <a:cubicBezTo>
                        <a:pt x="3" y="0"/>
                        <a:pt x="5" y="0"/>
                        <a:pt x="5" y="1"/>
                      </a:cubicBezTo>
                      <a:cubicBezTo>
                        <a:pt x="6" y="2"/>
                        <a:pt x="5" y="8"/>
                        <a:pt x="5" y="9"/>
                      </a:cubicBezTo>
                      <a:cubicBezTo>
                        <a:pt x="5" y="10"/>
                        <a:pt x="3" y="11"/>
                        <a:pt x="1" y="11"/>
                      </a:cubicBezTo>
                      <a:cubicBezTo>
                        <a:pt x="0" y="11"/>
                        <a:pt x="1" y="7"/>
                        <a:pt x="1" y="6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2" name="Freeform 264"/>
                <p:cNvSpPr>
                  <a:spLocks/>
                </p:cNvSpPr>
                <p:nvPr/>
              </p:nvSpPr>
              <p:spPr bwMode="auto">
                <a:xfrm>
                  <a:off x="628" y="1544"/>
                  <a:ext cx="17" cy="24"/>
                </a:xfrm>
                <a:custGeom>
                  <a:avLst/>
                  <a:gdLst>
                    <a:gd name="T0" fmla="*/ 1085123 w 8"/>
                    <a:gd name="T1" fmla="*/ 327680 h 12"/>
                    <a:gd name="T2" fmla="*/ 1229980 w 8"/>
                    <a:gd name="T3" fmla="*/ 589824 h 12"/>
                    <a:gd name="T4" fmla="*/ 340064 w 8"/>
                    <a:gd name="T5" fmla="*/ 786432 h 12"/>
                    <a:gd name="T6" fmla="*/ 340064 w 8"/>
                    <a:gd name="T7" fmla="*/ 458752 h 12"/>
                    <a:gd name="T8" fmla="*/ 160030 w 8"/>
                    <a:gd name="T9" fmla="*/ 0 h 12"/>
                    <a:gd name="T10" fmla="*/ 1085123 w 8"/>
                    <a:gd name="T11" fmla="*/ 32768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8" h="12">
                      <a:moveTo>
                        <a:pt x="6" y="5"/>
                      </a:moveTo>
                      <a:cubicBezTo>
                        <a:pt x="6" y="5"/>
                        <a:pt x="8" y="9"/>
                        <a:pt x="7" y="9"/>
                      </a:cubicBezTo>
                      <a:cubicBezTo>
                        <a:pt x="7" y="10"/>
                        <a:pt x="3" y="12"/>
                        <a:pt x="2" y="12"/>
                      </a:cubicBezTo>
                      <a:cubicBezTo>
                        <a:pt x="2" y="11"/>
                        <a:pt x="2" y="8"/>
                        <a:pt x="2" y="7"/>
                      </a:cubicBezTo>
                      <a:cubicBezTo>
                        <a:pt x="2" y="6"/>
                        <a:pt x="0" y="0"/>
                        <a:pt x="1" y="0"/>
                      </a:cubicBezTo>
                      <a:cubicBezTo>
                        <a:pt x="2" y="0"/>
                        <a:pt x="6" y="5"/>
                        <a:pt x="6" y="5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3" name="Freeform 265"/>
                <p:cNvSpPr>
                  <a:spLocks/>
                </p:cNvSpPr>
                <p:nvPr/>
              </p:nvSpPr>
              <p:spPr bwMode="auto">
                <a:xfrm>
                  <a:off x="600" y="1552"/>
                  <a:ext cx="26" cy="41"/>
                </a:xfrm>
                <a:custGeom>
                  <a:avLst/>
                  <a:gdLst>
                    <a:gd name="T0" fmla="*/ 524288 w 13"/>
                    <a:gd name="T1" fmla="*/ 859987 h 20"/>
                    <a:gd name="T2" fmla="*/ 196608 w 13"/>
                    <a:gd name="T3" fmla="*/ 765515 h 20"/>
                    <a:gd name="T4" fmla="*/ 0 w 13"/>
                    <a:gd name="T5" fmla="*/ 182157 h 20"/>
                    <a:gd name="T6" fmla="*/ 393216 w 13"/>
                    <a:gd name="T7" fmla="*/ 0 h 20"/>
                    <a:gd name="T8" fmla="*/ 589824 w 13"/>
                    <a:gd name="T9" fmla="*/ 0 h 20"/>
                    <a:gd name="T10" fmla="*/ 720896 w 13"/>
                    <a:gd name="T11" fmla="*/ 859987 h 20"/>
                    <a:gd name="T12" fmla="*/ 851968 w 13"/>
                    <a:gd name="T13" fmla="*/ 1762973 h 20"/>
                    <a:gd name="T14" fmla="*/ 851968 w 13"/>
                    <a:gd name="T15" fmla="*/ 1945081 h 20"/>
                    <a:gd name="T16" fmla="*/ 524288 w 13"/>
                    <a:gd name="T17" fmla="*/ 1279413 h 20"/>
                    <a:gd name="T18" fmla="*/ 524288 w 13"/>
                    <a:gd name="T19" fmla="*/ 859987 h 2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3" h="20">
                      <a:moveTo>
                        <a:pt x="8" y="9"/>
                      </a:moveTo>
                      <a:cubicBezTo>
                        <a:pt x="7" y="9"/>
                        <a:pt x="3" y="9"/>
                        <a:pt x="3" y="8"/>
                      </a:cubicBezTo>
                      <a:cubicBezTo>
                        <a:pt x="3" y="6"/>
                        <a:pt x="0" y="2"/>
                        <a:pt x="0" y="2"/>
                      </a:cubicBezTo>
                      <a:cubicBezTo>
                        <a:pt x="0" y="1"/>
                        <a:pt x="5" y="0"/>
                        <a:pt x="6" y="0"/>
                      </a:cubicBezTo>
                      <a:cubicBezTo>
                        <a:pt x="7" y="0"/>
                        <a:pt x="9" y="0"/>
                        <a:pt x="9" y="0"/>
                      </a:cubicBezTo>
                      <a:cubicBezTo>
                        <a:pt x="9" y="1"/>
                        <a:pt x="11" y="8"/>
                        <a:pt x="11" y="9"/>
                      </a:cubicBezTo>
                      <a:cubicBezTo>
                        <a:pt x="11" y="10"/>
                        <a:pt x="13" y="18"/>
                        <a:pt x="13" y="18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2" y="20"/>
                        <a:pt x="8" y="14"/>
                        <a:pt x="8" y="13"/>
                      </a:cubicBezTo>
                      <a:cubicBezTo>
                        <a:pt x="7" y="12"/>
                        <a:pt x="9" y="10"/>
                        <a:pt x="8" y="9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4" name="Freeform 266"/>
                <p:cNvSpPr>
                  <a:spLocks/>
                </p:cNvSpPr>
                <p:nvPr/>
              </p:nvSpPr>
              <p:spPr bwMode="auto">
                <a:xfrm>
                  <a:off x="323" y="1534"/>
                  <a:ext cx="48" cy="47"/>
                </a:xfrm>
                <a:custGeom>
                  <a:avLst/>
                  <a:gdLst>
                    <a:gd name="T0" fmla="*/ 196608 w 24"/>
                    <a:gd name="T1" fmla="*/ 1951704 h 23"/>
                    <a:gd name="T2" fmla="*/ 196608 w 24"/>
                    <a:gd name="T3" fmla="*/ 1590513 h 23"/>
                    <a:gd name="T4" fmla="*/ 65536 w 24"/>
                    <a:gd name="T5" fmla="*/ 1214194 h 23"/>
                    <a:gd name="T6" fmla="*/ 786432 w 24"/>
                    <a:gd name="T7" fmla="*/ 445491 h 23"/>
                    <a:gd name="T8" fmla="*/ 1245184 w 24"/>
                    <a:gd name="T9" fmla="*/ 0 h 23"/>
                    <a:gd name="T10" fmla="*/ 1507328 w 24"/>
                    <a:gd name="T11" fmla="*/ 270346 h 23"/>
                    <a:gd name="T12" fmla="*/ 1245184 w 24"/>
                    <a:gd name="T13" fmla="*/ 552446 h 23"/>
                    <a:gd name="T14" fmla="*/ 1310720 w 24"/>
                    <a:gd name="T15" fmla="*/ 1128911 h 23"/>
                    <a:gd name="T16" fmla="*/ 655360 w 24"/>
                    <a:gd name="T17" fmla="*/ 1590513 h 23"/>
                    <a:gd name="T18" fmla="*/ 196608 w 24"/>
                    <a:gd name="T19" fmla="*/ 1951704 h 23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24" h="23">
                      <a:moveTo>
                        <a:pt x="3" y="21"/>
                      </a:moveTo>
                      <a:cubicBezTo>
                        <a:pt x="1" y="20"/>
                        <a:pt x="3" y="17"/>
                        <a:pt x="3" y="17"/>
                      </a:cubicBezTo>
                      <a:cubicBezTo>
                        <a:pt x="3" y="17"/>
                        <a:pt x="0" y="14"/>
                        <a:pt x="1" y="13"/>
                      </a:cubicBezTo>
                      <a:cubicBezTo>
                        <a:pt x="3" y="12"/>
                        <a:pt x="10" y="8"/>
                        <a:pt x="12" y="5"/>
                      </a:cubicBezTo>
                      <a:cubicBezTo>
                        <a:pt x="14" y="3"/>
                        <a:pt x="19" y="0"/>
                        <a:pt x="19" y="0"/>
                      </a:cubicBezTo>
                      <a:cubicBezTo>
                        <a:pt x="19" y="0"/>
                        <a:pt x="23" y="1"/>
                        <a:pt x="23" y="3"/>
                      </a:cubicBezTo>
                      <a:cubicBezTo>
                        <a:pt x="24" y="6"/>
                        <a:pt x="19" y="3"/>
                        <a:pt x="19" y="6"/>
                      </a:cubicBezTo>
                      <a:cubicBezTo>
                        <a:pt x="19" y="9"/>
                        <a:pt x="22" y="11"/>
                        <a:pt x="20" y="12"/>
                      </a:cubicBezTo>
                      <a:cubicBezTo>
                        <a:pt x="18" y="13"/>
                        <a:pt x="13" y="15"/>
                        <a:pt x="10" y="17"/>
                      </a:cubicBezTo>
                      <a:cubicBezTo>
                        <a:pt x="7" y="19"/>
                        <a:pt x="5" y="23"/>
                        <a:pt x="3" y="21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5" name="Freeform 267"/>
                <p:cNvSpPr>
                  <a:spLocks/>
                </p:cNvSpPr>
                <p:nvPr/>
              </p:nvSpPr>
              <p:spPr bwMode="auto">
                <a:xfrm>
                  <a:off x="116" y="1208"/>
                  <a:ext cx="512" cy="425"/>
                </a:xfrm>
                <a:custGeom>
                  <a:avLst/>
                  <a:gdLst>
                    <a:gd name="T0" fmla="*/ 2778798 w 253"/>
                    <a:gd name="T1" fmla="*/ 5234181 h 210"/>
                    <a:gd name="T2" fmla="*/ 3867804 w 253"/>
                    <a:gd name="T3" fmla="*/ 5160771 h 210"/>
                    <a:gd name="T4" fmla="*/ 2548214 w 253"/>
                    <a:gd name="T5" fmla="*/ 4274008 h 210"/>
                    <a:gd name="T6" fmla="*/ 1259176 w 253"/>
                    <a:gd name="T7" fmla="*/ 2779852 h 210"/>
                    <a:gd name="T8" fmla="*/ 3553104 w 253"/>
                    <a:gd name="T9" fmla="*/ 1260014 h 210"/>
                    <a:gd name="T10" fmla="*/ 5950450 w 253"/>
                    <a:gd name="T11" fmla="*/ 699313 h 210"/>
                    <a:gd name="T12" fmla="*/ 8638646 w 253"/>
                    <a:gd name="T13" fmla="*/ 467233 h 210"/>
                    <a:gd name="T14" fmla="*/ 10044212 w 253"/>
                    <a:gd name="T15" fmla="*/ 1100952 h 210"/>
                    <a:gd name="T16" fmla="*/ 15047951 w 253"/>
                    <a:gd name="T17" fmla="*/ 1415276 h 210"/>
                    <a:gd name="T18" fmla="*/ 17003860 w 253"/>
                    <a:gd name="T19" fmla="*/ 10845209 h 210"/>
                    <a:gd name="T20" fmla="*/ 18381836 w 253"/>
                    <a:gd name="T21" fmla="*/ 11896586 h 210"/>
                    <a:gd name="T22" fmla="*/ 19782794 w 253"/>
                    <a:gd name="T23" fmla="*/ 11467643 h 210"/>
                    <a:gd name="T24" fmla="*/ 19860079 w 253"/>
                    <a:gd name="T25" fmla="*/ 12916728 h 210"/>
                    <a:gd name="T26" fmla="*/ 18915217 w 253"/>
                    <a:gd name="T27" fmla="*/ 12993491 h 210"/>
                    <a:gd name="T28" fmla="*/ 17330249 w 253"/>
                    <a:gd name="T29" fmla="*/ 11971137 h 210"/>
                    <a:gd name="T30" fmla="*/ 16003778 w 253"/>
                    <a:gd name="T31" fmla="*/ 11542549 h 210"/>
                    <a:gd name="T32" fmla="*/ 13606440 w 253"/>
                    <a:gd name="T33" fmla="*/ 11237202 h 210"/>
                    <a:gd name="T34" fmla="*/ 13214534 w 253"/>
                    <a:gd name="T35" fmla="*/ 10845209 h 210"/>
                    <a:gd name="T36" fmla="*/ 12269018 w 253"/>
                    <a:gd name="T37" fmla="*/ 11237202 h 210"/>
                    <a:gd name="T38" fmla="*/ 10205265 w 253"/>
                    <a:gd name="T39" fmla="*/ 12279300 h 210"/>
                    <a:gd name="T40" fmla="*/ 9968992 w 253"/>
                    <a:gd name="T41" fmla="*/ 11731405 h 210"/>
                    <a:gd name="T42" fmla="*/ 10988777 w 253"/>
                    <a:gd name="T43" fmla="*/ 10693200 h 210"/>
                    <a:gd name="T44" fmla="*/ 10287448 w 253"/>
                    <a:gd name="T45" fmla="*/ 10366691 h 210"/>
                    <a:gd name="T46" fmla="*/ 8793887 w 253"/>
                    <a:gd name="T47" fmla="*/ 11818052 h 210"/>
                    <a:gd name="T48" fmla="*/ 7827335 w 253"/>
                    <a:gd name="T49" fmla="*/ 13464008 h 210"/>
                    <a:gd name="T50" fmla="*/ 6723495 w 253"/>
                    <a:gd name="T51" fmla="*/ 14258422 h 210"/>
                    <a:gd name="T52" fmla="*/ 5623496 w 253"/>
                    <a:gd name="T53" fmla="*/ 15144644 h 210"/>
                    <a:gd name="T54" fmla="*/ 3476217 w 253"/>
                    <a:gd name="T55" fmla="*/ 15862872 h 210"/>
                    <a:gd name="T56" fmla="*/ 2377918 w 253"/>
                    <a:gd name="T57" fmla="*/ 16546462 h 210"/>
                    <a:gd name="T58" fmla="*/ 2452545 w 253"/>
                    <a:gd name="T59" fmla="*/ 15862872 h 210"/>
                    <a:gd name="T60" fmla="*/ 3867804 w 253"/>
                    <a:gd name="T61" fmla="*/ 15069535 h 210"/>
                    <a:gd name="T62" fmla="*/ 5700351 w 253"/>
                    <a:gd name="T63" fmla="*/ 14167381 h 210"/>
                    <a:gd name="T64" fmla="*/ 6647733 w 253"/>
                    <a:gd name="T65" fmla="*/ 12449511 h 210"/>
                    <a:gd name="T66" fmla="*/ 5793624 w 253"/>
                    <a:gd name="T67" fmla="*/ 12449511 h 210"/>
                    <a:gd name="T68" fmla="*/ 4660301 w 253"/>
                    <a:gd name="T69" fmla="*/ 12449511 h 210"/>
                    <a:gd name="T70" fmla="*/ 3867804 w 253"/>
                    <a:gd name="T71" fmla="*/ 11896586 h 210"/>
                    <a:gd name="T72" fmla="*/ 2070552 w 253"/>
                    <a:gd name="T73" fmla="*/ 11237202 h 210"/>
                    <a:gd name="T74" fmla="*/ 1911239 w 253"/>
                    <a:gd name="T75" fmla="*/ 9050561 h 210"/>
                    <a:gd name="T76" fmla="*/ 3397703 w 253"/>
                    <a:gd name="T77" fmla="*/ 8138790 h 210"/>
                    <a:gd name="T78" fmla="*/ 4096755 w 253"/>
                    <a:gd name="T79" fmla="*/ 7446123 h 210"/>
                    <a:gd name="T80" fmla="*/ 3245645 w 253"/>
                    <a:gd name="T81" fmla="*/ 7346044 h 210"/>
                    <a:gd name="T82" fmla="*/ 1100559 w 253"/>
                    <a:gd name="T83" fmla="*/ 7119889 h 21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0" t="0" r="r" b="b"/>
                  <a:pathLst>
                    <a:path w="253" h="210">
                      <a:moveTo>
                        <a:pt x="0" y="77"/>
                      </a:moveTo>
                      <a:cubicBezTo>
                        <a:pt x="0" y="75"/>
                        <a:pt x="22" y="67"/>
                        <a:pt x="25" y="66"/>
                      </a:cubicBezTo>
                      <a:cubicBezTo>
                        <a:pt x="27" y="65"/>
                        <a:pt x="36" y="65"/>
                        <a:pt x="35" y="66"/>
                      </a:cubicBezTo>
                      <a:cubicBezTo>
                        <a:pt x="34" y="67"/>
                        <a:pt x="33" y="71"/>
                        <a:pt x="34" y="71"/>
                      </a:cubicBezTo>
                      <a:cubicBezTo>
                        <a:pt x="36" y="72"/>
                        <a:pt x="48" y="72"/>
                        <a:pt x="49" y="71"/>
                      </a:cubicBezTo>
                      <a:cubicBezTo>
                        <a:pt x="50" y="71"/>
                        <a:pt x="50" y="66"/>
                        <a:pt x="49" y="65"/>
                      </a:cubicBezTo>
                      <a:cubicBezTo>
                        <a:pt x="48" y="64"/>
                        <a:pt x="49" y="61"/>
                        <a:pt x="47" y="61"/>
                      </a:cubicBezTo>
                      <a:cubicBezTo>
                        <a:pt x="45" y="61"/>
                        <a:pt x="34" y="60"/>
                        <a:pt x="34" y="59"/>
                      </a:cubicBezTo>
                      <a:cubicBezTo>
                        <a:pt x="34" y="58"/>
                        <a:pt x="32" y="55"/>
                        <a:pt x="32" y="54"/>
                      </a:cubicBezTo>
                      <a:cubicBezTo>
                        <a:pt x="31" y="52"/>
                        <a:pt x="24" y="49"/>
                        <a:pt x="22" y="47"/>
                      </a:cubicBezTo>
                      <a:cubicBezTo>
                        <a:pt x="19" y="45"/>
                        <a:pt x="11" y="44"/>
                        <a:pt x="12" y="42"/>
                      </a:cubicBezTo>
                      <a:cubicBezTo>
                        <a:pt x="13" y="40"/>
                        <a:pt x="14" y="34"/>
                        <a:pt x="16" y="35"/>
                      </a:cubicBezTo>
                      <a:cubicBezTo>
                        <a:pt x="17" y="36"/>
                        <a:pt x="32" y="35"/>
                        <a:pt x="35" y="33"/>
                      </a:cubicBezTo>
                      <a:cubicBezTo>
                        <a:pt x="38" y="31"/>
                        <a:pt x="38" y="25"/>
                        <a:pt x="39" y="23"/>
                      </a:cubicBezTo>
                      <a:cubicBezTo>
                        <a:pt x="39" y="21"/>
                        <a:pt x="43" y="17"/>
                        <a:pt x="45" y="16"/>
                      </a:cubicBezTo>
                      <a:cubicBezTo>
                        <a:pt x="47" y="15"/>
                        <a:pt x="55" y="15"/>
                        <a:pt x="57" y="15"/>
                      </a:cubicBezTo>
                      <a:cubicBezTo>
                        <a:pt x="60" y="14"/>
                        <a:pt x="65" y="8"/>
                        <a:pt x="68" y="8"/>
                      </a:cubicBezTo>
                      <a:cubicBezTo>
                        <a:pt x="71" y="7"/>
                        <a:pt x="68" y="9"/>
                        <a:pt x="75" y="9"/>
                      </a:cubicBezTo>
                      <a:cubicBezTo>
                        <a:pt x="82" y="9"/>
                        <a:pt x="86" y="0"/>
                        <a:pt x="88" y="1"/>
                      </a:cubicBezTo>
                      <a:cubicBezTo>
                        <a:pt x="90" y="1"/>
                        <a:pt x="92" y="2"/>
                        <a:pt x="94" y="3"/>
                      </a:cubicBezTo>
                      <a:cubicBezTo>
                        <a:pt x="97" y="3"/>
                        <a:pt x="105" y="6"/>
                        <a:pt x="109" y="6"/>
                      </a:cubicBezTo>
                      <a:cubicBezTo>
                        <a:pt x="112" y="6"/>
                        <a:pt x="117" y="6"/>
                        <a:pt x="120" y="7"/>
                      </a:cubicBezTo>
                      <a:cubicBezTo>
                        <a:pt x="123" y="7"/>
                        <a:pt x="119" y="10"/>
                        <a:pt x="120" y="12"/>
                      </a:cubicBezTo>
                      <a:cubicBezTo>
                        <a:pt x="122" y="13"/>
                        <a:pt x="122" y="12"/>
                        <a:pt x="127" y="14"/>
                      </a:cubicBezTo>
                      <a:cubicBezTo>
                        <a:pt x="132" y="15"/>
                        <a:pt x="141" y="13"/>
                        <a:pt x="144" y="13"/>
                      </a:cubicBezTo>
                      <a:cubicBezTo>
                        <a:pt x="148" y="13"/>
                        <a:pt x="155" y="16"/>
                        <a:pt x="165" y="17"/>
                      </a:cubicBezTo>
                      <a:cubicBezTo>
                        <a:pt x="175" y="19"/>
                        <a:pt x="186" y="18"/>
                        <a:pt x="190" y="18"/>
                      </a:cubicBezTo>
                      <a:cubicBezTo>
                        <a:pt x="192" y="18"/>
                        <a:pt x="201" y="21"/>
                        <a:pt x="207" y="23"/>
                      </a:cubicBezTo>
                      <a:cubicBezTo>
                        <a:pt x="208" y="135"/>
                        <a:pt x="208" y="135"/>
                        <a:pt x="208" y="135"/>
                      </a:cubicBezTo>
                      <a:cubicBezTo>
                        <a:pt x="208" y="135"/>
                        <a:pt x="214" y="137"/>
                        <a:pt x="215" y="137"/>
                      </a:cubicBezTo>
                      <a:cubicBezTo>
                        <a:pt x="216" y="138"/>
                        <a:pt x="223" y="136"/>
                        <a:pt x="225" y="137"/>
                      </a:cubicBezTo>
                      <a:cubicBezTo>
                        <a:pt x="226" y="138"/>
                        <a:pt x="224" y="142"/>
                        <a:pt x="224" y="143"/>
                      </a:cubicBezTo>
                      <a:cubicBezTo>
                        <a:pt x="224" y="143"/>
                        <a:pt x="231" y="149"/>
                        <a:pt x="232" y="150"/>
                      </a:cubicBezTo>
                      <a:cubicBezTo>
                        <a:pt x="233" y="150"/>
                        <a:pt x="236" y="153"/>
                        <a:pt x="236" y="154"/>
                      </a:cubicBezTo>
                      <a:cubicBezTo>
                        <a:pt x="236" y="154"/>
                        <a:pt x="243" y="146"/>
                        <a:pt x="244" y="146"/>
                      </a:cubicBezTo>
                      <a:cubicBezTo>
                        <a:pt x="245" y="146"/>
                        <a:pt x="248" y="144"/>
                        <a:pt x="250" y="145"/>
                      </a:cubicBezTo>
                      <a:cubicBezTo>
                        <a:pt x="252" y="145"/>
                        <a:pt x="252" y="152"/>
                        <a:pt x="252" y="152"/>
                      </a:cubicBezTo>
                      <a:cubicBezTo>
                        <a:pt x="251" y="151"/>
                        <a:pt x="251" y="151"/>
                        <a:pt x="250" y="152"/>
                      </a:cubicBezTo>
                      <a:cubicBezTo>
                        <a:pt x="249" y="153"/>
                        <a:pt x="253" y="163"/>
                        <a:pt x="251" y="163"/>
                      </a:cubicBezTo>
                      <a:cubicBezTo>
                        <a:pt x="250" y="164"/>
                        <a:pt x="245" y="156"/>
                        <a:pt x="243" y="157"/>
                      </a:cubicBezTo>
                      <a:cubicBezTo>
                        <a:pt x="239" y="158"/>
                        <a:pt x="245" y="163"/>
                        <a:pt x="245" y="164"/>
                      </a:cubicBezTo>
                      <a:cubicBezTo>
                        <a:pt x="245" y="165"/>
                        <a:pt x="241" y="164"/>
                        <a:pt x="239" y="164"/>
                      </a:cubicBezTo>
                      <a:cubicBezTo>
                        <a:pt x="238" y="164"/>
                        <a:pt x="237" y="163"/>
                        <a:pt x="235" y="161"/>
                      </a:cubicBezTo>
                      <a:cubicBezTo>
                        <a:pt x="234" y="160"/>
                        <a:pt x="229" y="157"/>
                        <a:pt x="227" y="155"/>
                      </a:cubicBezTo>
                      <a:cubicBezTo>
                        <a:pt x="225" y="153"/>
                        <a:pt x="221" y="152"/>
                        <a:pt x="219" y="151"/>
                      </a:cubicBezTo>
                      <a:cubicBezTo>
                        <a:pt x="217" y="150"/>
                        <a:pt x="221" y="147"/>
                        <a:pt x="219" y="146"/>
                      </a:cubicBezTo>
                      <a:cubicBezTo>
                        <a:pt x="217" y="144"/>
                        <a:pt x="213" y="148"/>
                        <a:pt x="212" y="148"/>
                      </a:cubicBezTo>
                      <a:cubicBezTo>
                        <a:pt x="211" y="148"/>
                        <a:pt x="207" y="148"/>
                        <a:pt x="202" y="146"/>
                      </a:cubicBezTo>
                      <a:cubicBezTo>
                        <a:pt x="197" y="143"/>
                        <a:pt x="189" y="145"/>
                        <a:pt x="187" y="145"/>
                      </a:cubicBezTo>
                      <a:cubicBezTo>
                        <a:pt x="184" y="145"/>
                        <a:pt x="182" y="144"/>
                        <a:pt x="180" y="143"/>
                      </a:cubicBezTo>
                      <a:cubicBezTo>
                        <a:pt x="179" y="142"/>
                        <a:pt x="174" y="142"/>
                        <a:pt x="172" y="142"/>
                      </a:cubicBezTo>
                      <a:cubicBezTo>
                        <a:pt x="170" y="142"/>
                        <a:pt x="167" y="144"/>
                        <a:pt x="166" y="144"/>
                      </a:cubicBezTo>
                      <a:cubicBezTo>
                        <a:pt x="166" y="144"/>
                        <a:pt x="165" y="144"/>
                        <a:pt x="164" y="142"/>
                      </a:cubicBezTo>
                      <a:cubicBezTo>
                        <a:pt x="163" y="140"/>
                        <a:pt x="168" y="138"/>
                        <a:pt x="167" y="137"/>
                      </a:cubicBezTo>
                      <a:cubicBezTo>
                        <a:pt x="167" y="135"/>
                        <a:pt x="163" y="134"/>
                        <a:pt x="162" y="134"/>
                      </a:cubicBezTo>
                      <a:cubicBezTo>
                        <a:pt x="161" y="133"/>
                        <a:pt x="155" y="134"/>
                        <a:pt x="153" y="135"/>
                      </a:cubicBezTo>
                      <a:cubicBezTo>
                        <a:pt x="152" y="136"/>
                        <a:pt x="155" y="140"/>
                        <a:pt x="155" y="142"/>
                      </a:cubicBezTo>
                      <a:cubicBezTo>
                        <a:pt x="155" y="145"/>
                        <a:pt x="151" y="146"/>
                        <a:pt x="148" y="146"/>
                      </a:cubicBezTo>
                      <a:cubicBezTo>
                        <a:pt x="146" y="146"/>
                        <a:pt x="141" y="148"/>
                        <a:pt x="139" y="149"/>
                      </a:cubicBezTo>
                      <a:cubicBezTo>
                        <a:pt x="137" y="149"/>
                        <a:pt x="131" y="154"/>
                        <a:pt x="129" y="155"/>
                      </a:cubicBezTo>
                      <a:cubicBezTo>
                        <a:pt x="126" y="155"/>
                        <a:pt x="125" y="156"/>
                        <a:pt x="124" y="155"/>
                      </a:cubicBezTo>
                      <a:cubicBezTo>
                        <a:pt x="122" y="155"/>
                        <a:pt x="127" y="151"/>
                        <a:pt x="127" y="150"/>
                      </a:cubicBezTo>
                      <a:cubicBezTo>
                        <a:pt x="127" y="150"/>
                        <a:pt x="126" y="149"/>
                        <a:pt x="126" y="148"/>
                      </a:cubicBezTo>
                      <a:cubicBezTo>
                        <a:pt x="125" y="147"/>
                        <a:pt x="128" y="139"/>
                        <a:pt x="130" y="138"/>
                      </a:cubicBezTo>
                      <a:cubicBezTo>
                        <a:pt x="131" y="138"/>
                        <a:pt x="132" y="137"/>
                        <a:pt x="134" y="136"/>
                      </a:cubicBezTo>
                      <a:cubicBezTo>
                        <a:pt x="135" y="135"/>
                        <a:pt x="138" y="135"/>
                        <a:pt x="139" y="135"/>
                      </a:cubicBezTo>
                      <a:cubicBezTo>
                        <a:pt x="140" y="135"/>
                        <a:pt x="142" y="134"/>
                        <a:pt x="141" y="133"/>
                      </a:cubicBezTo>
                      <a:cubicBezTo>
                        <a:pt x="140" y="132"/>
                        <a:pt x="139" y="129"/>
                        <a:pt x="137" y="129"/>
                      </a:cubicBezTo>
                      <a:cubicBezTo>
                        <a:pt x="135" y="129"/>
                        <a:pt x="132" y="130"/>
                        <a:pt x="130" y="131"/>
                      </a:cubicBezTo>
                      <a:cubicBezTo>
                        <a:pt x="128" y="132"/>
                        <a:pt x="124" y="136"/>
                        <a:pt x="123" y="137"/>
                      </a:cubicBezTo>
                      <a:cubicBezTo>
                        <a:pt x="122" y="138"/>
                        <a:pt x="119" y="145"/>
                        <a:pt x="117" y="146"/>
                      </a:cubicBezTo>
                      <a:cubicBezTo>
                        <a:pt x="116" y="147"/>
                        <a:pt x="113" y="148"/>
                        <a:pt x="111" y="149"/>
                      </a:cubicBezTo>
                      <a:cubicBezTo>
                        <a:pt x="108" y="150"/>
                        <a:pt x="107" y="154"/>
                        <a:pt x="106" y="155"/>
                      </a:cubicBezTo>
                      <a:cubicBezTo>
                        <a:pt x="106" y="156"/>
                        <a:pt x="115" y="154"/>
                        <a:pt x="114" y="159"/>
                      </a:cubicBezTo>
                      <a:cubicBezTo>
                        <a:pt x="113" y="160"/>
                        <a:pt x="101" y="170"/>
                        <a:pt x="99" y="170"/>
                      </a:cubicBezTo>
                      <a:cubicBezTo>
                        <a:pt x="97" y="171"/>
                        <a:pt x="94" y="172"/>
                        <a:pt x="92" y="172"/>
                      </a:cubicBezTo>
                      <a:cubicBezTo>
                        <a:pt x="90" y="173"/>
                        <a:pt x="92" y="175"/>
                        <a:pt x="91" y="176"/>
                      </a:cubicBezTo>
                      <a:cubicBezTo>
                        <a:pt x="90" y="177"/>
                        <a:pt x="87" y="180"/>
                        <a:pt x="85" y="180"/>
                      </a:cubicBezTo>
                      <a:cubicBezTo>
                        <a:pt x="84" y="181"/>
                        <a:pt x="78" y="183"/>
                        <a:pt x="77" y="183"/>
                      </a:cubicBezTo>
                      <a:cubicBezTo>
                        <a:pt x="75" y="184"/>
                        <a:pt x="78" y="187"/>
                        <a:pt x="77" y="188"/>
                      </a:cubicBezTo>
                      <a:cubicBezTo>
                        <a:pt x="76" y="189"/>
                        <a:pt x="72" y="191"/>
                        <a:pt x="71" y="191"/>
                      </a:cubicBezTo>
                      <a:cubicBezTo>
                        <a:pt x="69" y="191"/>
                        <a:pt x="63" y="194"/>
                        <a:pt x="62" y="195"/>
                      </a:cubicBezTo>
                      <a:cubicBezTo>
                        <a:pt x="60" y="196"/>
                        <a:pt x="54" y="197"/>
                        <a:pt x="52" y="197"/>
                      </a:cubicBezTo>
                      <a:cubicBezTo>
                        <a:pt x="50" y="197"/>
                        <a:pt x="45" y="200"/>
                        <a:pt x="44" y="200"/>
                      </a:cubicBezTo>
                      <a:cubicBezTo>
                        <a:pt x="43" y="200"/>
                        <a:pt x="40" y="203"/>
                        <a:pt x="39" y="204"/>
                      </a:cubicBezTo>
                      <a:cubicBezTo>
                        <a:pt x="37" y="205"/>
                        <a:pt x="33" y="205"/>
                        <a:pt x="32" y="205"/>
                      </a:cubicBezTo>
                      <a:cubicBezTo>
                        <a:pt x="31" y="205"/>
                        <a:pt x="31" y="208"/>
                        <a:pt x="30" y="209"/>
                      </a:cubicBezTo>
                      <a:cubicBezTo>
                        <a:pt x="28" y="210"/>
                        <a:pt x="25" y="208"/>
                        <a:pt x="23" y="208"/>
                      </a:cubicBezTo>
                      <a:cubicBezTo>
                        <a:pt x="22" y="207"/>
                        <a:pt x="23" y="204"/>
                        <a:pt x="25" y="203"/>
                      </a:cubicBezTo>
                      <a:cubicBezTo>
                        <a:pt x="26" y="203"/>
                        <a:pt x="29" y="200"/>
                        <a:pt x="31" y="200"/>
                      </a:cubicBezTo>
                      <a:cubicBezTo>
                        <a:pt x="32" y="200"/>
                        <a:pt x="35" y="199"/>
                        <a:pt x="36" y="199"/>
                      </a:cubicBezTo>
                      <a:cubicBezTo>
                        <a:pt x="37" y="199"/>
                        <a:pt x="39" y="197"/>
                        <a:pt x="41" y="196"/>
                      </a:cubicBezTo>
                      <a:cubicBezTo>
                        <a:pt x="43" y="195"/>
                        <a:pt x="45" y="192"/>
                        <a:pt x="49" y="190"/>
                      </a:cubicBezTo>
                      <a:cubicBezTo>
                        <a:pt x="52" y="188"/>
                        <a:pt x="56" y="190"/>
                        <a:pt x="58" y="190"/>
                      </a:cubicBezTo>
                      <a:cubicBezTo>
                        <a:pt x="60" y="190"/>
                        <a:pt x="60" y="186"/>
                        <a:pt x="61" y="185"/>
                      </a:cubicBezTo>
                      <a:cubicBezTo>
                        <a:pt x="61" y="184"/>
                        <a:pt x="70" y="180"/>
                        <a:pt x="72" y="179"/>
                      </a:cubicBezTo>
                      <a:cubicBezTo>
                        <a:pt x="73" y="179"/>
                        <a:pt x="78" y="174"/>
                        <a:pt x="79" y="172"/>
                      </a:cubicBezTo>
                      <a:cubicBezTo>
                        <a:pt x="81" y="170"/>
                        <a:pt x="81" y="167"/>
                        <a:pt x="82" y="165"/>
                      </a:cubicBezTo>
                      <a:cubicBezTo>
                        <a:pt x="82" y="163"/>
                        <a:pt x="86" y="158"/>
                        <a:pt x="84" y="157"/>
                      </a:cubicBezTo>
                      <a:cubicBezTo>
                        <a:pt x="83" y="157"/>
                        <a:pt x="79" y="160"/>
                        <a:pt x="78" y="160"/>
                      </a:cubicBezTo>
                      <a:cubicBezTo>
                        <a:pt x="77" y="161"/>
                        <a:pt x="76" y="159"/>
                        <a:pt x="76" y="158"/>
                      </a:cubicBezTo>
                      <a:cubicBezTo>
                        <a:pt x="76" y="157"/>
                        <a:pt x="74" y="157"/>
                        <a:pt x="73" y="157"/>
                      </a:cubicBezTo>
                      <a:cubicBezTo>
                        <a:pt x="71" y="158"/>
                        <a:pt x="72" y="163"/>
                        <a:pt x="71" y="164"/>
                      </a:cubicBezTo>
                      <a:cubicBezTo>
                        <a:pt x="69" y="164"/>
                        <a:pt x="66" y="159"/>
                        <a:pt x="65" y="158"/>
                      </a:cubicBezTo>
                      <a:cubicBezTo>
                        <a:pt x="64" y="157"/>
                        <a:pt x="60" y="156"/>
                        <a:pt x="59" y="157"/>
                      </a:cubicBezTo>
                      <a:cubicBezTo>
                        <a:pt x="57" y="157"/>
                        <a:pt x="49" y="162"/>
                        <a:pt x="48" y="160"/>
                      </a:cubicBezTo>
                      <a:cubicBezTo>
                        <a:pt x="48" y="158"/>
                        <a:pt x="47" y="156"/>
                        <a:pt x="47" y="155"/>
                      </a:cubicBezTo>
                      <a:cubicBezTo>
                        <a:pt x="46" y="154"/>
                        <a:pt x="50" y="151"/>
                        <a:pt x="49" y="150"/>
                      </a:cubicBezTo>
                      <a:cubicBezTo>
                        <a:pt x="48" y="149"/>
                        <a:pt x="46" y="145"/>
                        <a:pt x="44" y="145"/>
                      </a:cubicBezTo>
                      <a:cubicBezTo>
                        <a:pt x="43" y="145"/>
                        <a:pt x="35" y="148"/>
                        <a:pt x="33" y="148"/>
                      </a:cubicBezTo>
                      <a:cubicBezTo>
                        <a:pt x="30" y="148"/>
                        <a:pt x="28" y="145"/>
                        <a:pt x="26" y="142"/>
                      </a:cubicBezTo>
                      <a:cubicBezTo>
                        <a:pt x="23" y="140"/>
                        <a:pt x="23" y="138"/>
                        <a:pt x="23" y="136"/>
                      </a:cubicBezTo>
                      <a:cubicBezTo>
                        <a:pt x="23" y="133"/>
                        <a:pt x="16" y="128"/>
                        <a:pt x="16" y="125"/>
                      </a:cubicBezTo>
                      <a:cubicBezTo>
                        <a:pt x="16" y="121"/>
                        <a:pt x="23" y="115"/>
                        <a:pt x="24" y="114"/>
                      </a:cubicBezTo>
                      <a:cubicBezTo>
                        <a:pt x="26" y="113"/>
                        <a:pt x="23" y="109"/>
                        <a:pt x="28" y="107"/>
                      </a:cubicBezTo>
                      <a:cubicBezTo>
                        <a:pt x="34" y="105"/>
                        <a:pt x="35" y="110"/>
                        <a:pt x="37" y="110"/>
                      </a:cubicBezTo>
                      <a:cubicBezTo>
                        <a:pt x="40" y="111"/>
                        <a:pt x="42" y="103"/>
                        <a:pt x="43" y="103"/>
                      </a:cubicBezTo>
                      <a:cubicBezTo>
                        <a:pt x="44" y="103"/>
                        <a:pt x="46" y="103"/>
                        <a:pt x="49" y="104"/>
                      </a:cubicBezTo>
                      <a:cubicBezTo>
                        <a:pt x="51" y="105"/>
                        <a:pt x="56" y="101"/>
                        <a:pt x="57" y="99"/>
                      </a:cubicBezTo>
                      <a:cubicBezTo>
                        <a:pt x="58" y="97"/>
                        <a:pt x="50" y="94"/>
                        <a:pt x="52" y="94"/>
                      </a:cubicBezTo>
                      <a:cubicBezTo>
                        <a:pt x="54" y="93"/>
                        <a:pt x="56" y="88"/>
                        <a:pt x="55" y="87"/>
                      </a:cubicBezTo>
                      <a:cubicBezTo>
                        <a:pt x="55" y="86"/>
                        <a:pt x="49" y="87"/>
                        <a:pt x="47" y="88"/>
                      </a:cubicBezTo>
                      <a:cubicBezTo>
                        <a:pt x="46" y="88"/>
                        <a:pt x="43" y="93"/>
                        <a:pt x="41" y="93"/>
                      </a:cubicBezTo>
                      <a:cubicBezTo>
                        <a:pt x="39" y="93"/>
                        <a:pt x="39" y="92"/>
                        <a:pt x="38" y="91"/>
                      </a:cubicBezTo>
                      <a:cubicBezTo>
                        <a:pt x="36" y="89"/>
                        <a:pt x="30" y="92"/>
                        <a:pt x="27" y="92"/>
                      </a:cubicBezTo>
                      <a:cubicBezTo>
                        <a:pt x="23" y="93"/>
                        <a:pt x="17" y="91"/>
                        <a:pt x="14" y="90"/>
                      </a:cubicBezTo>
                      <a:cubicBezTo>
                        <a:pt x="12" y="89"/>
                        <a:pt x="12" y="84"/>
                        <a:pt x="10" y="82"/>
                      </a:cubicBezTo>
                      <a:cubicBezTo>
                        <a:pt x="8" y="81"/>
                        <a:pt x="0" y="79"/>
                        <a:pt x="0" y="77"/>
                      </a:cubicBezTo>
                      <a:close/>
                    </a:path>
                  </a:pathLst>
                </a:custGeom>
                <a:solidFill>
                  <a:srgbClr val="AAAA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6" name="Freeform 268"/>
                <p:cNvSpPr>
                  <a:spLocks/>
                </p:cNvSpPr>
                <p:nvPr/>
              </p:nvSpPr>
              <p:spPr bwMode="auto">
                <a:xfrm>
                  <a:off x="120" y="1629"/>
                  <a:ext cx="33" cy="20"/>
                </a:xfrm>
                <a:custGeom>
                  <a:avLst/>
                  <a:gdLst>
                    <a:gd name="T0" fmla="*/ 735444 w 16"/>
                    <a:gd name="T1" fmla="*/ 0 h 10"/>
                    <a:gd name="T2" fmla="*/ 1092024 w 16"/>
                    <a:gd name="T3" fmla="*/ 65536 h 10"/>
                    <a:gd name="T4" fmla="*/ 1516853 w 16"/>
                    <a:gd name="T5" fmla="*/ 65536 h 10"/>
                    <a:gd name="T6" fmla="*/ 1711980 w 16"/>
                    <a:gd name="T7" fmla="*/ 262144 h 10"/>
                    <a:gd name="T8" fmla="*/ 1186773 w 16"/>
                    <a:gd name="T9" fmla="*/ 458752 h 10"/>
                    <a:gd name="T10" fmla="*/ 427676 w 16"/>
                    <a:gd name="T11" fmla="*/ 655360 h 10"/>
                    <a:gd name="T12" fmla="*/ 100537 w 16"/>
                    <a:gd name="T13" fmla="*/ 524288 h 10"/>
                    <a:gd name="T14" fmla="*/ 529466 w 16"/>
                    <a:gd name="T15" fmla="*/ 327680 h 10"/>
                    <a:gd name="T16" fmla="*/ 735444 w 16"/>
                    <a:gd name="T17" fmla="*/ 0 h 1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6" h="10">
                      <a:moveTo>
                        <a:pt x="7" y="0"/>
                      </a:moveTo>
                      <a:cubicBezTo>
                        <a:pt x="8" y="0"/>
                        <a:pt x="9" y="1"/>
                        <a:pt x="10" y="1"/>
                      </a:cubicBezTo>
                      <a:cubicBezTo>
                        <a:pt x="11" y="1"/>
                        <a:pt x="14" y="1"/>
                        <a:pt x="14" y="1"/>
                      </a:cubicBezTo>
                      <a:cubicBezTo>
                        <a:pt x="16" y="2"/>
                        <a:pt x="16" y="4"/>
                        <a:pt x="16" y="4"/>
                      </a:cubicBezTo>
                      <a:cubicBezTo>
                        <a:pt x="16" y="4"/>
                        <a:pt x="12" y="7"/>
                        <a:pt x="11" y="7"/>
                      </a:cubicBezTo>
                      <a:cubicBezTo>
                        <a:pt x="9" y="8"/>
                        <a:pt x="5" y="10"/>
                        <a:pt x="4" y="10"/>
                      </a:cubicBezTo>
                      <a:cubicBezTo>
                        <a:pt x="3" y="10"/>
                        <a:pt x="0" y="9"/>
                        <a:pt x="1" y="8"/>
                      </a:cubicBezTo>
                      <a:cubicBezTo>
                        <a:pt x="2" y="7"/>
                        <a:pt x="5" y="6"/>
                        <a:pt x="5" y="5"/>
                      </a:cubicBezTo>
                      <a:cubicBezTo>
                        <a:pt x="5" y="4"/>
                        <a:pt x="5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7" name="Freeform 269"/>
                <p:cNvSpPr>
                  <a:spLocks/>
                </p:cNvSpPr>
                <p:nvPr/>
              </p:nvSpPr>
              <p:spPr bwMode="auto">
                <a:xfrm>
                  <a:off x="98" y="1647"/>
                  <a:ext cx="18" cy="15"/>
                </a:xfrm>
                <a:custGeom>
                  <a:avLst/>
                  <a:gdLst>
                    <a:gd name="T0" fmla="*/ 589824 w 9"/>
                    <a:gd name="T1" fmla="*/ 385903 h 7"/>
                    <a:gd name="T2" fmla="*/ 262144 w 9"/>
                    <a:gd name="T3" fmla="*/ 1206270 h 7"/>
                    <a:gd name="T4" fmla="*/ 0 w 9"/>
                    <a:gd name="T5" fmla="*/ 1386041 h 7"/>
                    <a:gd name="T6" fmla="*/ 0 w 9"/>
                    <a:gd name="T7" fmla="*/ 1022959 h 7"/>
                    <a:gd name="T8" fmla="*/ 393216 w 9"/>
                    <a:gd name="T9" fmla="*/ 0 h 7"/>
                    <a:gd name="T10" fmla="*/ 589824 w 9"/>
                    <a:gd name="T11" fmla="*/ 385903 h 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9" h="7">
                      <a:moveTo>
                        <a:pt x="9" y="2"/>
                      </a:moveTo>
                      <a:cubicBezTo>
                        <a:pt x="8" y="4"/>
                        <a:pt x="6" y="6"/>
                        <a:pt x="4" y="6"/>
                      </a:cubicBezTo>
                      <a:cubicBezTo>
                        <a:pt x="2" y="7"/>
                        <a:pt x="2" y="7"/>
                        <a:pt x="0" y="7"/>
                      </a:cubicBezTo>
                      <a:cubicBezTo>
                        <a:pt x="0" y="7"/>
                        <a:pt x="0" y="7"/>
                        <a:pt x="0" y="5"/>
                      </a:cubicBezTo>
                      <a:cubicBezTo>
                        <a:pt x="2" y="2"/>
                        <a:pt x="6" y="0"/>
                        <a:pt x="6" y="0"/>
                      </a:cubicBezTo>
                      <a:cubicBezTo>
                        <a:pt x="7" y="0"/>
                        <a:pt x="9" y="1"/>
                        <a:pt x="9" y="2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 w="9525" cap="flat" cmpd="sng">
                  <a:solidFill>
                    <a:srgbClr val="969696"/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90" name="Green pioneers"/>
          <p:cNvGrpSpPr/>
          <p:nvPr/>
        </p:nvGrpSpPr>
        <p:grpSpPr>
          <a:xfrm>
            <a:off x="5572369" y="2437178"/>
            <a:ext cx="3306559" cy="1492761"/>
            <a:chOff x="5492159" y="2541451"/>
            <a:chExt cx="3306559" cy="1492761"/>
          </a:xfrm>
        </p:grpSpPr>
        <p:grpSp>
          <p:nvGrpSpPr>
            <p:cNvPr id="93" name="Group 135"/>
            <p:cNvGrpSpPr>
              <a:grpSpLocks/>
            </p:cNvGrpSpPr>
            <p:nvPr/>
          </p:nvGrpSpPr>
          <p:grpSpPr bwMode="auto">
            <a:xfrm>
              <a:off x="5936625" y="3001472"/>
              <a:ext cx="267690" cy="428615"/>
              <a:chOff x="2894" y="1273"/>
              <a:chExt cx="194" cy="330"/>
            </a:xfrm>
          </p:grpSpPr>
          <p:sp>
            <p:nvSpPr>
              <p:cNvPr id="238" name="Freeform 136"/>
              <p:cNvSpPr>
                <a:spLocks/>
              </p:cNvSpPr>
              <p:nvPr/>
            </p:nvSpPr>
            <p:spPr bwMode="auto">
              <a:xfrm>
                <a:off x="2995" y="1544"/>
                <a:ext cx="24" cy="28"/>
              </a:xfrm>
              <a:custGeom>
                <a:avLst/>
                <a:gdLst>
                  <a:gd name="T0" fmla="*/ 65536 w 12"/>
                  <a:gd name="T1" fmla="*/ 393216 h 14"/>
                  <a:gd name="T2" fmla="*/ 720896 w 12"/>
                  <a:gd name="T3" fmla="*/ 65536 h 14"/>
                  <a:gd name="T4" fmla="*/ 655360 w 12"/>
                  <a:gd name="T5" fmla="*/ 327680 h 14"/>
                  <a:gd name="T6" fmla="*/ 458752 w 12"/>
                  <a:gd name="T7" fmla="*/ 786432 h 14"/>
                  <a:gd name="T8" fmla="*/ 65536 w 12"/>
                  <a:gd name="T9" fmla="*/ 851968 h 14"/>
                  <a:gd name="T10" fmla="*/ 65536 w 12"/>
                  <a:gd name="T11" fmla="*/ 393216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14">
                    <a:moveTo>
                      <a:pt x="1" y="6"/>
                    </a:moveTo>
                    <a:cubicBezTo>
                      <a:pt x="2" y="4"/>
                      <a:pt x="10" y="0"/>
                      <a:pt x="11" y="1"/>
                    </a:cubicBezTo>
                    <a:cubicBezTo>
                      <a:pt x="12" y="1"/>
                      <a:pt x="10" y="4"/>
                      <a:pt x="10" y="5"/>
                    </a:cubicBezTo>
                    <a:cubicBezTo>
                      <a:pt x="9" y="7"/>
                      <a:pt x="8" y="11"/>
                      <a:pt x="7" y="12"/>
                    </a:cubicBezTo>
                    <a:cubicBezTo>
                      <a:pt x="5" y="12"/>
                      <a:pt x="2" y="14"/>
                      <a:pt x="1" y="13"/>
                    </a:cubicBezTo>
                    <a:cubicBezTo>
                      <a:pt x="0" y="12"/>
                      <a:pt x="1" y="8"/>
                      <a:pt x="1" y="6"/>
                    </a:cubicBezTo>
                    <a:close/>
                  </a:path>
                </a:pathLst>
              </a:custGeom>
              <a:solidFill>
                <a:srgbClr val="99CC00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9" name="Freeform 137"/>
              <p:cNvSpPr>
                <a:spLocks/>
              </p:cNvSpPr>
              <p:nvPr/>
            </p:nvSpPr>
            <p:spPr bwMode="auto">
              <a:xfrm>
                <a:off x="2894" y="1273"/>
                <a:ext cx="194" cy="330"/>
              </a:xfrm>
              <a:custGeom>
                <a:avLst/>
                <a:gdLst>
                  <a:gd name="T0" fmla="*/ 0 w 96"/>
                  <a:gd name="T1" fmla="*/ 10033126 h 163"/>
                  <a:gd name="T2" fmla="*/ 226907 w 96"/>
                  <a:gd name="T3" fmla="*/ 9792647 h 163"/>
                  <a:gd name="T4" fmla="*/ 301288 w 96"/>
                  <a:gd name="T5" fmla="*/ 9089056 h 163"/>
                  <a:gd name="T6" fmla="*/ 686097 w 96"/>
                  <a:gd name="T7" fmla="*/ 8761723 h 163"/>
                  <a:gd name="T8" fmla="*/ 532920 w 96"/>
                  <a:gd name="T9" fmla="*/ 8140800 h 163"/>
                  <a:gd name="T10" fmla="*/ 835873 w 96"/>
                  <a:gd name="T11" fmla="*/ 7719662 h 163"/>
                  <a:gd name="T12" fmla="*/ 458541 w 96"/>
                  <a:gd name="T13" fmla="*/ 7075008 h 163"/>
                  <a:gd name="T14" fmla="*/ 458541 w 96"/>
                  <a:gd name="T15" fmla="*/ 5751633 h 163"/>
                  <a:gd name="T16" fmla="*/ 926635 w 96"/>
                  <a:gd name="T17" fmla="*/ 5267057 h 163"/>
                  <a:gd name="T18" fmla="*/ 1461883 w 96"/>
                  <a:gd name="T19" fmla="*/ 5348917 h 163"/>
                  <a:gd name="T20" fmla="*/ 1614252 w 96"/>
                  <a:gd name="T21" fmla="*/ 4761299 h 163"/>
                  <a:gd name="T22" fmla="*/ 1303890 w 96"/>
                  <a:gd name="T23" fmla="*/ 4452267 h 163"/>
                  <a:gd name="T24" fmla="*/ 1872575 w 96"/>
                  <a:gd name="T25" fmla="*/ 3887770 h 163"/>
                  <a:gd name="T26" fmla="*/ 1949108 w 96"/>
                  <a:gd name="T27" fmla="*/ 3185045 h 163"/>
                  <a:gd name="T28" fmla="*/ 2486413 w 96"/>
                  <a:gd name="T29" fmla="*/ 2958084 h 163"/>
                  <a:gd name="T30" fmla="*/ 3030490 w 96"/>
                  <a:gd name="T31" fmla="*/ 2162237 h 163"/>
                  <a:gd name="T32" fmla="*/ 2954222 w 96"/>
                  <a:gd name="T33" fmla="*/ 1769025 h 163"/>
                  <a:gd name="T34" fmla="*/ 3489048 w 96"/>
                  <a:gd name="T35" fmla="*/ 1105530 h 163"/>
                  <a:gd name="T36" fmla="*/ 3938822 w 96"/>
                  <a:gd name="T37" fmla="*/ 1266641 h 163"/>
                  <a:gd name="T38" fmla="*/ 4094659 w 96"/>
                  <a:gd name="T39" fmla="*/ 625644 h 163"/>
                  <a:gd name="T40" fmla="*/ 5097821 w 96"/>
                  <a:gd name="T41" fmla="*/ 702220 h 163"/>
                  <a:gd name="T42" fmla="*/ 5324783 w 96"/>
                  <a:gd name="T43" fmla="*/ 75396 h 163"/>
                  <a:gd name="T44" fmla="*/ 5474413 w 96"/>
                  <a:gd name="T45" fmla="*/ 0 h 163"/>
                  <a:gd name="T46" fmla="*/ 6043767 w 96"/>
                  <a:gd name="T47" fmla="*/ 777075 h 163"/>
                  <a:gd name="T48" fmla="*/ 7050785 w 96"/>
                  <a:gd name="T49" fmla="*/ 1180106 h 163"/>
                  <a:gd name="T50" fmla="*/ 7273606 w 96"/>
                  <a:gd name="T51" fmla="*/ 1920323 h 163"/>
                  <a:gd name="T52" fmla="*/ 7424604 w 96"/>
                  <a:gd name="T53" fmla="*/ 2802619 h 163"/>
                  <a:gd name="T54" fmla="*/ 7347522 w 96"/>
                  <a:gd name="T55" fmla="*/ 3419790 h 163"/>
                  <a:gd name="T56" fmla="*/ 6437815 w 96"/>
                  <a:gd name="T57" fmla="*/ 3655845 h 163"/>
                  <a:gd name="T58" fmla="*/ 6043767 w 96"/>
                  <a:gd name="T59" fmla="*/ 3965418 h 163"/>
                  <a:gd name="T60" fmla="*/ 5738094 w 96"/>
                  <a:gd name="T61" fmla="*/ 4377535 h 163"/>
                  <a:gd name="T62" fmla="*/ 5969990 w 96"/>
                  <a:gd name="T63" fmla="*/ 4761299 h 163"/>
                  <a:gd name="T64" fmla="*/ 5398381 w 96"/>
                  <a:gd name="T65" fmla="*/ 5348917 h 163"/>
                  <a:gd name="T66" fmla="*/ 4244532 w 96"/>
                  <a:gd name="T67" fmla="*/ 6144815 h 163"/>
                  <a:gd name="T68" fmla="*/ 3561735 w 96"/>
                  <a:gd name="T69" fmla="*/ 7150470 h 163"/>
                  <a:gd name="T70" fmla="*/ 3489048 w 96"/>
                  <a:gd name="T71" fmla="*/ 8217931 h 163"/>
                  <a:gd name="T72" fmla="*/ 4012023 w 96"/>
                  <a:gd name="T73" fmla="*/ 8611585 h 163"/>
                  <a:gd name="T74" fmla="*/ 4638540 w 96"/>
                  <a:gd name="T75" fmla="*/ 9089056 h 163"/>
                  <a:gd name="T76" fmla="*/ 4397984 w 96"/>
                  <a:gd name="T77" fmla="*/ 9482153 h 163"/>
                  <a:gd name="T78" fmla="*/ 3938822 w 96"/>
                  <a:gd name="T79" fmla="*/ 9952950 h 163"/>
                  <a:gd name="T80" fmla="*/ 3262134 w 96"/>
                  <a:gd name="T81" fmla="*/ 10185628 h 163"/>
                  <a:gd name="T82" fmla="*/ 3185723 w 96"/>
                  <a:gd name="T83" fmla="*/ 10981770 h 163"/>
                  <a:gd name="T84" fmla="*/ 2708988 w 96"/>
                  <a:gd name="T85" fmla="*/ 12199952 h 163"/>
                  <a:gd name="T86" fmla="*/ 2561331 w 96"/>
                  <a:gd name="T87" fmla="*/ 12440423 h 163"/>
                  <a:gd name="T88" fmla="*/ 1872575 w 96"/>
                  <a:gd name="T89" fmla="*/ 12440423 h 163"/>
                  <a:gd name="T90" fmla="*/ 1762508 w 96"/>
                  <a:gd name="T91" fmla="*/ 12902095 h 163"/>
                  <a:gd name="T92" fmla="*/ 1076943 w 96"/>
                  <a:gd name="T93" fmla="*/ 12902095 h 163"/>
                  <a:gd name="T94" fmla="*/ 835873 w 96"/>
                  <a:gd name="T95" fmla="*/ 12286793 h 163"/>
                  <a:gd name="T96" fmla="*/ 926635 w 96"/>
                  <a:gd name="T97" fmla="*/ 11871363 h 163"/>
                  <a:gd name="T98" fmla="*/ 458541 w 96"/>
                  <a:gd name="T99" fmla="*/ 11287915 h 163"/>
                  <a:gd name="T100" fmla="*/ 0 w 96"/>
                  <a:gd name="T101" fmla="*/ 10107949 h 163"/>
                  <a:gd name="T102" fmla="*/ 0 w 96"/>
                  <a:gd name="T103" fmla="*/ 10033126 h 16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6" h="163">
                    <a:moveTo>
                      <a:pt x="0" y="126"/>
                    </a:moveTo>
                    <a:cubicBezTo>
                      <a:pt x="0" y="126"/>
                      <a:pt x="1" y="126"/>
                      <a:pt x="3" y="123"/>
                    </a:cubicBezTo>
                    <a:cubicBezTo>
                      <a:pt x="6" y="120"/>
                      <a:pt x="3" y="115"/>
                      <a:pt x="4" y="114"/>
                    </a:cubicBezTo>
                    <a:cubicBezTo>
                      <a:pt x="6" y="113"/>
                      <a:pt x="9" y="112"/>
                      <a:pt x="9" y="110"/>
                    </a:cubicBezTo>
                    <a:cubicBezTo>
                      <a:pt x="9" y="108"/>
                      <a:pt x="7" y="103"/>
                      <a:pt x="7" y="102"/>
                    </a:cubicBezTo>
                    <a:cubicBezTo>
                      <a:pt x="7" y="101"/>
                      <a:pt x="12" y="100"/>
                      <a:pt x="11" y="97"/>
                    </a:cubicBezTo>
                    <a:cubicBezTo>
                      <a:pt x="11" y="95"/>
                      <a:pt x="5" y="92"/>
                      <a:pt x="6" y="89"/>
                    </a:cubicBezTo>
                    <a:cubicBezTo>
                      <a:pt x="7" y="85"/>
                      <a:pt x="4" y="74"/>
                      <a:pt x="6" y="72"/>
                    </a:cubicBezTo>
                    <a:cubicBezTo>
                      <a:pt x="8" y="70"/>
                      <a:pt x="10" y="66"/>
                      <a:pt x="12" y="66"/>
                    </a:cubicBezTo>
                    <a:cubicBezTo>
                      <a:pt x="13" y="66"/>
                      <a:pt x="18" y="67"/>
                      <a:pt x="19" y="67"/>
                    </a:cubicBezTo>
                    <a:cubicBezTo>
                      <a:pt x="20" y="67"/>
                      <a:pt x="21" y="62"/>
                      <a:pt x="21" y="60"/>
                    </a:cubicBezTo>
                    <a:cubicBezTo>
                      <a:pt x="21" y="58"/>
                      <a:pt x="16" y="57"/>
                      <a:pt x="17" y="56"/>
                    </a:cubicBezTo>
                    <a:cubicBezTo>
                      <a:pt x="18" y="56"/>
                      <a:pt x="23" y="51"/>
                      <a:pt x="24" y="49"/>
                    </a:cubicBezTo>
                    <a:cubicBezTo>
                      <a:pt x="24" y="47"/>
                      <a:pt x="25" y="40"/>
                      <a:pt x="25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2" y="37"/>
                      <a:pt x="39" y="27"/>
                      <a:pt x="39" y="27"/>
                    </a:cubicBezTo>
                    <a:cubicBezTo>
                      <a:pt x="39" y="26"/>
                      <a:pt x="38" y="22"/>
                      <a:pt x="38" y="22"/>
                    </a:cubicBezTo>
                    <a:cubicBezTo>
                      <a:pt x="38" y="22"/>
                      <a:pt x="44" y="14"/>
                      <a:pt x="45" y="14"/>
                    </a:cubicBezTo>
                    <a:cubicBezTo>
                      <a:pt x="45" y="14"/>
                      <a:pt x="50" y="17"/>
                      <a:pt x="51" y="16"/>
                    </a:cubicBezTo>
                    <a:cubicBezTo>
                      <a:pt x="51" y="15"/>
                      <a:pt x="52" y="8"/>
                      <a:pt x="53" y="8"/>
                    </a:cubicBezTo>
                    <a:cubicBezTo>
                      <a:pt x="54" y="8"/>
                      <a:pt x="65" y="10"/>
                      <a:pt x="66" y="9"/>
                    </a:cubicBezTo>
                    <a:cubicBezTo>
                      <a:pt x="67" y="9"/>
                      <a:pt x="69" y="1"/>
                      <a:pt x="69" y="1"/>
                    </a:cubicBezTo>
                    <a:cubicBezTo>
                      <a:pt x="69" y="1"/>
                      <a:pt x="70" y="1"/>
                      <a:pt x="71" y="0"/>
                    </a:cubicBezTo>
                    <a:cubicBezTo>
                      <a:pt x="78" y="10"/>
                      <a:pt x="78" y="10"/>
                      <a:pt x="78" y="10"/>
                    </a:cubicBezTo>
                    <a:cubicBezTo>
                      <a:pt x="79" y="11"/>
                      <a:pt x="88" y="13"/>
                      <a:pt x="91" y="15"/>
                    </a:cubicBezTo>
                    <a:cubicBezTo>
                      <a:pt x="94" y="17"/>
                      <a:pt x="92" y="22"/>
                      <a:pt x="94" y="24"/>
                    </a:cubicBezTo>
                    <a:cubicBezTo>
                      <a:pt x="95" y="26"/>
                      <a:pt x="96" y="33"/>
                      <a:pt x="96" y="35"/>
                    </a:cubicBezTo>
                    <a:cubicBezTo>
                      <a:pt x="96" y="37"/>
                      <a:pt x="95" y="42"/>
                      <a:pt x="95" y="43"/>
                    </a:cubicBezTo>
                    <a:cubicBezTo>
                      <a:pt x="92" y="43"/>
                      <a:pt x="84" y="45"/>
                      <a:pt x="83" y="46"/>
                    </a:cubicBezTo>
                    <a:cubicBezTo>
                      <a:pt x="83" y="46"/>
                      <a:pt x="79" y="49"/>
                      <a:pt x="78" y="50"/>
                    </a:cubicBezTo>
                    <a:cubicBezTo>
                      <a:pt x="77" y="51"/>
                      <a:pt x="75" y="55"/>
                      <a:pt x="74" y="55"/>
                    </a:cubicBezTo>
                    <a:cubicBezTo>
                      <a:pt x="74" y="56"/>
                      <a:pt x="79" y="60"/>
                      <a:pt x="77" y="60"/>
                    </a:cubicBezTo>
                    <a:cubicBezTo>
                      <a:pt x="76" y="61"/>
                      <a:pt x="72" y="66"/>
                      <a:pt x="70" y="67"/>
                    </a:cubicBezTo>
                    <a:cubicBezTo>
                      <a:pt x="68" y="68"/>
                      <a:pt x="56" y="75"/>
                      <a:pt x="55" y="77"/>
                    </a:cubicBezTo>
                    <a:cubicBezTo>
                      <a:pt x="53" y="79"/>
                      <a:pt x="47" y="86"/>
                      <a:pt x="46" y="90"/>
                    </a:cubicBezTo>
                    <a:cubicBezTo>
                      <a:pt x="44" y="93"/>
                      <a:pt x="44" y="101"/>
                      <a:pt x="45" y="103"/>
                    </a:cubicBezTo>
                    <a:cubicBezTo>
                      <a:pt x="46" y="105"/>
                      <a:pt x="49" y="107"/>
                      <a:pt x="52" y="108"/>
                    </a:cubicBezTo>
                    <a:cubicBezTo>
                      <a:pt x="54" y="108"/>
                      <a:pt x="59" y="113"/>
                      <a:pt x="60" y="114"/>
                    </a:cubicBezTo>
                    <a:cubicBezTo>
                      <a:pt x="60" y="115"/>
                      <a:pt x="59" y="119"/>
                      <a:pt x="57" y="119"/>
                    </a:cubicBezTo>
                    <a:cubicBezTo>
                      <a:pt x="55" y="120"/>
                      <a:pt x="53" y="125"/>
                      <a:pt x="51" y="125"/>
                    </a:cubicBezTo>
                    <a:cubicBezTo>
                      <a:pt x="49" y="125"/>
                      <a:pt x="43" y="127"/>
                      <a:pt x="42" y="128"/>
                    </a:cubicBezTo>
                    <a:cubicBezTo>
                      <a:pt x="41" y="129"/>
                      <a:pt x="42" y="136"/>
                      <a:pt x="41" y="138"/>
                    </a:cubicBezTo>
                    <a:cubicBezTo>
                      <a:pt x="40" y="141"/>
                      <a:pt x="36" y="151"/>
                      <a:pt x="35" y="153"/>
                    </a:cubicBezTo>
                    <a:cubicBezTo>
                      <a:pt x="34" y="155"/>
                      <a:pt x="34" y="155"/>
                      <a:pt x="33" y="156"/>
                    </a:cubicBezTo>
                    <a:cubicBezTo>
                      <a:pt x="33" y="157"/>
                      <a:pt x="26" y="155"/>
                      <a:pt x="24" y="156"/>
                    </a:cubicBezTo>
                    <a:cubicBezTo>
                      <a:pt x="21" y="158"/>
                      <a:pt x="23" y="162"/>
                      <a:pt x="23" y="162"/>
                    </a:cubicBezTo>
                    <a:cubicBezTo>
                      <a:pt x="22" y="162"/>
                      <a:pt x="15" y="163"/>
                      <a:pt x="14" y="162"/>
                    </a:cubicBezTo>
                    <a:cubicBezTo>
                      <a:pt x="12" y="160"/>
                      <a:pt x="10" y="155"/>
                      <a:pt x="11" y="154"/>
                    </a:cubicBezTo>
                    <a:cubicBezTo>
                      <a:pt x="12" y="152"/>
                      <a:pt x="14" y="150"/>
                      <a:pt x="12" y="149"/>
                    </a:cubicBezTo>
                    <a:cubicBezTo>
                      <a:pt x="10" y="147"/>
                      <a:pt x="7" y="144"/>
                      <a:pt x="6" y="142"/>
                    </a:cubicBezTo>
                    <a:cubicBezTo>
                      <a:pt x="5" y="140"/>
                      <a:pt x="0" y="130"/>
                      <a:pt x="0" y="127"/>
                    </a:cubicBezTo>
                    <a:cubicBezTo>
                      <a:pt x="0" y="127"/>
                      <a:pt x="0" y="127"/>
                      <a:pt x="0" y="126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6" name="Group 150"/>
            <p:cNvGrpSpPr>
              <a:grpSpLocks/>
            </p:cNvGrpSpPr>
            <p:nvPr/>
          </p:nvGrpSpPr>
          <p:grpSpPr bwMode="auto">
            <a:xfrm>
              <a:off x="5865914" y="3367273"/>
              <a:ext cx="90914" cy="86831"/>
              <a:chOff x="2843" y="1554"/>
              <a:chExt cx="65" cy="67"/>
            </a:xfrm>
          </p:grpSpPr>
          <p:sp>
            <p:nvSpPr>
              <p:cNvPr id="236" name="Freeform 151"/>
              <p:cNvSpPr>
                <a:spLocks/>
              </p:cNvSpPr>
              <p:nvPr/>
            </p:nvSpPr>
            <p:spPr bwMode="auto">
              <a:xfrm>
                <a:off x="2879" y="1591"/>
                <a:ext cx="29" cy="30"/>
              </a:xfrm>
              <a:custGeom>
                <a:avLst/>
                <a:gdLst>
                  <a:gd name="T0" fmla="*/ 106026 w 14"/>
                  <a:gd name="T1" fmla="*/ 589824 h 15"/>
                  <a:gd name="T2" fmla="*/ 0 w 14"/>
                  <a:gd name="T3" fmla="*/ 327680 h 15"/>
                  <a:gd name="T4" fmla="*/ 832070 w 14"/>
                  <a:gd name="T5" fmla="*/ 131072 h 15"/>
                  <a:gd name="T6" fmla="*/ 1279998 w 14"/>
                  <a:gd name="T7" fmla="*/ 0 h 15"/>
                  <a:gd name="T8" fmla="*/ 1498297 w 14"/>
                  <a:gd name="T9" fmla="*/ 327680 h 15"/>
                  <a:gd name="T10" fmla="*/ 1279998 w 14"/>
                  <a:gd name="T11" fmla="*/ 393216 h 15"/>
                  <a:gd name="T12" fmla="*/ 1498297 w 14"/>
                  <a:gd name="T13" fmla="*/ 589824 h 15"/>
                  <a:gd name="T14" fmla="*/ 1279998 w 14"/>
                  <a:gd name="T15" fmla="*/ 851968 h 15"/>
                  <a:gd name="T16" fmla="*/ 1181035 w 14"/>
                  <a:gd name="T17" fmla="*/ 917504 h 15"/>
                  <a:gd name="T18" fmla="*/ 832070 w 14"/>
                  <a:gd name="T19" fmla="*/ 655360 h 15"/>
                  <a:gd name="T20" fmla="*/ 106026 w 14"/>
                  <a:gd name="T21" fmla="*/ 589824 h 1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4" h="15">
                    <a:moveTo>
                      <a:pt x="1" y="9"/>
                    </a:moveTo>
                    <a:cubicBezTo>
                      <a:pt x="0" y="9"/>
                      <a:pt x="0" y="5"/>
                      <a:pt x="0" y="5"/>
                    </a:cubicBezTo>
                    <a:cubicBezTo>
                      <a:pt x="0" y="4"/>
                      <a:pt x="6" y="2"/>
                      <a:pt x="7" y="2"/>
                    </a:cubicBezTo>
                    <a:cubicBezTo>
                      <a:pt x="8" y="1"/>
                      <a:pt x="10" y="0"/>
                      <a:pt x="11" y="0"/>
                    </a:cubicBezTo>
                    <a:cubicBezTo>
                      <a:pt x="13" y="0"/>
                      <a:pt x="12" y="4"/>
                      <a:pt x="13" y="5"/>
                    </a:cubicBezTo>
                    <a:cubicBezTo>
                      <a:pt x="14" y="6"/>
                      <a:pt x="11" y="5"/>
                      <a:pt x="11" y="6"/>
                    </a:cubicBezTo>
                    <a:cubicBezTo>
                      <a:pt x="11" y="7"/>
                      <a:pt x="13" y="9"/>
                      <a:pt x="13" y="9"/>
                    </a:cubicBezTo>
                    <a:cubicBezTo>
                      <a:pt x="14" y="10"/>
                      <a:pt x="12" y="12"/>
                      <a:pt x="11" y="13"/>
                    </a:cubicBezTo>
                    <a:cubicBezTo>
                      <a:pt x="10" y="13"/>
                      <a:pt x="11" y="15"/>
                      <a:pt x="10" y="14"/>
                    </a:cubicBezTo>
                    <a:cubicBezTo>
                      <a:pt x="9" y="14"/>
                      <a:pt x="8" y="10"/>
                      <a:pt x="7" y="10"/>
                    </a:cubicBezTo>
                    <a:cubicBezTo>
                      <a:pt x="6" y="10"/>
                      <a:pt x="2" y="10"/>
                      <a:pt x="1" y="9"/>
                    </a:cubicBezTo>
                    <a:close/>
                  </a:path>
                </a:pathLst>
              </a:custGeom>
              <a:solidFill>
                <a:srgbClr val="EAEAEE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7" name="Freeform 152"/>
              <p:cNvSpPr>
                <a:spLocks/>
              </p:cNvSpPr>
              <p:nvPr/>
            </p:nvSpPr>
            <p:spPr bwMode="auto">
              <a:xfrm>
                <a:off x="2843" y="1554"/>
                <a:ext cx="45" cy="61"/>
              </a:xfrm>
              <a:custGeom>
                <a:avLst/>
                <a:gdLst>
                  <a:gd name="T0" fmla="*/ 0 w 22"/>
                  <a:gd name="T1" fmla="*/ 1797843 h 30"/>
                  <a:gd name="T2" fmla="*/ 177953 w 22"/>
                  <a:gd name="T3" fmla="*/ 580021 h 30"/>
                  <a:gd name="T4" fmla="*/ 1051026 w 22"/>
                  <a:gd name="T5" fmla="*/ 415140 h 30"/>
                  <a:gd name="T6" fmla="*/ 1416563 w 22"/>
                  <a:gd name="T7" fmla="*/ 0 h 30"/>
                  <a:gd name="T8" fmla="*/ 1796175 w 22"/>
                  <a:gd name="T9" fmla="*/ 164543 h 30"/>
                  <a:gd name="T10" fmla="*/ 1522913 w 22"/>
                  <a:gd name="T11" fmla="*/ 844118 h 30"/>
                  <a:gd name="T12" fmla="*/ 2066588 w 22"/>
                  <a:gd name="T13" fmla="*/ 1299953 h 30"/>
                  <a:gd name="T14" fmla="*/ 1241016 w 22"/>
                  <a:gd name="T15" fmla="*/ 1716373 h 30"/>
                  <a:gd name="T16" fmla="*/ 1051026 w 22"/>
                  <a:gd name="T17" fmla="*/ 2232687 h 30"/>
                  <a:gd name="T18" fmla="*/ 1241016 w 22"/>
                  <a:gd name="T19" fmla="*/ 2557840 h 30"/>
                  <a:gd name="T20" fmla="*/ 177953 w 22"/>
                  <a:gd name="T21" fmla="*/ 2557840 h 30"/>
                  <a:gd name="T22" fmla="*/ 363995 w 22"/>
                  <a:gd name="T23" fmla="*/ 2141724 h 30"/>
                  <a:gd name="T24" fmla="*/ 0 w 22"/>
                  <a:gd name="T25" fmla="*/ 1797843 h 3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2" h="30">
                    <a:moveTo>
                      <a:pt x="0" y="21"/>
                    </a:moveTo>
                    <a:cubicBezTo>
                      <a:pt x="0" y="18"/>
                      <a:pt x="0" y="8"/>
                      <a:pt x="2" y="7"/>
                    </a:cubicBezTo>
                    <a:cubicBezTo>
                      <a:pt x="4" y="6"/>
                      <a:pt x="10" y="6"/>
                      <a:pt x="11" y="5"/>
                    </a:cubicBezTo>
                    <a:cubicBezTo>
                      <a:pt x="12" y="4"/>
                      <a:pt x="13" y="0"/>
                      <a:pt x="15" y="0"/>
                    </a:cubicBezTo>
                    <a:cubicBezTo>
                      <a:pt x="16" y="0"/>
                      <a:pt x="19" y="0"/>
                      <a:pt x="19" y="2"/>
                    </a:cubicBezTo>
                    <a:cubicBezTo>
                      <a:pt x="19" y="3"/>
                      <a:pt x="16" y="9"/>
                      <a:pt x="16" y="10"/>
                    </a:cubicBezTo>
                    <a:cubicBezTo>
                      <a:pt x="17" y="11"/>
                      <a:pt x="22" y="14"/>
                      <a:pt x="22" y="15"/>
                    </a:cubicBezTo>
                    <a:cubicBezTo>
                      <a:pt x="21" y="16"/>
                      <a:pt x="14" y="18"/>
                      <a:pt x="13" y="20"/>
                    </a:cubicBezTo>
                    <a:cubicBezTo>
                      <a:pt x="13" y="21"/>
                      <a:pt x="11" y="25"/>
                      <a:pt x="11" y="26"/>
                    </a:cubicBezTo>
                    <a:cubicBezTo>
                      <a:pt x="11" y="27"/>
                      <a:pt x="12" y="28"/>
                      <a:pt x="13" y="30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2" y="28"/>
                      <a:pt x="5" y="26"/>
                      <a:pt x="4" y="25"/>
                    </a:cubicBezTo>
                    <a:cubicBezTo>
                      <a:pt x="3" y="23"/>
                      <a:pt x="0" y="23"/>
                      <a:pt x="0" y="21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8" name="Group 154"/>
            <p:cNvGrpSpPr>
              <a:grpSpLocks/>
            </p:cNvGrpSpPr>
            <p:nvPr/>
          </p:nvGrpSpPr>
          <p:grpSpPr bwMode="auto">
            <a:xfrm>
              <a:off x="5833926" y="3653632"/>
              <a:ext cx="255905" cy="251257"/>
              <a:chOff x="2819" y="1775"/>
              <a:chExt cx="186" cy="194"/>
            </a:xfrm>
          </p:grpSpPr>
          <p:sp>
            <p:nvSpPr>
              <p:cNvPr id="234" name="Freeform 155"/>
              <p:cNvSpPr>
                <a:spLocks/>
              </p:cNvSpPr>
              <p:nvPr/>
            </p:nvSpPr>
            <p:spPr bwMode="auto">
              <a:xfrm>
                <a:off x="2843" y="1886"/>
                <a:ext cx="26" cy="45"/>
              </a:xfrm>
              <a:custGeom>
                <a:avLst/>
                <a:gdLst>
                  <a:gd name="T0" fmla="*/ 65536 w 13"/>
                  <a:gd name="T1" fmla="*/ 451362 h 22"/>
                  <a:gd name="T2" fmla="*/ 458752 w 13"/>
                  <a:gd name="T3" fmla="*/ 273408 h 22"/>
                  <a:gd name="T4" fmla="*/ 720896 w 13"/>
                  <a:gd name="T5" fmla="*/ 86999 h 22"/>
                  <a:gd name="T6" fmla="*/ 786432 w 13"/>
                  <a:gd name="T7" fmla="*/ 830358 h 22"/>
                  <a:gd name="T8" fmla="*/ 720896 w 13"/>
                  <a:gd name="T9" fmla="*/ 1698460 h 22"/>
                  <a:gd name="T10" fmla="*/ 524288 w 13"/>
                  <a:gd name="T11" fmla="*/ 1615177 h 22"/>
                  <a:gd name="T12" fmla="*/ 327680 w 13"/>
                  <a:gd name="T13" fmla="*/ 1974275 h 22"/>
                  <a:gd name="T14" fmla="*/ 262144 w 13"/>
                  <a:gd name="T15" fmla="*/ 1974275 h 22"/>
                  <a:gd name="T16" fmla="*/ 196608 w 13"/>
                  <a:gd name="T17" fmla="*/ 1522913 h 22"/>
                  <a:gd name="T18" fmla="*/ 196608 w 13"/>
                  <a:gd name="T19" fmla="*/ 744535 h 22"/>
                  <a:gd name="T20" fmla="*/ 65536 w 13"/>
                  <a:gd name="T21" fmla="*/ 451362 h 2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3" h="22">
                    <a:moveTo>
                      <a:pt x="1" y="5"/>
                    </a:moveTo>
                    <a:cubicBezTo>
                      <a:pt x="2" y="3"/>
                      <a:pt x="6" y="4"/>
                      <a:pt x="7" y="3"/>
                    </a:cubicBezTo>
                    <a:cubicBezTo>
                      <a:pt x="8" y="2"/>
                      <a:pt x="10" y="0"/>
                      <a:pt x="11" y="1"/>
                    </a:cubicBezTo>
                    <a:cubicBezTo>
                      <a:pt x="12" y="3"/>
                      <a:pt x="12" y="6"/>
                      <a:pt x="12" y="9"/>
                    </a:cubicBezTo>
                    <a:cubicBezTo>
                      <a:pt x="12" y="11"/>
                      <a:pt x="13" y="19"/>
                      <a:pt x="11" y="18"/>
                    </a:cubicBezTo>
                    <a:cubicBezTo>
                      <a:pt x="10" y="17"/>
                      <a:pt x="9" y="17"/>
                      <a:pt x="8" y="17"/>
                    </a:cubicBezTo>
                    <a:cubicBezTo>
                      <a:pt x="7" y="18"/>
                      <a:pt x="6" y="22"/>
                      <a:pt x="5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3" y="20"/>
                      <a:pt x="2" y="18"/>
                      <a:pt x="3" y="16"/>
                    </a:cubicBezTo>
                    <a:cubicBezTo>
                      <a:pt x="3" y="13"/>
                      <a:pt x="4" y="9"/>
                      <a:pt x="3" y="8"/>
                    </a:cubicBezTo>
                    <a:cubicBezTo>
                      <a:pt x="1" y="7"/>
                      <a:pt x="0" y="7"/>
                      <a:pt x="1" y="5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5" name="Freeform 156"/>
              <p:cNvSpPr>
                <a:spLocks/>
              </p:cNvSpPr>
              <p:nvPr/>
            </p:nvSpPr>
            <p:spPr bwMode="auto">
              <a:xfrm>
                <a:off x="2819" y="1775"/>
                <a:ext cx="186" cy="194"/>
              </a:xfrm>
              <a:custGeom>
                <a:avLst/>
                <a:gdLst>
                  <a:gd name="T0" fmla="*/ 228103 w 92"/>
                  <a:gd name="T1" fmla="*/ 1949108 h 96"/>
                  <a:gd name="T2" fmla="*/ 149698 w 92"/>
                  <a:gd name="T3" fmla="*/ 1461883 h 96"/>
                  <a:gd name="T4" fmla="*/ 302650 w 92"/>
                  <a:gd name="T5" fmla="*/ 1002667 h 96"/>
                  <a:gd name="T6" fmla="*/ 302650 w 92"/>
                  <a:gd name="T7" fmla="*/ 926635 h 96"/>
                  <a:gd name="T8" fmla="*/ 611879 w 92"/>
                  <a:gd name="T9" fmla="*/ 835873 h 96"/>
                  <a:gd name="T10" fmla="*/ 839529 w 92"/>
                  <a:gd name="T11" fmla="*/ 759841 h 96"/>
                  <a:gd name="T12" fmla="*/ 1086414 w 92"/>
                  <a:gd name="T13" fmla="*/ 376004 h 96"/>
                  <a:gd name="T14" fmla="*/ 1469521 w 92"/>
                  <a:gd name="T15" fmla="*/ 926635 h 96"/>
                  <a:gd name="T16" fmla="*/ 1808241 w 92"/>
                  <a:gd name="T17" fmla="*/ 376004 h 96"/>
                  <a:gd name="T18" fmla="*/ 2196446 w 92"/>
                  <a:gd name="T19" fmla="*/ 532920 h 96"/>
                  <a:gd name="T20" fmla="*/ 2345804 w 92"/>
                  <a:gd name="T21" fmla="*/ 301288 h 96"/>
                  <a:gd name="T22" fmla="*/ 2345804 w 92"/>
                  <a:gd name="T23" fmla="*/ 226907 h 96"/>
                  <a:gd name="T24" fmla="*/ 2345804 w 92"/>
                  <a:gd name="T25" fmla="*/ 226907 h 96"/>
                  <a:gd name="T26" fmla="*/ 2742750 w 92"/>
                  <a:gd name="T27" fmla="*/ 226907 h 96"/>
                  <a:gd name="T28" fmla="*/ 2970988 w 92"/>
                  <a:gd name="T29" fmla="*/ 0 h 96"/>
                  <a:gd name="T30" fmla="*/ 3358788 w 92"/>
                  <a:gd name="T31" fmla="*/ 0 h 96"/>
                  <a:gd name="T32" fmla="*/ 3655792 w 92"/>
                  <a:gd name="T33" fmla="*/ 301288 h 96"/>
                  <a:gd name="T34" fmla="*/ 4198620 w 92"/>
                  <a:gd name="T35" fmla="*/ 376004 h 96"/>
                  <a:gd name="T36" fmla="*/ 4122389 w 92"/>
                  <a:gd name="T37" fmla="*/ 926635 h 96"/>
                  <a:gd name="T38" fmla="*/ 3358788 w 92"/>
                  <a:gd name="T39" fmla="*/ 1153906 h 96"/>
                  <a:gd name="T40" fmla="*/ 3582297 w 92"/>
                  <a:gd name="T41" fmla="*/ 1614252 h 96"/>
                  <a:gd name="T42" fmla="*/ 3431516 w 92"/>
                  <a:gd name="T43" fmla="*/ 2100387 h 96"/>
                  <a:gd name="T44" fmla="*/ 4271547 w 92"/>
                  <a:gd name="T45" fmla="*/ 2561331 h 96"/>
                  <a:gd name="T46" fmla="*/ 4828317 w 92"/>
                  <a:gd name="T47" fmla="*/ 3489048 h 96"/>
                  <a:gd name="T48" fmla="*/ 5391075 w 92"/>
                  <a:gd name="T49" fmla="*/ 3711883 h 96"/>
                  <a:gd name="T50" fmla="*/ 5856586 w 92"/>
                  <a:gd name="T51" fmla="*/ 3784162 h 96"/>
                  <a:gd name="T52" fmla="*/ 5704731 w 92"/>
                  <a:gd name="T53" fmla="*/ 4094659 h 96"/>
                  <a:gd name="T54" fmla="*/ 6790593 w 92"/>
                  <a:gd name="T55" fmla="*/ 4544003 h 96"/>
                  <a:gd name="T56" fmla="*/ 7167417 w 92"/>
                  <a:gd name="T57" fmla="*/ 5024626 h 96"/>
                  <a:gd name="T58" fmla="*/ 7014367 w 92"/>
                  <a:gd name="T59" fmla="*/ 5251855 h 96"/>
                  <a:gd name="T60" fmla="*/ 6330047 w 92"/>
                  <a:gd name="T61" fmla="*/ 4865526 h 96"/>
                  <a:gd name="T62" fmla="*/ 6079986 w 92"/>
                  <a:gd name="T63" fmla="*/ 5324783 h 96"/>
                  <a:gd name="T64" fmla="*/ 6402900 w 92"/>
                  <a:gd name="T65" fmla="*/ 5474413 h 96"/>
                  <a:gd name="T66" fmla="*/ 6402900 w 92"/>
                  <a:gd name="T67" fmla="*/ 5884669 h 96"/>
                  <a:gd name="T68" fmla="*/ 6079986 w 92"/>
                  <a:gd name="T69" fmla="*/ 6043767 h 96"/>
                  <a:gd name="T70" fmla="*/ 5777659 w 92"/>
                  <a:gd name="T71" fmla="*/ 6511313 h 96"/>
                  <a:gd name="T72" fmla="*/ 5471736 w 92"/>
                  <a:gd name="T73" fmla="*/ 6511313 h 96"/>
                  <a:gd name="T74" fmla="*/ 5203403 w 92"/>
                  <a:gd name="T75" fmla="*/ 6665844 h 96"/>
                  <a:gd name="T76" fmla="*/ 5129874 w 92"/>
                  <a:gd name="T77" fmla="*/ 7273606 h 96"/>
                  <a:gd name="T78" fmla="*/ 4742604 w 92"/>
                  <a:gd name="T79" fmla="*/ 7273606 h 96"/>
                  <a:gd name="T80" fmla="*/ 4345631 w 92"/>
                  <a:gd name="T81" fmla="*/ 6975116 h 96"/>
                  <a:gd name="T82" fmla="*/ 3506094 w 92"/>
                  <a:gd name="T83" fmla="*/ 6437815 h 96"/>
                  <a:gd name="T84" fmla="*/ 4043444 w 92"/>
                  <a:gd name="T85" fmla="*/ 6270674 h 96"/>
                  <a:gd name="T86" fmla="*/ 5056396 w 92"/>
                  <a:gd name="T87" fmla="*/ 6270674 h 96"/>
                  <a:gd name="T88" fmla="*/ 5471736 w 92"/>
                  <a:gd name="T89" fmla="*/ 6124115 h 96"/>
                  <a:gd name="T90" fmla="*/ 5704731 w 92"/>
                  <a:gd name="T91" fmla="*/ 5884669 h 96"/>
                  <a:gd name="T92" fmla="*/ 5471736 w 92"/>
                  <a:gd name="T93" fmla="*/ 5097821 h 96"/>
                  <a:gd name="T94" fmla="*/ 5056396 w 92"/>
                  <a:gd name="T95" fmla="*/ 4865526 h 96"/>
                  <a:gd name="T96" fmla="*/ 4271547 w 92"/>
                  <a:gd name="T97" fmla="*/ 4244532 h 96"/>
                  <a:gd name="T98" fmla="*/ 3655792 w 92"/>
                  <a:gd name="T99" fmla="*/ 4094659 h 96"/>
                  <a:gd name="T100" fmla="*/ 2896806 w 92"/>
                  <a:gd name="T101" fmla="*/ 3413511 h 96"/>
                  <a:gd name="T102" fmla="*/ 2424259 w 92"/>
                  <a:gd name="T103" fmla="*/ 2954222 h 96"/>
                  <a:gd name="T104" fmla="*/ 2112808 w 92"/>
                  <a:gd name="T105" fmla="*/ 2176322 h 96"/>
                  <a:gd name="T106" fmla="*/ 1395677 w 92"/>
                  <a:gd name="T107" fmla="*/ 1949108 h 96"/>
                  <a:gd name="T108" fmla="*/ 932355 w 92"/>
                  <a:gd name="T109" fmla="*/ 2331852 h 96"/>
                  <a:gd name="T110" fmla="*/ 766005 w 92"/>
                  <a:gd name="T111" fmla="*/ 2331852 h 96"/>
                  <a:gd name="T112" fmla="*/ 690335 w 92"/>
                  <a:gd name="T113" fmla="*/ 2026223 h 96"/>
                  <a:gd name="T114" fmla="*/ 228103 w 92"/>
                  <a:gd name="T115" fmla="*/ 1949108 h 9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2" h="96">
                    <a:moveTo>
                      <a:pt x="3" y="25"/>
                    </a:moveTo>
                    <a:cubicBezTo>
                      <a:pt x="3" y="23"/>
                      <a:pt x="0" y="20"/>
                      <a:pt x="2" y="19"/>
                    </a:cubicBezTo>
                    <a:cubicBezTo>
                      <a:pt x="4" y="17"/>
                      <a:pt x="5" y="15"/>
                      <a:pt x="4" y="1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10" y="11"/>
                      <a:pt x="11" y="10"/>
                    </a:cubicBezTo>
                    <a:cubicBezTo>
                      <a:pt x="12" y="9"/>
                      <a:pt x="14" y="5"/>
                      <a:pt x="14" y="5"/>
                    </a:cubicBezTo>
                    <a:cubicBezTo>
                      <a:pt x="16" y="5"/>
                      <a:pt x="18" y="12"/>
                      <a:pt x="19" y="12"/>
                    </a:cubicBezTo>
                    <a:cubicBezTo>
                      <a:pt x="20" y="11"/>
                      <a:pt x="22" y="5"/>
                      <a:pt x="23" y="5"/>
                    </a:cubicBezTo>
                    <a:cubicBezTo>
                      <a:pt x="24" y="5"/>
                      <a:pt x="27" y="8"/>
                      <a:pt x="28" y="7"/>
                    </a:cubicBezTo>
                    <a:cubicBezTo>
                      <a:pt x="28" y="7"/>
                      <a:pt x="30" y="5"/>
                      <a:pt x="30" y="4"/>
                    </a:cubicBezTo>
                    <a:cubicBezTo>
                      <a:pt x="30" y="4"/>
                      <a:pt x="30" y="3"/>
                      <a:pt x="30" y="3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35" y="3"/>
                      <a:pt x="36" y="0"/>
                      <a:pt x="38" y="0"/>
                    </a:cubicBezTo>
                    <a:cubicBezTo>
                      <a:pt x="38" y="0"/>
                      <a:pt x="42" y="0"/>
                      <a:pt x="43" y="0"/>
                    </a:cubicBezTo>
                    <a:cubicBezTo>
                      <a:pt x="44" y="1"/>
                      <a:pt x="46" y="3"/>
                      <a:pt x="47" y="4"/>
                    </a:cubicBezTo>
                    <a:cubicBezTo>
                      <a:pt x="48" y="4"/>
                      <a:pt x="51" y="4"/>
                      <a:pt x="54" y="5"/>
                    </a:cubicBezTo>
                    <a:cubicBezTo>
                      <a:pt x="53" y="12"/>
                      <a:pt x="53" y="12"/>
                      <a:pt x="53" y="12"/>
                    </a:cubicBezTo>
                    <a:cubicBezTo>
                      <a:pt x="52" y="12"/>
                      <a:pt x="43" y="15"/>
                      <a:pt x="43" y="15"/>
                    </a:cubicBezTo>
                    <a:cubicBezTo>
                      <a:pt x="43" y="16"/>
                      <a:pt x="46" y="19"/>
                      <a:pt x="46" y="21"/>
                    </a:cubicBezTo>
                    <a:cubicBezTo>
                      <a:pt x="46" y="22"/>
                      <a:pt x="41" y="24"/>
                      <a:pt x="44" y="27"/>
                    </a:cubicBezTo>
                    <a:cubicBezTo>
                      <a:pt x="47" y="30"/>
                      <a:pt x="53" y="31"/>
                      <a:pt x="55" y="33"/>
                    </a:cubicBezTo>
                    <a:cubicBezTo>
                      <a:pt x="56" y="35"/>
                      <a:pt x="61" y="45"/>
                      <a:pt x="62" y="45"/>
                    </a:cubicBezTo>
                    <a:cubicBezTo>
                      <a:pt x="63" y="46"/>
                      <a:pt x="68" y="48"/>
                      <a:pt x="69" y="48"/>
                    </a:cubicBezTo>
                    <a:cubicBezTo>
                      <a:pt x="70" y="48"/>
                      <a:pt x="74" y="47"/>
                      <a:pt x="75" y="49"/>
                    </a:cubicBezTo>
                    <a:cubicBezTo>
                      <a:pt x="75" y="50"/>
                      <a:pt x="72" y="52"/>
                      <a:pt x="73" y="53"/>
                    </a:cubicBezTo>
                    <a:cubicBezTo>
                      <a:pt x="74" y="53"/>
                      <a:pt x="85" y="58"/>
                      <a:pt x="87" y="59"/>
                    </a:cubicBezTo>
                    <a:cubicBezTo>
                      <a:pt x="90" y="60"/>
                      <a:pt x="92" y="63"/>
                      <a:pt x="92" y="65"/>
                    </a:cubicBezTo>
                    <a:cubicBezTo>
                      <a:pt x="92" y="66"/>
                      <a:pt x="91" y="67"/>
                      <a:pt x="90" y="68"/>
                    </a:cubicBezTo>
                    <a:cubicBezTo>
                      <a:pt x="90" y="69"/>
                      <a:pt x="82" y="62"/>
                      <a:pt x="81" y="63"/>
                    </a:cubicBezTo>
                    <a:cubicBezTo>
                      <a:pt x="80" y="63"/>
                      <a:pt x="77" y="68"/>
                      <a:pt x="78" y="69"/>
                    </a:cubicBezTo>
                    <a:cubicBezTo>
                      <a:pt x="79" y="70"/>
                      <a:pt x="82" y="70"/>
                      <a:pt x="82" y="71"/>
                    </a:cubicBezTo>
                    <a:cubicBezTo>
                      <a:pt x="82" y="73"/>
                      <a:pt x="82" y="75"/>
                      <a:pt x="82" y="76"/>
                    </a:cubicBezTo>
                    <a:cubicBezTo>
                      <a:pt x="81" y="78"/>
                      <a:pt x="78" y="77"/>
                      <a:pt x="78" y="78"/>
                    </a:cubicBezTo>
                    <a:cubicBezTo>
                      <a:pt x="78" y="79"/>
                      <a:pt x="76" y="83"/>
                      <a:pt x="74" y="84"/>
                    </a:cubicBezTo>
                    <a:cubicBezTo>
                      <a:pt x="73" y="84"/>
                      <a:pt x="70" y="85"/>
                      <a:pt x="70" y="84"/>
                    </a:cubicBezTo>
                    <a:cubicBezTo>
                      <a:pt x="69" y="81"/>
                      <a:pt x="68" y="84"/>
                      <a:pt x="67" y="86"/>
                    </a:cubicBezTo>
                    <a:cubicBezTo>
                      <a:pt x="67" y="88"/>
                      <a:pt x="68" y="93"/>
                      <a:pt x="66" y="94"/>
                    </a:cubicBezTo>
                    <a:cubicBezTo>
                      <a:pt x="65" y="95"/>
                      <a:pt x="62" y="96"/>
                      <a:pt x="61" y="94"/>
                    </a:cubicBezTo>
                    <a:cubicBezTo>
                      <a:pt x="60" y="93"/>
                      <a:pt x="58" y="92"/>
                      <a:pt x="56" y="90"/>
                    </a:cubicBezTo>
                    <a:cubicBezTo>
                      <a:pt x="53" y="89"/>
                      <a:pt x="45" y="85"/>
                      <a:pt x="45" y="83"/>
                    </a:cubicBezTo>
                    <a:cubicBezTo>
                      <a:pt x="46" y="82"/>
                      <a:pt x="49" y="81"/>
                      <a:pt x="52" y="81"/>
                    </a:cubicBezTo>
                    <a:cubicBezTo>
                      <a:pt x="55" y="82"/>
                      <a:pt x="63" y="81"/>
                      <a:pt x="65" y="81"/>
                    </a:cubicBezTo>
                    <a:cubicBezTo>
                      <a:pt x="67" y="81"/>
                      <a:pt x="69" y="81"/>
                      <a:pt x="70" y="79"/>
                    </a:cubicBezTo>
                    <a:cubicBezTo>
                      <a:pt x="72" y="78"/>
                      <a:pt x="73" y="79"/>
                      <a:pt x="73" y="76"/>
                    </a:cubicBezTo>
                    <a:cubicBezTo>
                      <a:pt x="73" y="74"/>
                      <a:pt x="71" y="67"/>
                      <a:pt x="70" y="66"/>
                    </a:cubicBezTo>
                    <a:cubicBezTo>
                      <a:pt x="68" y="64"/>
                      <a:pt x="65" y="65"/>
                      <a:pt x="65" y="63"/>
                    </a:cubicBezTo>
                    <a:cubicBezTo>
                      <a:pt x="64" y="62"/>
                      <a:pt x="58" y="55"/>
                      <a:pt x="55" y="55"/>
                    </a:cubicBezTo>
                    <a:cubicBezTo>
                      <a:pt x="52" y="54"/>
                      <a:pt x="50" y="54"/>
                      <a:pt x="47" y="53"/>
                    </a:cubicBezTo>
                    <a:cubicBezTo>
                      <a:pt x="45" y="51"/>
                      <a:pt x="38" y="46"/>
                      <a:pt x="37" y="44"/>
                    </a:cubicBezTo>
                    <a:cubicBezTo>
                      <a:pt x="35" y="42"/>
                      <a:pt x="32" y="41"/>
                      <a:pt x="31" y="38"/>
                    </a:cubicBezTo>
                    <a:cubicBezTo>
                      <a:pt x="30" y="34"/>
                      <a:pt x="29" y="31"/>
                      <a:pt x="27" y="28"/>
                    </a:cubicBezTo>
                    <a:cubicBezTo>
                      <a:pt x="24" y="25"/>
                      <a:pt x="21" y="25"/>
                      <a:pt x="18" y="25"/>
                    </a:cubicBezTo>
                    <a:cubicBezTo>
                      <a:pt x="15" y="25"/>
                      <a:pt x="15" y="30"/>
                      <a:pt x="12" y="30"/>
                    </a:cubicBezTo>
                    <a:cubicBezTo>
                      <a:pt x="11" y="30"/>
                      <a:pt x="11" y="30"/>
                      <a:pt x="10" y="30"/>
                    </a:cubicBezTo>
                    <a:cubicBezTo>
                      <a:pt x="10" y="29"/>
                      <a:pt x="10" y="27"/>
                      <a:pt x="9" y="26"/>
                    </a:cubicBezTo>
                    <a:cubicBezTo>
                      <a:pt x="7" y="25"/>
                      <a:pt x="3" y="27"/>
                      <a:pt x="3" y="25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9" name="Freeform 157"/>
            <p:cNvSpPr>
              <a:spLocks/>
            </p:cNvSpPr>
            <p:nvPr/>
          </p:nvSpPr>
          <p:spPr bwMode="auto">
            <a:xfrm>
              <a:off x="5818774" y="3444867"/>
              <a:ext cx="195296" cy="197680"/>
            </a:xfrm>
            <a:custGeom>
              <a:avLst/>
              <a:gdLst>
                <a:gd name="T0" fmla="*/ 25638 w 70"/>
                <a:gd name="T1" fmla="*/ 4116 h 75"/>
                <a:gd name="T2" fmla="*/ 48461 w 70"/>
                <a:gd name="T3" fmla="*/ 3502 h 75"/>
                <a:gd name="T4" fmla="*/ 60628 w 70"/>
                <a:gd name="T5" fmla="*/ 4347 h 75"/>
                <a:gd name="T6" fmla="*/ 80307 w 70"/>
                <a:gd name="T7" fmla="*/ 3343 h 75"/>
                <a:gd name="T8" fmla="*/ 70405 w 70"/>
                <a:gd name="T9" fmla="*/ 1962 h 75"/>
                <a:gd name="T10" fmla="*/ 60628 w 70"/>
                <a:gd name="T11" fmla="*/ 0 h 75"/>
                <a:gd name="T12" fmla="*/ 98128 w 70"/>
                <a:gd name="T13" fmla="*/ 0 h 75"/>
                <a:gd name="T14" fmla="*/ 103866 w 70"/>
                <a:gd name="T15" fmla="*/ 964 h 75"/>
                <a:gd name="T16" fmla="*/ 122158 w 70"/>
                <a:gd name="T17" fmla="*/ 1417 h 75"/>
                <a:gd name="T18" fmla="*/ 128631 w 70"/>
                <a:gd name="T19" fmla="*/ 1417 h 75"/>
                <a:gd name="T20" fmla="*/ 133080 w 70"/>
                <a:gd name="T21" fmla="*/ 2799 h 75"/>
                <a:gd name="T22" fmla="*/ 156622 w 70"/>
                <a:gd name="T23" fmla="*/ 2343 h 75"/>
                <a:gd name="T24" fmla="*/ 173228 w 70"/>
                <a:gd name="T25" fmla="*/ 1417 h 75"/>
                <a:gd name="T26" fmla="*/ 183976 w 70"/>
                <a:gd name="T27" fmla="*/ 1375 h 75"/>
                <a:gd name="T28" fmla="*/ 187030 w 70"/>
                <a:gd name="T29" fmla="*/ 2799 h 75"/>
                <a:gd name="T30" fmla="*/ 207527 w 70"/>
                <a:gd name="T31" fmla="*/ 2885 h 75"/>
                <a:gd name="T32" fmla="*/ 207527 w 70"/>
                <a:gd name="T33" fmla="*/ 2885 h 75"/>
                <a:gd name="T34" fmla="*/ 210991 w 70"/>
                <a:gd name="T35" fmla="*/ 4347 h 75"/>
                <a:gd name="T36" fmla="*/ 202433 w 70"/>
                <a:gd name="T37" fmla="*/ 5872 h 75"/>
                <a:gd name="T38" fmla="*/ 216559 w 70"/>
                <a:gd name="T39" fmla="*/ 7128 h 75"/>
                <a:gd name="T40" fmla="*/ 216559 w 70"/>
                <a:gd name="T41" fmla="*/ 8848 h 75"/>
                <a:gd name="T42" fmla="*/ 225978 w 70"/>
                <a:gd name="T43" fmla="*/ 10971 h 75"/>
                <a:gd name="T44" fmla="*/ 225978 w 70"/>
                <a:gd name="T45" fmla="*/ 11596 h 75"/>
                <a:gd name="T46" fmla="*/ 216559 w 70"/>
                <a:gd name="T47" fmla="*/ 11951 h 75"/>
                <a:gd name="T48" fmla="*/ 156622 w 70"/>
                <a:gd name="T49" fmla="*/ 14007 h 75"/>
                <a:gd name="T50" fmla="*/ 196938 w 70"/>
                <a:gd name="T51" fmla="*/ 18811 h 75"/>
                <a:gd name="T52" fmla="*/ 177556 w 70"/>
                <a:gd name="T53" fmla="*/ 19758 h 75"/>
                <a:gd name="T54" fmla="*/ 168508 w 70"/>
                <a:gd name="T55" fmla="*/ 21349 h 75"/>
                <a:gd name="T56" fmla="*/ 139503 w 70"/>
                <a:gd name="T57" fmla="*/ 21363 h 75"/>
                <a:gd name="T58" fmla="*/ 112863 w 70"/>
                <a:gd name="T59" fmla="*/ 22110 h 75"/>
                <a:gd name="T60" fmla="*/ 100469 w 70"/>
                <a:gd name="T61" fmla="*/ 21845 h 75"/>
                <a:gd name="T62" fmla="*/ 94513 w 70"/>
                <a:gd name="T63" fmla="*/ 21363 h 75"/>
                <a:gd name="T64" fmla="*/ 70405 w 70"/>
                <a:gd name="T65" fmla="*/ 21349 h 75"/>
                <a:gd name="T66" fmla="*/ 53060 w 70"/>
                <a:gd name="T67" fmla="*/ 21363 h 75"/>
                <a:gd name="T68" fmla="*/ 42486 w 70"/>
                <a:gd name="T69" fmla="*/ 21363 h 75"/>
                <a:gd name="T70" fmla="*/ 54008 w 70"/>
                <a:gd name="T71" fmla="*/ 18303 h 75"/>
                <a:gd name="T72" fmla="*/ 19667 w 70"/>
                <a:gd name="T73" fmla="*/ 17050 h 75"/>
                <a:gd name="T74" fmla="*/ 14208 w 70"/>
                <a:gd name="T75" fmla="*/ 15994 h 75"/>
                <a:gd name="T76" fmla="*/ 14208 w 70"/>
                <a:gd name="T77" fmla="*/ 15652 h 75"/>
                <a:gd name="T78" fmla="*/ 9336 w 70"/>
                <a:gd name="T79" fmla="*/ 13558 h 75"/>
                <a:gd name="T80" fmla="*/ 5634 w 70"/>
                <a:gd name="T81" fmla="*/ 12623 h 75"/>
                <a:gd name="T82" fmla="*/ 3400 w 70"/>
                <a:gd name="T83" fmla="*/ 11702 h 75"/>
                <a:gd name="T84" fmla="*/ 5634 w 70"/>
                <a:gd name="T85" fmla="*/ 10214 h 75"/>
                <a:gd name="T86" fmla="*/ 3400 w 70"/>
                <a:gd name="T87" fmla="*/ 9115 h 75"/>
                <a:gd name="T88" fmla="*/ 25638 w 70"/>
                <a:gd name="T89" fmla="*/ 8848 h 75"/>
                <a:gd name="T90" fmla="*/ 29244 w 70"/>
                <a:gd name="T91" fmla="*/ 6804 h 75"/>
                <a:gd name="T92" fmla="*/ 29244 w 70"/>
                <a:gd name="T93" fmla="*/ 5390 h 75"/>
                <a:gd name="T94" fmla="*/ 25638 w 70"/>
                <a:gd name="T95" fmla="*/ 4116 h 7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0" h="75">
                  <a:moveTo>
                    <a:pt x="8" y="14"/>
                  </a:moveTo>
                  <a:cubicBezTo>
                    <a:pt x="10" y="13"/>
                    <a:pt x="14" y="12"/>
                    <a:pt x="15" y="12"/>
                  </a:cubicBezTo>
                  <a:cubicBezTo>
                    <a:pt x="16" y="12"/>
                    <a:pt x="18" y="15"/>
                    <a:pt x="19" y="15"/>
                  </a:cubicBezTo>
                  <a:cubicBezTo>
                    <a:pt x="20" y="14"/>
                    <a:pt x="25" y="12"/>
                    <a:pt x="25" y="11"/>
                  </a:cubicBezTo>
                  <a:cubicBezTo>
                    <a:pt x="25" y="9"/>
                    <a:pt x="23" y="8"/>
                    <a:pt x="22" y="6"/>
                  </a:cubicBezTo>
                  <a:cubicBezTo>
                    <a:pt x="22" y="5"/>
                    <a:pt x="19" y="2"/>
                    <a:pt x="1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"/>
                    <a:pt x="31" y="3"/>
                    <a:pt x="32" y="3"/>
                  </a:cubicBezTo>
                  <a:cubicBezTo>
                    <a:pt x="33" y="4"/>
                    <a:pt x="36" y="5"/>
                    <a:pt x="38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1" y="6"/>
                    <a:pt x="40" y="9"/>
                    <a:pt x="41" y="9"/>
                  </a:cubicBezTo>
                  <a:cubicBezTo>
                    <a:pt x="42" y="9"/>
                    <a:pt x="47" y="8"/>
                    <a:pt x="48" y="8"/>
                  </a:cubicBezTo>
                  <a:cubicBezTo>
                    <a:pt x="49" y="7"/>
                    <a:pt x="53" y="5"/>
                    <a:pt x="54" y="5"/>
                  </a:cubicBezTo>
                  <a:cubicBezTo>
                    <a:pt x="55" y="4"/>
                    <a:pt x="56" y="3"/>
                    <a:pt x="57" y="4"/>
                  </a:cubicBezTo>
                  <a:cubicBezTo>
                    <a:pt x="58" y="4"/>
                    <a:pt x="57" y="8"/>
                    <a:pt x="58" y="9"/>
                  </a:cubicBezTo>
                  <a:cubicBezTo>
                    <a:pt x="59" y="9"/>
                    <a:pt x="62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5" y="13"/>
                    <a:pt x="65" y="15"/>
                  </a:cubicBezTo>
                  <a:cubicBezTo>
                    <a:pt x="65" y="16"/>
                    <a:pt x="63" y="19"/>
                    <a:pt x="63" y="20"/>
                  </a:cubicBezTo>
                  <a:cubicBezTo>
                    <a:pt x="63" y="21"/>
                    <a:pt x="65" y="23"/>
                    <a:pt x="67" y="24"/>
                  </a:cubicBezTo>
                  <a:cubicBezTo>
                    <a:pt x="67" y="26"/>
                    <a:pt x="67" y="28"/>
                    <a:pt x="67" y="30"/>
                  </a:cubicBezTo>
                  <a:cubicBezTo>
                    <a:pt x="67" y="32"/>
                    <a:pt x="70" y="35"/>
                    <a:pt x="70" y="37"/>
                  </a:cubicBezTo>
                  <a:cubicBezTo>
                    <a:pt x="70" y="37"/>
                    <a:pt x="70" y="38"/>
                    <a:pt x="70" y="39"/>
                  </a:cubicBezTo>
                  <a:cubicBezTo>
                    <a:pt x="69" y="40"/>
                    <a:pt x="68" y="41"/>
                    <a:pt x="67" y="41"/>
                  </a:cubicBezTo>
                  <a:cubicBezTo>
                    <a:pt x="65" y="41"/>
                    <a:pt x="48" y="47"/>
                    <a:pt x="48" y="48"/>
                  </a:cubicBezTo>
                  <a:cubicBezTo>
                    <a:pt x="48" y="49"/>
                    <a:pt x="62" y="62"/>
                    <a:pt x="61" y="64"/>
                  </a:cubicBezTo>
                  <a:cubicBezTo>
                    <a:pt x="60" y="65"/>
                    <a:pt x="57" y="66"/>
                    <a:pt x="55" y="67"/>
                  </a:cubicBezTo>
                  <a:cubicBezTo>
                    <a:pt x="54" y="68"/>
                    <a:pt x="56" y="75"/>
                    <a:pt x="52" y="72"/>
                  </a:cubicBezTo>
                  <a:cubicBezTo>
                    <a:pt x="51" y="72"/>
                    <a:pt x="44" y="73"/>
                    <a:pt x="43" y="73"/>
                  </a:cubicBezTo>
                  <a:cubicBezTo>
                    <a:pt x="42" y="73"/>
                    <a:pt x="37" y="75"/>
                    <a:pt x="35" y="75"/>
                  </a:cubicBezTo>
                  <a:cubicBezTo>
                    <a:pt x="33" y="75"/>
                    <a:pt x="32" y="74"/>
                    <a:pt x="31" y="74"/>
                  </a:cubicBezTo>
                  <a:cubicBezTo>
                    <a:pt x="30" y="74"/>
                    <a:pt x="30" y="74"/>
                    <a:pt x="29" y="73"/>
                  </a:cubicBezTo>
                  <a:cubicBezTo>
                    <a:pt x="27" y="73"/>
                    <a:pt x="23" y="72"/>
                    <a:pt x="22" y="72"/>
                  </a:cubicBezTo>
                  <a:cubicBezTo>
                    <a:pt x="21" y="72"/>
                    <a:pt x="17" y="73"/>
                    <a:pt x="16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4" y="70"/>
                    <a:pt x="16" y="63"/>
                    <a:pt x="17" y="62"/>
                  </a:cubicBezTo>
                  <a:cubicBezTo>
                    <a:pt x="18" y="60"/>
                    <a:pt x="8" y="59"/>
                    <a:pt x="6" y="58"/>
                  </a:cubicBezTo>
                  <a:cubicBezTo>
                    <a:pt x="5" y="57"/>
                    <a:pt x="4" y="56"/>
                    <a:pt x="4" y="55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4" y="50"/>
                    <a:pt x="5" y="47"/>
                    <a:pt x="3" y="46"/>
                  </a:cubicBezTo>
                  <a:cubicBezTo>
                    <a:pt x="2" y="45"/>
                    <a:pt x="2" y="44"/>
                    <a:pt x="2" y="43"/>
                  </a:cubicBezTo>
                  <a:cubicBezTo>
                    <a:pt x="1" y="42"/>
                    <a:pt x="1" y="41"/>
                    <a:pt x="1" y="40"/>
                  </a:cubicBezTo>
                  <a:cubicBezTo>
                    <a:pt x="1" y="39"/>
                    <a:pt x="3" y="36"/>
                    <a:pt x="2" y="35"/>
                  </a:cubicBezTo>
                  <a:cubicBezTo>
                    <a:pt x="1" y="34"/>
                    <a:pt x="0" y="32"/>
                    <a:pt x="1" y="31"/>
                  </a:cubicBezTo>
                  <a:cubicBezTo>
                    <a:pt x="2" y="31"/>
                    <a:pt x="7" y="31"/>
                    <a:pt x="8" y="30"/>
                  </a:cubicBezTo>
                  <a:cubicBezTo>
                    <a:pt x="9" y="29"/>
                    <a:pt x="9" y="25"/>
                    <a:pt x="9" y="23"/>
                  </a:cubicBezTo>
                  <a:cubicBezTo>
                    <a:pt x="9" y="21"/>
                    <a:pt x="10" y="19"/>
                    <a:pt x="9" y="18"/>
                  </a:cubicBezTo>
                  <a:cubicBezTo>
                    <a:pt x="9" y="17"/>
                    <a:pt x="8" y="14"/>
                    <a:pt x="8" y="14"/>
                  </a:cubicBezTo>
                  <a:close/>
                </a:path>
              </a:pathLst>
            </a:custGeom>
            <a:solidFill>
              <a:srgbClr val="AAB414"/>
            </a:solidFill>
            <a:ln w="9525" cap="flat" cmpd="sng">
              <a:solidFill>
                <a:srgbClr val="969696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1" name="Group 159"/>
            <p:cNvGrpSpPr>
              <a:grpSpLocks/>
            </p:cNvGrpSpPr>
            <p:nvPr/>
          </p:nvGrpSpPr>
          <p:grpSpPr bwMode="auto">
            <a:xfrm>
              <a:off x="5796887" y="2541451"/>
              <a:ext cx="560633" cy="814737"/>
              <a:chOff x="2792" y="919"/>
              <a:chExt cx="407" cy="627"/>
            </a:xfrm>
          </p:grpSpPr>
          <p:sp>
            <p:nvSpPr>
              <p:cNvPr id="230" name="Freeform 160"/>
              <p:cNvSpPr>
                <a:spLocks/>
              </p:cNvSpPr>
              <p:nvPr/>
            </p:nvSpPr>
            <p:spPr bwMode="auto">
              <a:xfrm>
                <a:off x="3035" y="991"/>
                <a:ext cx="59" cy="43"/>
              </a:xfrm>
              <a:custGeom>
                <a:avLst/>
                <a:gdLst>
                  <a:gd name="T0" fmla="*/ 0 w 29"/>
                  <a:gd name="T1" fmla="*/ 456087 h 21"/>
                  <a:gd name="T2" fmla="*/ 165499 w 29"/>
                  <a:gd name="T3" fmla="*/ 276013 h 21"/>
                  <a:gd name="T4" fmla="*/ 939174 w 29"/>
                  <a:gd name="T5" fmla="*/ 0 h 21"/>
                  <a:gd name="T6" fmla="*/ 1187224 w 29"/>
                  <a:gd name="T7" fmla="*/ 276013 h 21"/>
                  <a:gd name="T8" fmla="*/ 1729904 w 29"/>
                  <a:gd name="T9" fmla="*/ 369632 h 21"/>
                  <a:gd name="T10" fmla="*/ 1910733 w 29"/>
                  <a:gd name="T11" fmla="*/ 846066 h 21"/>
                  <a:gd name="T12" fmla="*/ 2494292 w 29"/>
                  <a:gd name="T13" fmla="*/ 933892 h 21"/>
                  <a:gd name="T14" fmla="*/ 1473720 w 29"/>
                  <a:gd name="T15" fmla="*/ 2005884 h 21"/>
                  <a:gd name="T16" fmla="*/ 1307076 w 29"/>
                  <a:gd name="T17" fmla="*/ 1347704 h 21"/>
                  <a:gd name="T18" fmla="*/ 246567 w 29"/>
                  <a:gd name="T19" fmla="*/ 1549773 h 21"/>
                  <a:gd name="T20" fmla="*/ 685021 w 29"/>
                  <a:gd name="T21" fmla="*/ 846066 h 21"/>
                  <a:gd name="T22" fmla="*/ 0 w 29"/>
                  <a:gd name="T23" fmla="*/ 456087 h 2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21">
                    <a:moveTo>
                      <a:pt x="0" y="5"/>
                    </a:moveTo>
                    <a:cubicBezTo>
                      <a:pt x="0" y="3"/>
                      <a:pt x="2" y="3"/>
                      <a:pt x="2" y="3"/>
                    </a:cubicBezTo>
                    <a:cubicBezTo>
                      <a:pt x="2" y="3"/>
                      <a:pt x="10" y="1"/>
                      <a:pt x="11" y="0"/>
                    </a:cubicBezTo>
                    <a:cubicBezTo>
                      <a:pt x="13" y="0"/>
                      <a:pt x="13" y="3"/>
                      <a:pt x="14" y="3"/>
                    </a:cubicBezTo>
                    <a:cubicBezTo>
                      <a:pt x="15" y="3"/>
                      <a:pt x="19" y="4"/>
                      <a:pt x="20" y="4"/>
                    </a:cubicBezTo>
                    <a:cubicBezTo>
                      <a:pt x="21" y="4"/>
                      <a:pt x="21" y="9"/>
                      <a:pt x="22" y="9"/>
                    </a:cubicBezTo>
                    <a:cubicBezTo>
                      <a:pt x="23" y="9"/>
                      <a:pt x="29" y="9"/>
                      <a:pt x="29" y="10"/>
                    </a:cubicBezTo>
                    <a:cubicBezTo>
                      <a:pt x="29" y="10"/>
                      <a:pt x="17" y="21"/>
                      <a:pt x="17" y="21"/>
                    </a:cubicBezTo>
                    <a:cubicBezTo>
                      <a:pt x="16" y="20"/>
                      <a:pt x="16" y="14"/>
                      <a:pt x="15" y="14"/>
                    </a:cubicBezTo>
                    <a:cubicBezTo>
                      <a:pt x="15" y="13"/>
                      <a:pt x="3" y="17"/>
                      <a:pt x="3" y="16"/>
                    </a:cubicBezTo>
                    <a:cubicBezTo>
                      <a:pt x="2" y="16"/>
                      <a:pt x="9" y="10"/>
                      <a:pt x="8" y="9"/>
                    </a:cubicBezTo>
                    <a:cubicBezTo>
                      <a:pt x="7" y="8"/>
                      <a:pt x="1" y="6"/>
                      <a:pt x="0" y="5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1" name="Freeform 161"/>
              <p:cNvSpPr>
                <a:spLocks/>
              </p:cNvSpPr>
              <p:nvPr/>
            </p:nvSpPr>
            <p:spPr bwMode="auto">
              <a:xfrm>
                <a:off x="2995" y="919"/>
                <a:ext cx="144" cy="46"/>
              </a:xfrm>
              <a:custGeom>
                <a:avLst/>
                <a:gdLst>
                  <a:gd name="T0" fmla="*/ 76770 w 71"/>
                  <a:gd name="T1" fmla="*/ 458752 h 23"/>
                  <a:gd name="T2" fmla="*/ 236718 w 71"/>
                  <a:gd name="T3" fmla="*/ 327680 h 23"/>
                  <a:gd name="T4" fmla="*/ 973732 w 71"/>
                  <a:gd name="T5" fmla="*/ 327680 h 23"/>
                  <a:gd name="T6" fmla="*/ 1215474 w 71"/>
                  <a:gd name="T7" fmla="*/ 0 h 23"/>
                  <a:gd name="T8" fmla="*/ 2053957 w 71"/>
                  <a:gd name="T9" fmla="*/ 262144 h 23"/>
                  <a:gd name="T10" fmla="*/ 2790146 w 71"/>
                  <a:gd name="T11" fmla="*/ 524288 h 23"/>
                  <a:gd name="T12" fmla="*/ 3028825 w 71"/>
                  <a:gd name="T13" fmla="*/ 0 h 23"/>
                  <a:gd name="T14" fmla="*/ 3429321 w 71"/>
                  <a:gd name="T15" fmla="*/ 196608 h 23"/>
                  <a:gd name="T16" fmla="*/ 3506157 w 71"/>
                  <a:gd name="T17" fmla="*/ 393216 h 23"/>
                  <a:gd name="T18" fmla="*/ 4005417 w 71"/>
                  <a:gd name="T19" fmla="*/ 131072 h 23"/>
                  <a:gd name="T20" fmla="*/ 5257422 w 71"/>
                  <a:gd name="T21" fmla="*/ 327680 h 23"/>
                  <a:gd name="T22" fmla="*/ 5818967 w 71"/>
                  <a:gd name="T23" fmla="*/ 524288 h 23"/>
                  <a:gd name="T24" fmla="*/ 5658888 w 71"/>
                  <a:gd name="T25" fmla="*/ 851968 h 23"/>
                  <a:gd name="T26" fmla="*/ 4922977 w 71"/>
                  <a:gd name="T27" fmla="*/ 983040 h 23"/>
                  <a:gd name="T28" fmla="*/ 4683783 w 71"/>
                  <a:gd name="T29" fmla="*/ 1376256 h 23"/>
                  <a:gd name="T30" fmla="*/ 3506157 w 71"/>
                  <a:gd name="T31" fmla="*/ 1507328 h 23"/>
                  <a:gd name="T32" fmla="*/ 2869074 w 71"/>
                  <a:gd name="T33" fmla="*/ 1310720 h 23"/>
                  <a:gd name="T34" fmla="*/ 1493379 w 71"/>
                  <a:gd name="T35" fmla="*/ 1179648 h 23"/>
                  <a:gd name="T36" fmla="*/ 2465187 w 71"/>
                  <a:gd name="T37" fmla="*/ 917504 h 23"/>
                  <a:gd name="T38" fmla="*/ 2053957 w 71"/>
                  <a:gd name="T39" fmla="*/ 720896 h 23"/>
                  <a:gd name="T40" fmla="*/ 640480 w 71"/>
                  <a:gd name="T41" fmla="*/ 851968 h 23"/>
                  <a:gd name="T42" fmla="*/ 236718 w 71"/>
                  <a:gd name="T43" fmla="*/ 655360 h 23"/>
                  <a:gd name="T44" fmla="*/ 76770 w 71"/>
                  <a:gd name="T45" fmla="*/ 458752 h 2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71" h="23">
                    <a:moveTo>
                      <a:pt x="1" y="7"/>
                    </a:moveTo>
                    <a:cubicBezTo>
                      <a:pt x="0" y="6"/>
                      <a:pt x="3" y="5"/>
                      <a:pt x="3" y="5"/>
                    </a:cubicBezTo>
                    <a:cubicBezTo>
                      <a:pt x="4" y="5"/>
                      <a:pt x="10" y="6"/>
                      <a:pt x="12" y="5"/>
                    </a:cubicBezTo>
                    <a:cubicBezTo>
                      <a:pt x="13" y="5"/>
                      <a:pt x="13" y="0"/>
                      <a:pt x="15" y="0"/>
                    </a:cubicBezTo>
                    <a:cubicBezTo>
                      <a:pt x="18" y="1"/>
                      <a:pt x="22" y="4"/>
                      <a:pt x="25" y="4"/>
                    </a:cubicBezTo>
                    <a:cubicBezTo>
                      <a:pt x="28" y="4"/>
                      <a:pt x="34" y="9"/>
                      <a:pt x="34" y="8"/>
                    </a:cubicBezTo>
                    <a:cubicBezTo>
                      <a:pt x="34" y="7"/>
                      <a:pt x="35" y="0"/>
                      <a:pt x="37" y="0"/>
                    </a:cubicBezTo>
                    <a:cubicBezTo>
                      <a:pt x="39" y="0"/>
                      <a:pt x="42" y="2"/>
                      <a:pt x="42" y="3"/>
                    </a:cubicBezTo>
                    <a:cubicBezTo>
                      <a:pt x="42" y="3"/>
                      <a:pt x="42" y="6"/>
                      <a:pt x="43" y="6"/>
                    </a:cubicBezTo>
                    <a:cubicBezTo>
                      <a:pt x="44" y="6"/>
                      <a:pt x="47" y="2"/>
                      <a:pt x="49" y="2"/>
                    </a:cubicBezTo>
                    <a:cubicBezTo>
                      <a:pt x="51" y="3"/>
                      <a:pt x="63" y="5"/>
                      <a:pt x="64" y="5"/>
                    </a:cubicBezTo>
                    <a:cubicBezTo>
                      <a:pt x="65" y="5"/>
                      <a:pt x="70" y="6"/>
                      <a:pt x="71" y="8"/>
                    </a:cubicBezTo>
                    <a:cubicBezTo>
                      <a:pt x="71" y="10"/>
                      <a:pt x="70" y="13"/>
                      <a:pt x="69" y="13"/>
                    </a:cubicBezTo>
                    <a:cubicBezTo>
                      <a:pt x="69" y="13"/>
                      <a:pt x="60" y="14"/>
                      <a:pt x="60" y="15"/>
                    </a:cubicBezTo>
                    <a:cubicBezTo>
                      <a:pt x="59" y="17"/>
                      <a:pt x="61" y="22"/>
                      <a:pt x="57" y="21"/>
                    </a:cubicBezTo>
                    <a:cubicBezTo>
                      <a:pt x="54" y="21"/>
                      <a:pt x="47" y="23"/>
                      <a:pt x="43" y="23"/>
                    </a:cubicBezTo>
                    <a:cubicBezTo>
                      <a:pt x="39" y="22"/>
                      <a:pt x="37" y="20"/>
                      <a:pt x="35" y="20"/>
                    </a:cubicBezTo>
                    <a:cubicBezTo>
                      <a:pt x="34" y="20"/>
                      <a:pt x="19" y="19"/>
                      <a:pt x="18" y="18"/>
                    </a:cubicBezTo>
                    <a:cubicBezTo>
                      <a:pt x="17" y="17"/>
                      <a:pt x="30" y="15"/>
                      <a:pt x="30" y="14"/>
                    </a:cubicBezTo>
                    <a:cubicBezTo>
                      <a:pt x="30" y="13"/>
                      <a:pt x="25" y="11"/>
                      <a:pt x="25" y="11"/>
                    </a:cubicBezTo>
                    <a:cubicBezTo>
                      <a:pt x="25" y="11"/>
                      <a:pt x="10" y="14"/>
                      <a:pt x="8" y="13"/>
                    </a:cubicBezTo>
                    <a:cubicBezTo>
                      <a:pt x="6" y="12"/>
                      <a:pt x="4" y="11"/>
                      <a:pt x="3" y="10"/>
                    </a:cubicBezTo>
                    <a:cubicBezTo>
                      <a:pt x="2" y="9"/>
                      <a:pt x="1" y="7"/>
                      <a:pt x="1" y="7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" name="Freeform 162"/>
              <p:cNvSpPr>
                <a:spLocks/>
              </p:cNvSpPr>
              <p:nvPr/>
            </p:nvSpPr>
            <p:spPr bwMode="auto">
              <a:xfrm>
                <a:off x="2884" y="933"/>
                <a:ext cx="168" cy="121"/>
              </a:xfrm>
              <a:custGeom>
                <a:avLst/>
                <a:gdLst>
                  <a:gd name="T0" fmla="*/ 0 w 83"/>
                  <a:gd name="T1" fmla="*/ 511850 h 60"/>
                  <a:gd name="T2" fmla="*/ 467698 w 83"/>
                  <a:gd name="T3" fmla="*/ 365753 h 60"/>
                  <a:gd name="T4" fmla="*/ 1102416 w 83"/>
                  <a:gd name="T5" fmla="*/ 439666 h 60"/>
                  <a:gd name="T6" fmla="*/ 1916143 w 83"/>
                  <a:gd name="T7" fmla="*/ 293572 h 60"/>
                  <a:gd name="T8" fmla="*/ 1569835 w 83"/>
                  <a:gd name="T9" fmla="*/ 664213 h 60"/>
                  <a:gd name="T10" fmla="*/ 1916143 w 83"/>
                  <a:gd name="T11" fmla="*/ 959917 h 60"/>
                  <a:gd name="T12" fmla="*/ 2308543 w 83"/>
                  <a:gd name="T13" fmla="*/ 439666 h 60"/>
                  <a:gd name="T14" fmla="*/ 2785236 w 83"/>
                  <a:gd name="T15" fmla="*/ 809716 h 60"/>
                  <a:gd name="T16" fmla="*/ 3408536 w 83"/>
                  <a:gd name="T17" fmla="*/ 1487497 h 60"/>
                  <a:gd name="T18" fmla="*/ 3102747 w 83"/>
                  <a:gd name="T19" fmla="*/ 293572 h 60"/>
                  <a:gd name="T20" fmla="*/ 3485899 w 83"/>
                  <a:gd name="T21" fmla="*/ 72185 h 60"/>
                  <a:gd name="T22" fmla="*/ 4202984 w 83"/>
                  <a:gd name="T23" fmla="*/ 511850 h 60"/>
                  <a:gd name="T24" fmla="*/ 4202984 w 83"/>
                  <a:gd name="T25" fmla="*/ 1032231 h 60"/>
                  <a:gd name="T26" fmla="*/ 4747625 w 83"/>
                  <a:gd name="T27" fmla="*/ 809716 h 60"/>
                  <a:gd name="T28" fmla="*/ 5018923 w 83"/>
                  <a:gd name="T29" fmla="*/ 1267183 h 60"/>
                  <a:gd name="T30" fmla="*/ 5411428 w 83"/>
                  <a:gd name="T31" fmla="*/ 1193941 h 60"/>
                  <a:gd name="T32" fmla="*/ 6205616 w 83"/>
                  <a:gd name="T33" fmla="*/ 1487497 h 60"/>
                  <a:gd name="T34" fmla="*/ 6588889 w 83"/>
                  <a:gd name="T35" fmla="*/ 1714725 h 60"/>
                  <a:gd name="T36" fmla="*/ 6355821 w 83"/>
                  <a:gd name="T37" fmla="*/ 1860294 h 60"/>
                  <a:gd name="T38" fmla="*/ 5093663 w 83"/>
                  <a:gd name="T39" fmla="*/ 2081666 h 60"/>
                  <a:gd name="T40" fmla="*/ 5018923 w 83"/>
                  <a:gd name="T41" fmla="*/ 2629832 h 60"/>
                  <a:gd name="T42" fmla="*/ 4595148 w 83"/>
                  <a:gd name="T43" fmla="*/ 2701317 h 60"/>
                  <a:gd name="T44" fmla="*/ 4595148 w 83"/>
                  <a:gd name="T45" fmla="*/ 3221837 h 60"/>
                  <a:gd name="T46" fmla="*/ 4279938 w 83"/>
                  <a:gd name="T47" fmla="*/ 3293069 h 60"/>
                  <a:gd name="T48" fmla="*/ 3953605 w 83"/>
                  <a:gd name="T49" fmla="*/ 4126770 h 60"/>
                  <a:gd name="T50" fmla="*/ 3721447 w 83"/>
                  <a:gd name="T51" fmla="*/ 4489415 h 60"/>
                  <a:gd name="T52" fmla="*/ 2710644 w 83"/>
                  <a:gd name="T53" fmla="*/ 3978801 h 60"/>
                  <a:gd name="T54" fmla="*/ 1916143 w 83"/>
                  <a:gd name="T55" fmla="*/ 3458029 h 60"/>
                  <a:gd name="T56" fmla="*/ 3255225 w 83"/>
                  <a:gd name="T57" fmla="*/ 3221837 h 60"/>
                  <a:gd name="T58" fmla="*/ 3255225 w 83"/>
                  <a:gd name="T59" fmla="*/ 2856118 h 60"/>
                  <a:gd name="T60" fmla="*/ 1838572 w 83"/>
                  <a:gd name="T61" fmla="*/ 2928301 h 60"/>
                  <a:gd name="T62" fmla="*/ 1838572 w 83"/>
                  <a:gd name="T63" fmla="*/ 2701317 h 60"/>
                  <a:gd name="T64" fmla="*/ 2710644 w 83"/>
                  <a:gd name="T65" fmla="*/ 2483170 h 60"/>
                  <a:gd name="T66" fmla="*/ 3328780 w 83"/>
                  <a:gd name="T67" fmla="*/ 2335467 h 60"/>
                  <a:gd name="T68" fmla="*/ 3721447 w 83"/>
                  <a:gd name="T69" fmla="*/ 2335467 h 60"/>
                  <a:gd name="T70" fmla="*/ 3560681 w 83"/>
                  <a:gd name="T71" fmla="*/ 2008277 h 60"/>
                  <a:gd name="T72" fmla="*/ 2945333 w 83"/>
                  <a:gd name="T73" fmla="*/ 1935833 h 60"/>
                  <a:gd name="T74" fmla="*/ 2785236 w 83"/>
                  <a:gd name="T75" fmla="*/ 1714725 h 60"/>
                  <a:gd name="T76" fmla="*/ 2308543 w 83"/>
                  <a:gd name="T77" fmla="*/ 1788098 h 60"/>
                  <a:gd name="T78" fmla="*/ 2231396 w 83"/>
                  <a:gd name="T79" fmla="*/ 2081666 h 60"/>
                  <a:gd name="T80" fmla="*/ 1569835 w 83"/>
                  <a:gd name="T81" fmla="*/ 2261914 h 60"/>
                  <a:gd name="T82" fmla="*/ 1177731 w 83"/>
                  <a:gd name="T83" fmla="*/ 2153842 h 60"/>
                  <a:gd name="T84" fmla="*/ 544646 w 83"/>
                  <a:gd name="T85" fmla="*/ 1632927 h 60"/>
                  <a:gd name="T86" fmla="*/ 869102 w 83"/>
                  <a:gd name="T87" fmla="*/ 1487497 h 60"/>
                  <a:gd name="T88" fmla="*/ 623169 w 83"/>
                  <a:gd name="T89" fmla="*/ 1121610 h 60"/>
                  <a:gd name="T90" fmla="*/ 231065 w 83"/>
                  <a:gd name="T91" fmla="*/ 1193941 h 60"/>
                  <a:gd name="T92" fmla="*/ 0 w 83"/>
                  <a:gd name="T93" fmla="*/ 511850 h 6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83" h="60">
                    <a:moveTo>
                      <a:pt x="0" y="7"/>
                    </a:moveTo>
                    <a:cubicBezTo>
                      <a:pt x="0" y="6"/>
                      <a:pt x="4" y="5"/>
                      <a:pt x="6" y="5"/>
                    </a:cubicBezTo>
                    <a:cubicBezTo>
                      <a:pt x="8" y="5"/>
                      <a:pt x="13" y="6"/>
                      <a:pt x="14" y="6"/>
                    </a:cubicBezTo>
                    <a:cubicBezTo>
                      <a:pt x="16" y="6"/>
                      <a:pt x="23" y="3"/>
                      <a:pt x="24" y="4"/>
                    </a:cubicBezTo>
                    <a:cubicBezTo>
                      <a:pt x="24" y="5"/>
                      <a:pt x="20" y="8"/>
                      <a:pt x="20" y="9"/>
                    </a:cubicBezTo>
                    <a:cubicBezTo>
                      <a:pt x="19" y="11"/>
                      <a:pt x="22" y="13"/>
                      <a:pt x="24" y="13"/>
                    </a:cubicBezTo>
                    <a:cubicBezTo>
                      <a:pt x="26" y="13"/>
                      <a:pt x="28" y="6"/>
                      <a:pt x="29" y="6"/>
                    </a:cubicBezTo>
                    <a:cubicBezTo>
                      <a:pt x="30" y="5"/>
                      <a:pt x="34" y="10"/>
                      <a:pt x="35" y="11"/>
                    </a:cubicBezTo>
                    <a:cubicBezTo>
                      <a:pt x="36" y="13"/>
                      <a:pt x="42" y="20"/>
                      <a:pt x="43" y="20"/>
                    </a:cubicBezTo>
                    <a:cubicBezTo>
                      <a:pt x="45" y="20"/>
                      <a:pt x="38" y="5"/>
                      <a:pt x="39" y="4"/>
                    </a:cubicBezTo>
                    <a:cubicBezTo>
                      <a:pt x="40" y="3"/>
                      <a:pt x="42" y="0"/>
                      <a:pt x="44" y="1"/>
                    </a:cubicBezTo>
                    <a:cubicBezTo>
                      <a:pt x="45" y="2"/>
                      <a:pt x="53" y="6"/>
                      <a:pt x="53" y="7"/>
                    </a:cubicBezTo>
                    <a:cubicBezTo>
                      <a:pt x="53" y="8"/>
                      <a:pt x="53" y="14"/>
                      <a:pt x="53" y="14"/>
                    </a:cubicBezTo>
                    <a:cubicBezTo>
                      <a:pt x="54" y="14"/>
                      <a:pt x="59" y="10"/>
                      <a:pt x="60" y="11"/>
                    </a:cubicBezTo>
                    <a:cubicBezTo>
                      <a:pt x="60" y="11"/>
                      <a:pt x="62" y="16"/>
                      <a:pt x="63" y="17"/>
                    </a:cubicBezTo>
                    <a:cubicBezTo>
                      <a:pt x="64" y="17"/>
                      <a:pt x="67" y="15"/>
                      <a:pt x="68" y="16"/>
                    </a:cubicBezTo>
                    <a:cubicBezTo>
                      <a:pt x="70" y="16"/>
                      <a:pt x="76" y="20"/>
                      <a:pt x="78" y="20"/>
                    </a:cubicBezTo>
                    <a:cubicBezTo>
                      <a:pt x="79" y="20"/>
                      <a:pt x="83" y="22"/>
                      <a:pt x="83" y="23"/>
                    </a:cubicBezTo>
                    <a:cubicBezTo>
                      <a:pt x="83" y="24"/>
                      <a:pt x="80" y="25"/>
                      <a:pt x="80" y="25"/>
                    </a:cubicBezTo>
                    <a:cubicBezTo>
                      <a:pt x="79" y="26"/>
                      <a:pt x="66" y="27"/>
                      <a:pt x="64" y="28"/>
                    </a:cubicBezTo>
                    <a:cubicBezTo>
                      <a:pt x="63" y="29"/>
                      <a:pt x="64" y="34"/>
                      <a:pt x="63" y="35"/>
                    </a:cubicBezTo>
                    <a:cubicBezTo>
                      <a:pt x="63" y="36"/>
                      <a:pt x="58" y="34"/>
                      <a:pt x="58" y="36"/>
                    </a:cubicBezTo>
                    <a:cubicBezTo>
                      <a:pt x="58" y="37"/>
                      <a:pt x="58" y="42"/>
                      <a:pt x="58" y="43"/>
                    </a:cubicBezTo>
                    <a:cubicBezTo>
                      <a:pt x="57" y="44"/>
                      <a:pt x="54" y="44"/>
                      <a:pt x="54" y="44"/>
                    </a:cubicBezTo>
                    <a:cubicBezTo>
                      <a:pt x="53" y="45"/>
                      <a:pt x="50" y="54"/>
                      <a:pt x="50" y="55"/>
                    </a:cubicBezTo>
                    <a:cubicBezTo>
                      <a:pt x="50" y="56"/>
                      <a:pt x="50" y="60"/>
                      <a:pt x="47" y="60"/>
                    </a:cubicBezTo>
                    <a:cubicBezTo>
                      <a:pt x="43" y="59"/>
                      <a:pt x="37" y="54"/>
                      <a:pt x="34" y="53"/>
                    </a:cubicBezTo>
                    <a:cubicBezTo>
                      <a:pt x="32" y="51"/>
                      <a:pt x="24" y="48"/>
                      <a:pt x="24" y="46"/>
                    </a:cubicBezTo>
                    <a:cubicBezTo>
                      <a:pt x="25" y="45"/>
                      <a:pt x="40" y="43"/>
                      <a:pt x="41" y="43"/>
                    </a:cubicBezTo>
                    <a:cubicBezTo>
                      <a:pt x="42" y="43"/>
                      <a:pt x="41" y="39"/>
                      <a:pt x="41" y="38"/>
                    </a:cubicBezTo>
                    <a:cubicBezTo>
                      <a:pt x="41" y="37"/>
                      <a:pt x="24" y="39"/>
                      <a:pt x="23" y="39"/>
                    </a:cubicBezTo>
                    <a:cubicBezTo>
                      <a:pt x="23" y="40"/>
                      <a:pt x="22" y="36"/>
                      <a:pt x="23" y="36"/>
                    </a:cubicBezTo>
                    <a:cubicBezTo>
                      <a:pt x="24" y="35"/>
                      <a:pt x="33" y="35"/>
                      <a:pt x="34" y="33"/>
                    </a:cubicBezTo>
                    <a:cubicBezTo>
                      <a:pt x="36" y="32"/>
                      <a:pt x="40" y="31"/>
                      <a:pt x="42" y="31"/>
                    </a:cubicBezTo>
                    <a:cubicBezTo>
                      <a:pt x="44" y="31"/>
                      <a:pt x="47" y="31"/>
                      <a:pt x="47" y="31"/>
                    </a:cubicBezTo>
                    <a:cubicBezTo>
                      <a:pt x="48" y="30"/>
                      <a:pt x="45" y="28"/>
                      <a:pt x="45" y="27"/>
                    </a:cubicBezTo>
                    <a:cubicBezTo>
                      <a:pt x="45" y="25"/>
                      <a:pt x="38" y="27"/>
                      <a:pt x="37" y="26"/>
                    </a:cubicBezTo>
                    <a:cubicBezTo>
                      <a:pt x="36" y="24"/>
                      <a:pt x="35" y="24"/>
                      <a:pt x="35" y="23"/>
                    </a:cubicBezTo>
                    <a:cubicBezTo>
                      <a:pt x="35" y="22"/>
                      <a:pt x="30" y="24"/>
                      <a:pt x="29" y="24"/>
                    </a:cubicBezTo>
                    <a:cubicBezTo>
                      <a:pt x="28" y="24"/>
                      <a:pt x="28" y="28"/>
                      <a:pt x="28" y="28"/>
                    </a:cubicBezTo>
                    <a:cubicBezTo>
                      <a:pt x="27" y="29"/>
                      <a:pt x="22" y="30"/>
                      <a:pt x="20" y="30"/>
                    </a:cubicBezTo>
                    <a:cubicBezTo>
                      <a:pt x="18" y="30"/>
                      <a:pt x="17" y="31"/>
                      <a:pt x="15" y="29"/>
                    </a:cubicBezTo>
                    <a:cubicBezTo>
                      <a:pt x="13" y="28"/>
                      <a:pt x="7" y="23"/>
                      <a:pt x="7" y="22"/>
                    </a:cubicBezTo>
                    <a:cubicBezTo>
                      <a:pt x="6" y="20"/>
                      <a:pt x="11" y="21"/>
                      <a:pt x="11" y="20"/>
                    </a:cubicBezTo>
                    <a:cubicBezTo>
                      <a:pt x="11" y="19"/>
                      <a:pt x="9" y="16"/>
                      <a:pt x="8" y="15"/>
                    </a:cubicBezTo>
                    <a:cubicBezTo>
                      <a:pt x="8" y="14"/>
                      <a:pt x="4" y="18"/>
                      <a:pt x="3" y="16"/>
                    </a:cubicBezTo>
                    <a:cubicBezTo>
                      <a:pt x="2" y="15"/>
                      <a:pt x="0" y="9"/>
                      <a:pt x="0" y="7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3" name="Freeform 163"/>
              <p:cNvSpPr>
                <a:spLocks/>
              </p:cNvSpPr>
              <p:nvPr/>
            </p:nvSpPr>
            <p:spPr bwMode="auto">
              <a:xfrm>
                <a:off x="2792" y="1216"/>
                <a:ext cx="407" cy="330"/>
              </a:xfrm>
              <a:custGeom>
                <a:avLst/>
                <a:gdLst>
                  <a:gd name="T0" fmla="*/ 309423 w 201"/>
                  <a:gd name="T1" fmla="*/ 11797186 h 163"/>
                  <a:gd name="T2" fmla="*/ 75467 w 201"/>
                  <a:gd name="T3" fmla="*/ 10588676 h 163"/>
                  <a:gd name="T4" fmla="*/ 75467 w 201"/>
                  <a:gd name="T5" fmla="*/ 10107949 h 163"/>
                  <a:gd name="T6" fmla="*/ 152811 w 201"/>
                  <a:gd name="T7" fmla="*/ 9330938 h 163"/>
                  <a:gd name="T8" fmla="*/ 1030192 w 201"/>
                  <a:gd name="T9" fmla="*/ 8533905 h 163"/>
                  <a:gd name="T10" fmla="*/ 1577259 w 201"/>
                  <a:gd name="T11" fmla="*/ 8293210 h 163"/>
                  <a:gd name="T12" fmla="*/ 2165390 w 201"/>
                  <a:gd name="T13" fmla="*/ 7719662 h 163"/>
                  <a:gd name="T14" fmla="*/ 2721583 w 201"/>
                  <a:gd name="T15" fmla="*/ 8028147 h 163"/>
                  <a:gd name="T16" fmla="*/ 3662864 w 201"/>
                  <a:gd name="T17" fmla="*/ 6923501 h 163"/>
                  <a:gd name="T18" fmla="*/ 3894668 w 201"/>
                  <a:gd name="T19" fmla="*/ 6604306 h 163"/>
                  <a:gd name="T20" fmla="*/ 4301105 w 201"/>
                  <a:gd name="T21" fmla="*/ 6448251 h 163"/>
                  <a:gd name="T22" fmla="*/ 4617478 w 201"/>
                  <a:gd name="T23" fmla="*/ 5674014 h 163"/>
                  <a:gd name="T24" fmla="*/ 5201709 w 201"/>
                  <a:gd name="T25" fmla="*/ 5424329 h 163"/>
                  <a:gd name="T26" fmla="*/ 4889969 w 201"/>
                  <a:gd name="T27" fmla="*/ 4955756 h 163"/>
                  <a:gd name="T28" fmla="*/ 5839869 w 201"/>
                  <a:gd name="T29" fmla="*/ 4138143 h 163"/>
                  <a:gd name="T30" fmla="*/ 6860667 w 201"/>
                  <a:gd name="T31" fmla="*/ 3110760 h 163"/>
                  <a:gd name="T32" fmla="*/ 5359141 w 201"/>
                  <a:gd name="T33" fmla="*/ 3342246 h 163"/>
                  <a:gd name="T34" fmla="*/ 5510867 w 201"/>
                  <a:gd name="T35" fmla="*/ 2878232 h 163"/>
                  <a:gd name="T36" fmla="*/ 6156373 w 201"/>
                  <a:gd name="T37" fmla="*/ 2313419 h 163"/>
                  <a:gd name="T38" fmla="*/ 6936400 w 201"/>
                  <a:gd name="T39" fmla="*/ 2485050 h 163"/>
                  <a:gd name="T40" fmla="*/ 7657883 w 201"/>
                  <a:gd name="T41" fmla="*/ 2238190 h 163"/>
                  <a:gd name="T42" fmla="*/ 8080592 w 201"/>
                  <a:gd name="T43" fmla="*/ 1499188 h 163"/>
                  <a:gd name="T44" fmla="*/ 9274335 w 201"/>
                  <a:gd name="T45" fmla="*/ 1028416 h 163"/>
                  <a:gd name="T46" fmla="*/ 9901579 w 201"/>
                  <a:gd name="T47" fmla="*/ 1421672 h 163"/>
                  <a:gd name="T48" fmla="*/ 10532814 w 201"/>
                  <a:gd name="T49" fmla="*/ 1499188 h 163"/>
                  <a:gd name="T50" fmla="*/ 10927164 w 201"/>
                  <a:gd name="T51" fmla="*/ 948523 h 163"/>
                  <a:gd name="T52" fmla="*/ 11358082 w 201"/>
                  <a:gd name="T53" fmla="*/ 546065 h 163"/>
                  <a:gd name="T54" fmla="*/ 12071774 w 201"/>
                  <a:gd name="T55" fmla="*/ 309030 h 163"/>
                  <a:gd name="T56" fmla="*/ 12850507 w 201"/>
                  <a:gd name="T57" fmla="*/ 0 h 163"/>
                  <a:gd name="T58" fmla="*/ 12313619 w 201"/>
                  <a:gd name="T59" fmla="*/ 1180106 h 163"/>
                  <a:gd name="T60" fmla="*/ 13321958 w 201"/>
                  <a:gd name="T61" fmla="*/ 152642 h 163"/>
                  <a:gd name="T62" fmla="*/ 13891997 w 201"/>
                  <a:gd name="T63" fmla="*/ 383828 h 163"/>
                  <a:gd name="T64" fmla="*/ 14352015 w 201"/>
                  <a:gd name="T65" fmla="*/ 152642 h 163"/>
                  <a:gd name="T66" fmla="*/ 14861874 w 201"/>
                  <a:gd name="T67" fmla="*/ 383828 h 163"/>
                  <a:gd name="T68" fmla="*/ 15968611 w 201"/>
                  <a:gd name="T69" fmla="*/ 948523 h 163"/>
                  <a:gd name="T70" fmla="*/ 14633505 w 201"/>
                  <a:gd name="T71" fmla="*/ 1105530 h 163"/>
                  <a:gd name="T72" fmla="*/ 15506261 w 201"/>
                  <a:gd name="T73" fmla="*/ 1499188 h 163"/>
                  <a:gd name="T74" fmla="*/ 15431806 w 201"/>
                  <a:gd name="T75" fmla="*/ 2004979 h 163"/>
                  <a:gd name="T76" fmla="*/ 14709029 w 201"/>
                  <a:gd name="T77" fmla="*/ 2485050 h 163"/>
                  <a:gd name="T78" fmla="*/ 14633505 w 201"/>
                  <a:gd name="T79" fmla="*/ 1920323 h 163"/>
                  <a:gd name="T80" fmla="*/ 13814789 w 201"/>
                  <a:gd name="T81" fmla="*/ 1421672 h 163"/>
                  <a:gd name="T82" fmla="*/ 12774724 w 201"/>
                  <a:gd name="T83" fmla="*/ 2238190 h 163"/>
                  <a:gd name="T84" fmla="*/ 11668129 w 201"/>
                  <a:gd name="T85" fmla="*/ 2564365 h 163"/>
                  <a:gd name="T86" fmla="*/ 9976674 w 201"/>
                  <a:gd name="T87" fmla="*/ 2082069 h 163"/>
                  <a:gd name="T88" fmla="*/ 9507320 w 201"/>
                  <a:gd name="T89" fmla="*/ 2313419 h 163"/>
                  <a:gd name="T90" fmla="*/ 8241977 w 201"/>
                  <a:gd name="T91" fmla="*/ 2878232 h 163"/>
                  <a:gd name="T92" fmla="*/ 7582953 w 201"/>
                  <a:gd name="T93" fmla="*/ 3342246 h 163"/>
                  <a:gd name="T94" fmla="*/ 7087850 w 201"/>
                  <a:gd name="T95" fmla="*/ 4377535 h 163"/>
                  <a:gd name="T96" fmla="*/ 6004647 w 201"/>
                  <a:gd name="T97" fmla="*/ 5424329 h 163"/>
                  <a:gd name="T98" fmla="*/ 5359141 w 201"/>
                  <a:gd name="T99" fmla="*/ 6681883 h 163"/>
                  <a:gd name="T100" fmla="*/ 5510867 w 201"/>
                  <a:gd name="T101" fmla="*/ 7561851 h 163"/>
                  <a:gd name="T102" fmla="*/ 4464675 w 201"/>
                  <a:gd name="T103" fmla="*/ 7946343 h 163"/>
                  <a:gd name="T104" fmla="*/ 4889969 w 201"/>
                  <a:gd name="T105" fmla="*/ 9952950 h 163"/>
                  <a:gd name="T106" fmla="*/ 4695261 w 201"/>
                  <a:gd name="T107" fmla="*/ 10981770 h 163"/>
                  <a:gd name="T108" fmla="*/ 4223913 w 201"/>
                  <a:gd name="T109" fmla="*/ 12047134 h 163"/>
                  <a:gd name="T110" fmla="*/ 3744898 w 201"/>
                  <a:gd name="T111" fmla="*/ 11797186 h 163"/>
                  <a:gd name="T112" fmla="*/ 3425593 w 201"/>
                  <a:gd name="T113" fmla="*/ 11213191 h 163"/>
                  <a:gd name="T114" fmla="*/ 2721583 w 201"/>
                  <a:gd name="T115" fmla="*/ 12366096 h 163"/>
                  <a:gd name="T116" fmla="*/ 469111 w 201"/>
                  <a:gd name="T117" fmla="*/ 12440423 h 16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01" h="163">
                    <a:moveTo>
                      <a:pt x="11" y="148"/>
                    </a:moveTo>
                    <a:cubicBezTo>
                      <a:pt x="10" y="147"/>
                      <a:pt x="6" y="150"/>
                      <a:pt x="4" y="148"/>
                    </a:cubicBezTo>
                    <a:cubicBezTo>
                      <a:pt x="3" y="147"/>
                      <a:pt x="4" y="142"/>
                      <a:pt x="4" y="141"/>
                    </a:cubicBezTo>
                    <a:cubicBezTo>
                      <a:pt x="3" y="139"/>
                      <a:pt x="1" y="134"/>
                      <a:pt x="1" y="133"/>
                    </a:cubicBezTo>
                    <a:cubicBezTo>
                      <a:pt x="4" y="131"/>
                      <a:pt x="22" y="131"/>
                      <a:pt x="21" y="127"/>
                    </a:cubicBezTo>
                    <a:cubicBezTo>
                      <a:pt x="20" y="124"/>
                      <a:pt x="2" y="128"/>
                      <a:pt x="1" y="127"/>
                    </a:cubicBezTo>
                    <a:cubicBezTo>
                      <a:pt x="0" y="126"/>
                      <a:pt x="1" y="123"/>
                      <a:pt x="2" y="123"/>
                    </a:cubicBezTo>
                    <a:cubicBezTo>
                      <a:pt x="3" y="122"/>
                      <a:pt x="1" y="119"/>
                      <a:pt x="2" y="117"/>
                    </a:cubicBezTo>
                    <a:cubicBezTo>
                      <a:pt x="4" y="116"/>
                      <a:pt x="6" y="113"/>
                      <a:pt x="8" y="113"/>
                    </a:cubicBezTo>
                    <a:cubicBezTo>
                      <a:pt x="10" y="113"/>
                      <a:pt x="12" y="107"/>
                      <a:pt x="13" y="107"/>
                    </a:cubicBezTo>
                    <a:cubicBezTo>
                      <a:pt x="14" y="106"/>
                      <a:pt x="19" y="110"/>
                      <a:pt x="20" y="109"/>
                    </a:cubicBezTo>
                    <a:cubicBezTo>
                      <a:pt x="22" y="109"/>
                      <a:pt x="18" y="104"/>
                      <a:pt x="20" y="104"/>
                    </a:cubicBezTo>
                    <a:cubicBezTo>
                      <a:pt x="21" y="103"/>
                      <a:pt x="24" y="102"/>
                      <a:pt x="26" y="101"/>
                    </a:cubicBezTo>
                    <a:cubicBezTo>
                      <a:pt x="28" y="101"/>
                      <a:pt x="25" y="98"/>
                      <a:pt x="27" y="97"/>
                    </a:cubicBezTo>
                    <a:cubicBezTo>
                      <a:pt x="29" y="96"/>
                      <a:pt x="30" y="96"/>
                      <a:pt x="32" y="96"/>
                    </a:cubicBezTo>
                    <a:cubicBezTo>
                      <a:pt x="33" y="96"/>
                      <a:pt x="33" y="102"/>
                      <a:pt x="34" y="101"/>
                    </a:cubicBezTo>
                    <a:cubicBezTo>
                      <a:pt x="36" y="100"/>
                      <a:pt x="37" y="97"/>
                      <a:pt x="37" y="95"/>
                    </a:cubicBezTo>
                    <a:cubicBezTo>
                      <a:pt x="38" y="94"/>
                      <a:pt x="45" y="87"/>
                      <a:pt x="46" y="87"/>
                    </a:cubicBezTo>
                    <a:cubicBezTo>
                      <a:pt x="46" y="87"/>
                      <a:pt x="48" y="90"/>
                      <a:pt x="50" y="89"/>
                    </a:cubicBezTo>
                    <a:cubicBezTo>
                      <a:pt x="51" y="88"/>
                      <a:pt x="50" y="84"/>
                      <a:pt x="49" y="83"/>
                    </a:cubicBezTo>
                    <a:cubicBezTo>
                      <a:pt x="48" y="82"/>
                      <a:pt x="45" y="81"/>
                      <a:pt x="46" y="81"/>
                    </a:cubicBezTo>
                    <a:cubicBezTo>
                      <a:pt x="46" y="80"/>
                      <a:pt x="52" y="82"/>
                      <a:pt x="54" y="81"/>
                    </a:cubicBezTo>
                    <a:cubicBezTo>
                      <a:pt x="55" y="80"/>
                      <a:pt x="56" y="77"/>
                      <a:pt x="56" y="76"/>
                    </a:cubicBezTo>
                    <a:cubicBezTo>
                      <a:pt x="57" y="75"/>
                      <a:pt x="59" y="72"/>
                      <a:pt x="58" y="71"/>
                    </a:cubicBezTo>
                    <a:cubicBezTo>
                      <a:pt x="57" y="70"/>
                      <a:pt x="56" y="68"/>
                      <a:pt x="57" y="67"/>
                    </a:cubicBezTo>
                    <a:cubicBezTo>
                      <a:pt x="58" y="67"/>
                      <a:pt x="64" y="68"/>
                      <a:pt x="65" y="68"/>
                    </a:cubicBezTo>
                    <a:cubicBezTo>
                      <a:pt x="67" y="67"/>
                      <a:pt x="68" y="66"/>
                      <a:pt x="68" y="65"/>
                    </a:cubicBezTo>
                    <a:cubicBezTo>
                      <a:pt x="69" y="63"/>
                      <a:pt x="61" y="64"/>
                      <a:pt x="61" y="62"/>
                    </a:cubicBezTo>
                    <a:cubicBezTo>
                      <a:pt x="61" y="60"/>
                      <a:pt x="64" y="58"/>
                      <a:pt x="64" y="58"/>
                    </a:cubicBezTo>
                    <a:cubicBezTo>
                      <a:pt x="66" y="56"/>
                      <a:pt x="72" y="54"/>
                      <a:pt x="73" y="52"/>
                    </a:cubicBezTo>
                    <a:cubicBezTo>
                      <a:pt x="75" y="50"/>
                      <a:pt x="75" y="46"/>
                      <a:pt x="77" y="45"/>
                    </a:cubicBezTo>
                    <a:cubicBezTo>
                      <a:pt x="78" y="44"/>
                      <a:pt x="87" y="41"/>
                      <a:pt x="86" y="39"/>
                    </a:cubicBezTo>
                    <a:cubicBezTo>
                      <a:pt x="86" y="38"/>
                      <a:pt x="81" y="37"/>
                      <a:pt x="79" y="38"/>
                    </a:cubicBezTo>
                    <a:cubicBezTo>
                      <a:pt x="77" y="38"/>
                      <a:pt x="69" y="41"/>
                      <a:pt x="67" y="42"/>
                    </a:cubicBezTo>
                    <a:cubicBezTo>
                      <a:pt x="64" y="42"/>
                      <a:pt x="60" y="46"/>
                      <a:pt x="60" y="45"/>
                    </a:cubicBezTo>
                    <a:cubicBezTo>
                      <a:pt x="60" y="44"/>
                      <a:pt x="66" y="36"/>
                      <a:pt x="69" y="36"/>
                    </a:cubicBezTo>
                    <a:cubicBezTo>
                      <a:pt x="72" y="36"/>
                      <a:pt x="73" y="35"/>
                      <a:pt x="74" y="34"/>
                    </a:cubicBezTo>
                    <a:cubicBezTo>
                      <a:pt x="76" y="33"/>
                      <a:pt x="77" y="29"/>
                      <a:pt x="77" y="29"/>
                    </a:cubicBezTo>
                    <a:cubicBezTo>
                      <a:pt x="78" y="28"/>
                      <a:pt x="85" y="25"/>
                      <a:pt x="86" y="25"/>
                    </a:cubicBezTo>
                    <a:cubicBezTo>
                      <a:pt x="87" y="25"/>
                      <a:pt x="85" y="30"/>
                      <a:pt x="87" y="31"/>
                    </a:cubicBezTo>
                    <a:cubicBezTo>
                      <a:pt x="88" y="31"/>
                      <a:pt x="91" y="33"/>
                      <a:pt x="93" y="32"/>
                    </a:cubicBezTo>
                    <a:cubicBezTo>
                      <a:pt x="95" y="30"/>
                      <a:pt x="97" y="29"/>
                      <a:pt x="96" y="28"/>
                    </a:cubicBezTo>
                    <a:cubicBezTo>
                      <a:pt x="96" y="27"/>
                      <a:pt x="93" y="24"/>
                      <a:pt x="93" y="23"/>
                    </a:cubicBezTo>
                    <a:cubicBezTo>
                      <a:pt x="94" y="23"/>
                      <a:pt x="99" y="22"/>
                      <a:pt x="101" y="19"/>
                    </a:cubicBezTo>
                    <a:cubicBezTo>
                      <a:pt x="103" y="18"/>
                      <a:pt x="105" y="14"/>
                      <a:pt x="107" y="13"/>
                    </a:cubicBezTo>
                    <a:cubicBezTo>
                      <a:pt x="110" y="12"/>
                      <a:pt x="114" y="13"/>
                      <a:pt x="116" y="13"/>
                    </a:cubicBezTo>
                    <a:cubicBezTo>
                      <a:pt x="118" y="13"/>
                      <a:pt x="121" y="12"/>
                      <a:pt x="122" y="13"/>
                    </a:cubicBezTo>
                    <a:cubicBezTo>
                      <a:pt x="123" y="13"/>
                      <a:pt x="122" y="18"/>
                      <a:pt x="124" y="18"/>
                    </a:cubicBezTo>
                    <a:cubicBezTo>
                      <a:pt x="127" y="18"/>
                      <a:pt x="128" y="15"/>
                      <a:pt x="128" y="15"/>
                    </a:cubicBezTo>
                    <a:cubicBezTo>
                      <a:pt x="128" y="16"/>
                      <a:pt x="130" y="19"/>
                      <a:pt x="132" y="19"/>
                    </a:cubicBezTo>
                    <a:cubicBezTo>
                      <a:pt x="133" y="19"/>
                      <a:pt x="130" y="12"/>
                      <a:pt x="132" y="11"/>
                    </a:cubicBezTo>
                    <a:cubicBezTo>
                      <a:pt x="133" y="10"/>
                      <a:pt x="136" y="10"/>
                      <a:pt x="137" y="12"/>
                    </a:cubicBezTo>
                    <a:cubicBezTo>
                      <a:pt x="139" y="14"/>
                      <a:pt x="139" y="16"/>
                      <a:pt x="140" y="16"/>
                    </a:cubicBezTo>
                    <a:cubicBezTo>
                      <a:pt x="142" y="16"/>
                      <a:pt x="141" y="8"/>
                      <a:pt x="142" y="7"/>
                    </a:cubicBezTo>
                    <a:cubicBezTo>
                      <a:pt x="143" y="7"/>
                      <a:pt x="145" y="6"/>
                      <a:pt x="147" y="6"/>
                    </a:cubicBezTo>
                    <a:cubicBezTo>
                      <a:pt x="149" y="6"/>
                      <a:pt x="151" y="5"/>
                      <a:pt x="151" y="4"/>
                    </a:cubicBezTo>
                    <a:cubicBezTo>
                      <a:pt x="152" y="2"/>
                      <a:pt x="154" y="2"/>
                      <a:pt x="155" y="1"/>
                    </a:cubicBezTo>
                    <a:cubicBezTo>
                      <a:pt x="156" y="1"/>
                      <a:pt x="160" y="0"/>
                      <a:pt x="161" y="0"/>
                    </a:cubicBezTo>
                    <a:cubicBezTo>
                      <a:pt x="162" y="1"/>
                      <a:pt x="159" y="5"/>
                      <a:pt x="157" y="6"/>
                    </a:cubicBezTo>
                    <a:cubicBezTo>
                      <a:pt x="156" y="7"/>
                      <a:pt x="153" y="14"/>
                      <a:pt x="154" y="15"/>
                    </a:cubicBezTo>
                    <a:cubicBezTo>
                      <a:pt x="154" y="15"/>
                      <a:pt x="159" y="13"/>
                      <a:pt x="160" y="11"/>
                    </a:cubicBezTo>
                    <a:cubicBezTo>
                      <a:pt x="161" y="9"/>
                      <a:pt x="166" y="2"/>
                      <a:pt x="167" y="2"/>
                    </a:cubicBezTo>
                    <a:cubicBezTo>
                      <a:pt x="168" y="2"/>
                      <a:pt x="167" y="11"/>
                      <a:pt x="168" y="11"/>
                    </a:cubicBezTo>
                    <a:cubicBezTo>
                      <a:pt x="169" y="11"/>
                      <a:pt x="173" y="6"/>
                      <a:pt x="174" y="5"/>
                    </a:cubicBezTo>
                    <a:cubicBezTo>
                      <a:pt x="175" y="4"/>
                      <a:pt x="174" y="1"/>
                      <a:pt x="175" y="1"/>
                    </a:cubicBezTo>
                    <a:cubicBezTo>
                      <a:pt x="176" y="1"/>
                      <a:pt x="179" y="1"/>
                      <a:pt x="180" y="2"/>
                    </a:cubicBezTo>
                    <a:cubicBezTo>
                      <a:pt x="181" y="3"/>
                      <a:pt x="178" y="9"/>
                      <a:pt x="180" y="9"/>
                    </a:cubicBezTo>
                    <a:cubicBezTo>
                      <a:pt x="182" y="9"/>
                      <a:pt x="184" y="4"/>
                      <a:pt x="186" y="5"/>
                    </a:cubicBezTo>
                    <a:cubicBezTo>
                      <a:pt x="189" y="6"/>
                      <a:pt x="197" y="8"/>
                      <a:pt x="199" y="9"/>
                    </a:cubicBezTo>
                    <a:cubicBezTo>
                      <a:pt x="200" y="11"/>
                      <a:pt x="201" y="12"/>
                      <a:pt x="200" y="12"/>
                    </a:cubicBezTo>
                    <a:cubicBezTo>
                      <a:pt x="199" y="13"/>
                      <a:pt x="193" y="14"/>
                      <a:pt x="191" y="14"/>
                    </a:cubicBezTo>
                    <a:cubicBezTo>
                      <a:pt x="189" y="14"/>
                      <a:pt x="183" y="13"/>
                      <a:pt x="183" y="14"/>
                    </a:cubicBezTo>
                    <a:cubicBezTo>
                      <a:pt x="182" y="15"/>
                      <a:pt x="181" y="16"/>
                      <a:pt x="184" y="17"/>
                    </a:cubicBezTo>
                    <a:cubicBezTo>
                      <a:pt x="186" y="18"/>
                      <a:pt x="193" y="19"/>
                      <a:pt x="194" y="19"/>
                    </a:cubicBezTo>
                    <a:cubicBezTo>
                      <a:pt x="194" y="19"/>
                      <a:pt x="195" y="19"/>
                      <a:pt x="195" y="19"/>
                    </a:cubicBezTo>
                    <a:cubicBezTo>
                      <a:pt x="195" y="19"/>
                      <a:pt x="194" y="23"/>
                      <a:pt x="193" y="25"/>
                    </a:cubicBezTo>
                    <a:cubicBezTo>
                      <a:pt x="191" y="27"/>
                      <a:pt x="188" y="24"/>
                      <a:pt x="188" y="30"/>
                    </a:cubicBezTo>
                    <a:cubicBezTo>
                      <a:pt x="188" y="32"/>
                      <a:pt x="186" y="32"/>
                      <a:pt x="184" y="31"/>
                    </a:cubicBezTo>
                    <a:cubicBezTo>
                      <a:pt x="183" y="30"/>
                      <a:pt x="183" y="30"/>
                      <a:pt x="182" y="30"/>
                    </a:cubicBezTo>
                    <a:cubicBezTo>
                      <a:pt x="180" y="29"/>
                      <a:pt x="183" y="26"/>
                      <a:pt x="183" y="24"/>
                    </a:cubicBezTo>
                    <a:cubicBezTo>
                      <a:pt x="183" y="22"/>
                      <a:pt x="181" y="21"/>
                      <a:pt x="179" y="20"/>
                    </a:cubicBezTo>
                    <a:cubicBezTo>
                      <a:pt x="177" y="19"/>
                      <a:pt x="174" y="18"/>
                      <a:pt x="173" y="18"/>
                    </a:cubicBezTo>
                    <a:cubicBezTo>
                      <a:pt x="172" y="18"/>
                      <a:pt x="165" y="19"/>
                      <a:pt x="165" y="20"/>
                    </a:cubicBezTo>
                    <a:cubicBezTo>
                      <a:pt x="164" y="21"/>
                      <a:pt x="160" y="26"/>
                      <a:pt x="160" y="28"/>
                    </a:cubicBezTo>
                    <a:cubicBezTo>
                      <a:pt x="160" y="30"/>
                      <a:pt x="157" y="32"/>
                      <a:pt x="155" y="34"/>
                    </a:cubicBezTo>
                    <a:cubicBezTo>
                      <a:pt x="154" y="36"/>
                      <a:pt x="147" y="32"/>
                      <a:pt x="146" y="32"/>
                    </a:cubicBezTo>
                    <a:cubicBezTo>
                      <a:pt x="144" y="32"/>
                      <a:pt x="138" y="33"/>
                      <a:pt x="136" y="32"/>
                    </a:cubicBezTo>
                    <a:cubicBezTo>
                      <a:pt x="134" y="32"/>
                      <a:pt x="127" y="26"/>
                      <a:pt x="125" y="26"/>
                    </a:cubicBezTo>
                    <a:cubicBezTo>
                      <a:pt x="125" y="26"/>
                      <a:pt x="123" y="27"/>
                      <a:pt x="121" y="28"/>
                    </a:cubicBezTo>
                    <a:cubicBezTo>
                      <a:pt x="120" y="29"/>
                      <a:pt x="119" y="29"/>
                      <a:pt x="119" y="29"/>
                    </a:cubicBezTo>
                    <a:cubicBezTo>
                      <a:pt x="119" y="29"/>
                      <a:pt x="117" y="37"/>
                      <a:pt x="116" y="37"/>
                    </a:cubicBezTo>
                    <a:cubicBezTo>
                      <a:pt x="115" y="38"/>
                      <a:pt x="104" y="36"/>
                      <a:pt x="103" y="36"/>
                    </a:cubicBezTo>
                    <a:cubicBezTo>
                      <a:pt x="102" y="36"/>
                      <a:pt x="101" y="43"/>
                      <a:pt x="101" y="44"/>
                    </a:cubicBezTo>
                    <a:cubicBezTo>
                      <a:pt x="100" y="45"/>
                      <a:pt x="95" y="42"/>
                      <a:pt x="95" y="42"/>
                    </a:cubicBezTo>
                    <a:cubicBezTo>
                      <a:pt x="94" y="42"/>
                      <a:pt x="88" y="50"/>
                      <a:pt x="88" y="50"/>
                    </a:cubicBezTo>
                    <a:cubicBezTo>
                      <a:pt x="88" y="50"/>
                      <a:pt x="89" y="54"/>
                      <a:pt x="89" y="55"/>
                    </a:cubicBezTo>
                    <a:cubicBezTo>
                      <a:pt x="89" y="55"/>
                      <a:pt x="82" y="65"/>
                      <a:pt x="82" y="65"/>
                    </a:cubicBezTo>
                    <a:cubicBezTo>
                      <a:pt x="75" y="68"/>
                      <a:pt x="75" y="68"/>
                      <a:pt x="75" y="68"/>
                    </a:cubicBezTo>
                    <a:cubicBezTo>
                      <a:pt x="75" y="68"/>
                      <a:pt x="74" y="75"/>
                      <a:pt x="74" y="77"/>
                    </a:cubicBezTo>
                    <a:cubicBezTo>
                      <a:pt x="73" y="79"/>
                      <a:pt x="68" y="84"/>
                      <a:pt x="67" y="84"/>
                    </a:cubicBezTo>
                    <a:cubicBezTo>
                      <a:pt x="66" y="85"/>
                      <a:pt x="71" y="86"/>
                      <a:pt x="71" y="88"/>
                    </a:cubicBezTo>
                    <a:cubicBezTo>
                      <a:pt x="71" y="90"/>
                      <a:pt x="70" y="95"/>
                      <a:pt x="69" y="95"/>
                    </a:cubicBezTo>
                    <a:cubicBezTo>
                      <a:pt x="68" y="95"/>
                      <a:pt x="63" y="94"/>
                      <a:pt x="62" y="94"/>
                    </a:cubicBezTo>
                    <a:cubicBezTo>
                      <a:pt x="60" y="94"/>
                      <a:pt x="58" y="98"/>
                      <a:pt x="56" y="100"/>
                    </a:cubicBezTo>
                    <a:cubicBezTo>
                      <a:pt x="54" y="102"/>
                      <a:pt x="57" y="113"/>
                      <a:pt x="56" y="117"/>
                    </a:cubicBezTo>
                    <a:cubicBezTo>
                      <a:pt x="55" y="120"/>
                      <a:pt x="61" y="123"/>
                      <a:pt x="61" y="125"/>
                    </a:cubicBezTo>
                    <a:cubicBezTo>
                      <a:pt x="62" y="128"/>
                      <a:pt x="57" y="129"/>
                      <a:pt x="57" y="130"/>
                    </a:cubicBezTo>
                    <a:cubicBezTo>
                      <a:pt x="57" y="131"/>
                      <a:pt x="59" y="136"/>
                      <a:pt x="59" y="138"/>
                    </a:cubicBezTo>
                    <a:cubicBezTo>
                      <a:pt x="59" y="140"/>
                      <a:pt x="56" y="141"/>
                      <a:pt x="54" y="142"/>
                    </a:cubicBezTo>
                    <a:cubicBezTo>
                      <a:pt x="53" y="143"/>
                      <a:pt x="56" y="148"/>
                      <a:pt x="53" y="151"/>
                    </a:cubicBezTo>
                    <a:cubicBezTo>
                      <a:pt x="51" y="154"/>
                      <a:pt x="50" y="154"/>
                      <a:pt x="50" y="154"/>
                    </a:cubicBezTo>
                    <a:cubicBezTo>
                      <a:pt x="49" y="152"/>
                      <a:pt x="49" y="150"/>
                      <a:pt x="47" y="148"/>
                    </a:cubicBezTo>
                    <a:cubicBezTo>
                      <a:pt x="46" y="146"/>
                      <a:pt x="46" y="144"/>
                      <a:pt x="46" y="142"/>
                    </a:cubicBezTo>
                    <a:cubicBezTo>
                      <a:pt x="46" y="141"/>
                      <a:pt x="45" y="141"/>
                      <a:pt x="43" y="141"/>
                    </a:cubicBezTo>
                    <a:cubicBezTo>
                      <a:pt x="42" y="141"/>
                      <a:pt x="42" y="149"/>
                      <a:pt x="41" y="150"/>
                    </a:cubicBezTo>
                    <a:cubicBezTo>
                      <a:pt x="40" y="151"/>
                      <a:pt x="35" y="154"/>
                      <a:pt x="34" y="155"/>
                    </a:cubicBezTo>
                    <a:cubicBezTo>
                      <a:pt x="31" y="157"/>
                      <a:pt x="24" y="163"/>
                      <a:pt x="22" y="163"/>
                    </a:cubicBezTo>
                    <a:cubicBezTo>
                      <a:pt x="19" y="163"/>
                      <a:pt x="6" y="158"/>
                      <a:pt x="6" y="156"/>
                    </a:cubicBezTo>
                    <a:cubicBezTo>
                      <a:pt x="5" y="153"/>
                      <a:pt x="11" y="150"/>
                      <a:pt x="11" y="148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23" name="Group 177"/>
            <p:cNvGrpSpPr>
              <a:grpSpLocks/>
            </p:cNvGrpSpPr>
            <p:nvPr/>
          </p:nvGrpSpPr>
          <p:grpSpPr bwMode="auto">
            <a:xfrm>
              <a:off x="5492159" y="3734921"/>
              <a:ext cx="279475" cy="179205"/>
              <a:chOff x="2572" y="1838"/>
              <a:chExt cx="202" cy="137"/>
            </a:xfrm>
          </p:grpSpPr>
          <p:sp>
            <p:nvSpPr>
              <p:cNvPr id="226" name="Freeform 178"/>
              <p:cNvSpPr>
                <a:spLocks/>
              </p:cNvSpPr>
              <p:nvPr/>
            </p:nvSpPr>
            <p:spPr bwMode="auto">
              <a:xfrm>
                <a:off x="2752" y="1909"/>
                <a:ext cx="22" cy="12"/>
              </a:xfrm>
              <a:custGeom>
                <a:avLst/>
                <a:gdLst>
                  <a:gd name="T0" fmla="*/ 393216 w 11"/>
                  <a:gd name="T1" fmla="*/ 393216 h 6"/>
                  <a:gd name="T2" fmla="*/ 65536 w 11"/>
                  <a:gd name="T3" fmla="*/ 262144 h 6"/>
                  <a:gd name="T4" fmla="*/ 196608 w 11"/>
                  <a:gd name="T5" fmla="*/ 65536 h 6"/>
                  <a:gd name="T6" fmla="*/ 458752 w 11"/>
                  <a:gd name="T7" fmla="*/ 0 h 6"/>
                  <a:gd name="T8" fmla="*/ 655360 w 11"/>
                  <a:gd name="T9" fmla="*/ 131072 h 6"/>
                  <a:gd name="T10" fmla="*/ 393216 w 11"/>
                  <a:gd name="T11" fmla="*/ 39321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" h="6">
                    <a:moveTo>
                      <a:pt x="6" y="6"/>
                    </a:moveTo>
                    <a:cubicBezTo>
                      <a:pt x="4" y="6"/>
                      <a:pt x="2" y="4"/>
                      <a:pt x="1" y="4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3" y="1"/>
                      <a:pt x="5" y="0"/>
                      <a:pt x="7" y="0"/>
                    </a:cubicBezTo>
                    <a:cubicBezTo>
                      <a:pt x="8" y="0"/>
                      <a:pt x="10" y="0"/>
                      <a:pt x="10" y="2"/>
                    </a:cubicBezTo>
                    <a:cubicBezTo>
                      <a:pt x="11" y="4"/>
                      <a:pt x="8" y="6"/>
                      <a:pt x="6" y="6"/>
                    </a:cubicBezTo>
                    <a:close/>
                  </a:path>
                </a:pathLst>
              </a:custGeom>
              <a:solidFill>
                <a:srgbClr val="EAEAEE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7" name="Freeform 179"/>
              <p:cNvSpPr>
                <a:spLocks/>
              </p:cNvSpPr>
              <p:nvPr/>
            </p:nvSpPr>
            <p:spPr bwMode="auto">
              <a:xfrm>
                <a:off x="2572" y="1838"/>
                <a:ext cx="200" cy="137"/>
              </a:xfrm>
              <a:custGeom>
                <a:avLst/>
                <a:gdLst>
                  <a:gd name="T0" fmla="*/ 375018 w 99"/>
                  <a:gd name="T1" fmla="*/ 1251975 h 68"/>
                  <a:gd name="T2" fmla="*/ 375018 w 99"/>
                  <a:gd name="T3" fmla="*/ 947558 h 68"/>
                  <a:gd name="T4" fmla="*/ 73487 w 99"/>
                  <a:gd name="T5" fmla="*/ 505911 h 68"/>
                  <a:gd name="T6" fmla="*/ 605893 w 99"/>
                  <a:gd name="T7" fmla="*/ 286699 h 68"/>
                  <a:gd name="T8" fmla="*/ 905806 w 99"/>
                  <a:gd name="T9" fmla="*/ 0 h 68"/>
                  <a:gd name="T10" fmla="*/ 1454853 w 99"/>
                  <a:gd name="T11" fmla="*/ 142303 h 68"/>
                  <a:gd name="T12" fmla="*/ 2314115 w 99"/>
                  <a:gd name="T13" fmla="*/ 142303 h 68"/>
                  <a:gd name="T14" fmla="*/ 3474844 w 99"/>
                  <a:gd name="T15" fmla="*/ 214995 h 68"/>
                  <a:gd name="T16" fmla="*/ 4453018 w 99"/>
                  <a:gd name="T17" fmla="*/ 286699 h 68"/>
                  <a:gd name="T18" fmla="*/ 4602588 w 99"/>
                  <a:gd name="T19" fmla="*/ 214995 h 68"/>
                  <a:gd name="T20" fmla="*/ 5526669 w 99"/>
                  <a:gd name="T21" fmla="*/ 656967 h 68"/>
                  <a:gd name="T22" fmla="*/ 6168382 w 99"/>
                  <a:gd name="T23" fmla="*/ 656967 h 68"/>
                  <a:gd name="T24" fmla="*/ 7094044 w 99"/>
                  <a:gd name="T25" fmla="*/ 872674 h 68"/>
                  <a:gd name="T26" fmla="*/ 7392408 w 99"/>
                  <a:gd name="T27" fmla="*/ 801234 h 68"/>
                  <a:gd name="T28" fmla="*/ 7468263 w 99"/>
                  <a:gd name="T29" fmla="*/ 1251975 h 68"/>
                  <a:gd name="T30" fmla="*/ 6789051 w 99"/>
                  <a:gd name="T31" fmla="*/ 1687010 h 68"/>
                  <a:gd name="T32" fmla="*/ 6011154 w 99"/>
                  <a:gd name="T33" fmla="*/ 1981810 h 68"/>
                  <a:gd name="T34" fmla="*/ 5380594 w 99"/>
                  <a:gd name="T35" fmla="*/ 2957181 h 68"/>
                  <a:gd name="T36" fmla="*/ 5674863 w 99"/>
                  <a:gd name="T37" fmla="*/ 3398829 h 68"/>
                  <a:gd name="T38" fmla="*/ 5154099 w 99"/>
                  <a:gd name="T39" fmla="*/ 4064468 h 68"/>
                  <a:gd name="T40" fmla="*/ 4602588 w 99"/>
                  <a:gd name="T41" fmla="*/ 4359791 h 68"/>
                  <a:gd name="T42" fmla="*/ 4226459 w 99"/>
                  <a:gd name="T43" fmla="*/ 4723595 h 68"/>
                  <a:gd name="T44" fmla="*/ 3091978 w 99"/>
                  <a:gd name="T45" fmla="*/ 4723595 h 68"/>
                  <a:gd name="T46" fmla="*/ 2472780 w 99"/>
                  <a:gd name="T47" fmla="*/ 4795183 h 68"/>
                  <a:gd name="T48" fmla="*/ 2241905 w 99"/>
                  <a:gd name="T49" fmla="*/ 5008003 h 68"/>
                  <a:gd name="T50" fmla="*/ 2166269 w 99"/>
                  <a:gd name="T51" fmla="*/ 5008003 h 68"/>
                  <a:gd name="T52" fmla="*/ 1829911 w 99"/>
                  <a:gd name="T53" fmla="*/ 4650820 h 68"/>
                  <a:gd name="T54" fmla="*/ 1603620 w 99"/>
                  <a:gd name="T55" fmla="*/ 4359791 h 68"/>
                  <a:gd name="T56" fmla="*/ 1145487 w 99"/>
                  <a:gd name="T57" fmla="*/ 4432548 h 68"/>
                  <a:gd name="T58" fmla="*/ 1224026 w 99"/>
                  <a:gd name="T59" fmla="*/ 3992764 h 68"/>
                  <a:gd name="T60" fmla="*/ 1371949 w 99"/>
                  <a:gd name="T61" fmla="*/ 3613857 h 68"/>
                  <a:gd name="T62" fmla="*/ 1298725 w 99"/>
                  <a:gd name="T63" fmla="*/ 3027476 h 68"/>
                  <a:gd name="T64" fmla="*/ 1454853 w 99"/>
                  <a:gd name="T65" fmla="*/ 2595135 h 68"/>
                  <a:gd name="T66" fmla="*/ 1939749 w 99"/>
                  <a:gd name="T67" fmla="*/ 1542678 h 68"/>
                  <a:gd name="T68" fmla="*/ 1454853 w 99"/>
                  <a:gd name="T69" fmla="*/ 1251975 h 68"/>
                  <a:gd name="T70" fmla="*/ 375018 w 99"/>
                  <a:gd name="T71" fmla="*/ 1251975 h 6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9" h="68">
                    <a:moveTo>
                      <a:pt x="5" y="17"/>
                    </a:moveTo>
                    <a:cubicBezTo>
                      <a:pt x="5" y="15"/>
                      <a:pt x="5" y="14"/>
                      <a:pt x="5" y="13"/>
                    </a:cubicBezTo>
                    <a:cubicBezTo>
                      <a:pt x="4" y="11"/>
                      <a:pt x="0" y="9"/>
                      <a:pt x="1" y="7"/>
                    </a:cubicBezTo>
                    <a:cubicBezTo>
                      <a:pt x="3" y="5"/>
                      <a:pt x="6" y="4"/>
                      <a:pt x="8" y="4"/>
                    </a:cubicBezTo>
                    <a:cubicBezTo>
                      <a:pt x="9" y="4"/>
                      <a:pt x="9" y="0"/>
                      <a:pt x="12" y="0"/>
                    </a:cubicBezTo>
                    <a:cubicBezTo>
                      <a:pt x="15" y="0"/>
                      <a:pt x="18" y="2"/>
                      <a:pt x="19" y="2"/>
                    </a:cubicBezTo>
                    <a:cubicBezTo>
                      <a:pt x="21" y="2"/>
                      <a:pt x="27" y="2"/>
                      <a:pt x="30" y="2"/>
                    </a:cubicBezTo>
                    <a:cubicBezTo>
                      <a:pt x="33" y="2"/>
                      <a:pt x="41" y="3"/>
                      <a:pt x="45" y="3"/>
                    </a:cubicBezTo>
                    <a:cubicBezTo>
                      <a:pt x="49" y="3"/>
                      <a:pt x="56" y="5"/>
                      <a:pt x="58" y="4"/>
                    </a:cubicBezTo>
                    <a:cubicBezTo>
                      <a:pt x="59" y="4"/>
                      <a:pt x="60" y="3"/>
                      <a:pt x="60" y="3"/>
                    </a:cubicBezTo>
                    <a:cubicBezTo>
                      <a:pt x="60" y="3"/>
                      <a:pt x="69" y="8"/>
                      <a:pt x="72" y="9"/>
                    </a:cubicBezTo>
                    <a:cubicBezTo>
                      <a:pt x="75" y="10"/>
                      <a:pt x="76" y="9"/>
                      <a:pt x="80" y="9"/>
                    </a:cubicBezTo>
                    <a:cubicBezTo>
                      <a:pt x="84" y="10"/>
                      <a:pt x="90" y="12"/>
                      <a:pt x="92" y="12"/>
                    </a:cubicBezTo>
                    <a:cubicBezTo>
                      <a:pt x="94" y="12"/>
                      <a:pt x="96" y="11"/>
                      <a:pt x="96" y="11"/>
                    </a:cubicBezTo>
                    <a:cubicBezTo>
                      <a:pt x="96" y="14"/>
                      <a:pt x="99" y="16"/>
                      <a:pt x="97" y="17"/>
                    </a:cubicBezTo>
                    <a:cubicBezTo>
                      <a:pt x="96" y="19"/>
                      <a:pt x="90" y="22"/>
                      <a:pt x="88" y="23"/>
                    </a:cubicBezTo>
                    <a:cubicBezTo>
                      <a:pt x="86" y="23"/>
                      <a:pt x="80" y="25"/>
                      <a:pt x="78" y="27"/>
                    </a:cubicBezTo>
                    <a:cubicBezTo>
                      <a:pt x="77" y="29"/>
                      <a:pt x="69" y="38"/>
                      <a:pt x="70" y="40"/>
                    </a:cubicBezTo>
                    <a:cubicBezTo>
                      <a:pt x="70" y="42"/>
                      <a:pt x="74" y="44"/>
                      <a:pt x="74" y="46"/>
                    </a:cubicBezTo>
                    <a:cubicBezTo>
                      <a:pt x="74" y="48"/>
                      <a:pt x="67" y="52"/>
                      <a:pt x="67" y="55"/>
                    </a:cubicBezTo>
                    <a:cubicBezTo>
                      <a:pt x="67" y="57"/>
                      <a:pt x="63" y="58"/>
                      <a:pt x="60" y="59"/>
                    </a:cubicBezTo>
                    <a:cubicBezTo>
                      <a:pt x="58" y="60"/>
                      <a:pt x="58" y="64"/>
                      <a:pt x="55" y="64"/>
                    </a:cubicBezTo>
                    <a:cubicBezTo>
                      <a:pt x="52" y="64"/>
                      <a:pt x="42" y="63"/>
                      <a:pt x="40" y="64"/>
                    </a:cubicBezTo>
                    <a:cubicBezTo>
                      <a:pt x="37" y="65"/>
                      <a:pt x="33" y="64"/>
                      <a:pt x="32" y="65"/>
                    </a:cubicBezTo>
                    <a:cubicBezTo>
                      <a:pt x="31" y="66"/>
                      <a:pt x="31" y="68"/>
                      <a:pt x="29" y="68"/>
                    </a:cubicBezTo>
                    <a:cubicBezTo>
                      <a:pt x="29" y="68"/>
                      <a:pt x="29" y="68"/>
                      <a:pt x="28" y="68"/>
                    </a:cubicBezTo>
                    <a:cubicBezTo>
                      <a:pt x="26" y="68"/>
                      <a:pt x="25" y="66"/>
                      <a:pt x="24" y="63"/>
                    </a:cubicBezTo>
                    <a:cubicBezTo>
                      <a:pt x="23" y="60"/>
                      <a:pt x="24" y="59"/>
                      <a:pt x="21" y="59"/>
                    </a:cubicBezTo>
                    <a:cubicBezTo>
                      <a:pt x="18" y="58"/>
                      <a:pt x="17" y="59"/>
                      <a:pt x="15" y="60"/>
                    </a:cubicBezTo>
                    <a:cubicBezTo>
                      <a:pt x="14" y="58"/>
                      <a:pt x="13" y="57"/>
                      <a:pt x="16" y="54"/>
                    </a:cubicBezTo>
                    <a:cubicBezTo>
                      <a:pt x="18" y="52"/>
                      <a:pt x="18" y="51"/>
                      <a:pt x="18" y="49"/>
                    </a:cubicBezTo>
                    <a:cubicBezTo>
                      <a:pt x="18" y="47"/>
                      <a:pt x="19" y="43"/>
                      <a:pt x="17" y="41"/>
                    </a:cubicBezTo>
                    <a:cubicBezTo>
                      <a:pt x="15" y="38"/>
                      <a:pt x="18" y="36"/>
                      <a:pt x="19" y="35"/>
                    </a:cubicBezTo>
                    <a:cubicBezTo>
                      <a:pt x="20" y="34"/>
                      <a:pt x="24" y="23"/>
                      <a:pt x="25" y="21"/>
                    </a:cubicBezTo>
                    <a:cubicBezTo>
                      <a:pt x="25" y="19"/>
                      <a:pt x="22" y="17"/>
                      <a:pt x="19" y="17"/>
                    </a:cubicBezTo>
                    <a:cubicBezTo>
                      <a:pt x="16" y="17"/>
                      <a:pt x="5" y="17"/>
                      <a:pt x="5" y="17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64" name="Group 270"/>
            <p:cNvGrpSpPr>
              <a:grpSpLocks/>
            </p:cNvGrpSpPr>
            <p:nvPr/>
          </p:nvGrpSpPr>
          <p:grpSpPr bwMode="auto">
            <a:xfrm>
              <a:off x="5529198" y="3334018"/>
              <a:ext cx="203714" cy="245714"/>
              <a:chOff x="2598" y="1530"/>
              <a:chExt cx="148" cy="188"/>
            </a:xfrm>
          </p:grpSpPr>
          <p:sp>
            <p:nvSpPr>
              <p:cNvPr id="173" name="Freeform 271"/>
              <p:cNvSpPr>
                <a:spLocks/>
              </p:cNvSpPr>
              <p:nvPr/>
            </p:nvSpPr>
            <p:spPr bwMode="auto">
              <a:xfrm>
                <a:off x="2616" y="1530"/>
                <a:ext cx="130" cy="188"/>
              </a:xfrm>
              <a:custGeom>
                <a:avLst/>
                <a:gdLst>
                  <a:gd name="T0" fmla="*/ 0 w 64"/>
                  <a:gd name="T1" fmla="*/ 1158931 h 93"/>
                  <a:gd name="T2" fmla="*/ 162667 w 64"/>
                  <a:gd name="T3" fmla="*/ 931445 h 93"/>
                  <a:gd name="T4" fmla="*/ 572672 w 64"/>
                  <a:gd name="T5" fmla="*/ 1079983 h 93"/>
                  <a:gd name="T6" fmla="*/ 1000685 w 64"/>
                  <a:gd name="T7" fmla="*/ 149513 h 93"/>
                  <a:gd name="T8" fmla="*/ 2195340 w 64"/>
                  <a:gd name="T9" fmla="*/ 0 h 93"/>
                  <a:gd name="T10" fmla="*/ 2282788 w 64"/>
                  <a:gd name="T11" fmla="*/ 227933 h 93"/>
                  <a:gd name="T12" fmla="*/ 1603475 w 64"/>
                  <a:gd name="T13" fmla="*/ 688213 h 93"/>
                  <a:gd name="T14" fmla="*/ 1525885 w 64"/>
                  <a:gd name="T15" fmla="*/ 1006218 h 93"/>
                  <a:gd name="T16" fmla="*/ 2936923 w 64"/>
                  <a:gd name="T17" fmla="*/ 931445 h 93"/>
                  <a:gd name="T18" fmla="*/ 2526434 w 64"/>
                  <a:gd name="T19" fmla="*/ 1882921 h 93"/>
                  <a:gd name="T20" fmla="*/ 1933957 w 64"/>
                  <a:gd name="T21" fmla="*/ 2183191 h 93"/>
                  <a:gd name="T22" fmla="*/ 2448836 w 64"/>
                  <a:gd name="T23" fmla="*/ 2421761 h 93"/>
                  <a:gd name="T24" fmla="*/ 3014521 w 64"/>
                  <a:gd name="T25" fmla="*/ 2645059 h 93"/>
                  <a:gd name="T26" fmla="*/ 3439126 w 64"/>
                  <a:gd name="T27" fmla="*/ 3428045 h 93"/>
                  <a:gd name="T28" fmla="*/ 3928350 w 64"/>
                  <a:gd name="T29" fmla="*/ 3651277 h 93"/>
                  <a:gd name="T30" fmla="*/ 4381518 w 64"/>
                  <a:gd name="T31" fmla="*/ 4508258 h 93"/>
                  <a:gd name="T32" fmla="*/ 4208900 w 64"/>
                  <a:gd name="T33" fmla="*/ 4895603 h 93"/>
                  <a:gd name="T34" fmla="*/ 4539155 w 64"/>
                  <a:gd name="T35" fmla="*/ 4968874 h 93"/>
                  <a:gd name="T36" fmla="*/ 4799500 w 64"/>
                  <a:gd name="T37" fmla="*/ 4810500 h 93"/>
                  <a:gd name="T38" fmla="*/ 5209862 w 64"/>
                  <a:gd name="T39" fmla="*/ 4895603 h 93"/>
                  <a:gd name="T40" fmla="*/ 5131819 w 64"/>
                  <a:gd name="T41" fmla="*/ 5611428 h 93"/>
                  <a:gd name="T42" fmla="*/ 4459284 w 64"/>
                  <a:gd name="T43" fmla="*/ 5922606 h 93"/>
                  <a:gd name="T44" fmla="*/ 5131819 w 64"/>
                  <a:gd name="T45" fmla="*/ 6221880 h 93"/>
                  <a:gd name="T46" fmla="*/ 4296029 w 64"/>
                  <a:gd name="T47" fmla="*/ 6618617 h 93"/>
                  <a:gd name="T48" fmla="*/ 3099454 w 64"/>
                  <a:gd name="T49" fmla="*/ 6542337 h 93"/>
                  <a:gd name="T50" fmla="*/ 2114968 w 64"/>
                  <a:gd name="T51" fmla="*/ 6701806 h 93"/>
                  <a:gd name="T52" fmla="*/ 1856223 w 64"/>
                  <a:gd name="T53" fmla="*/ 7079393 h 93"/>
                  <a:gd name="T54" fmla="*/ 1445870 w 64"/>
                  <a:gd name="T55" fmla="*/ 6929811 h 93"/>
                  <a:gd name="T56" fmla="*/ 833530 w 64"/>
                  <a:gd name="T57" fmla="*/ 7231638 h 93"/>
                  <a:gd name="T58" fmla="*/ 410353 w 64"/>
                  <a:gd name="T59" fmla="*/ 7153285 h 93"/>
                  <a:gd name="T60" fmla="*/ 1080783 w 64"/>
                  <a:gd name="T61" fmla="*/ 6701806 h 93"/>
                  <a:gd name="T62" fmla="*/ 1445870 w 64"/>
                  <a:gd name="T63" fmla="*/ 6314411 h 93"/>
                  <a:gd name="T64" fmla="*/ 2195340 w 64"/>
                  <a:gd name="T65" fmla="*/ 6221880 h 93"/>
                  <a:gd name="T66" fmla="*/ 2448836 w 64"/>
                  <a:gd name="T67" fmla="*/ 5998775 h 93"/>
                  <a:gd name="T68" fmla="*/ 1693108 w 64"/>
                  <a:gd name="T69" fmla="*/ 5844825 h 93"/>
                  <a:gd name="T70" fmla="*/ 913833 w 64"/>
                  <a:gd name="T71" fmla="*/ 5770929 h 93"/>
                  <a:gd name="T72" fmla="*/ 1080783 w 64"/>
                  <a:gd name="T73" fmla="*/ 5538543 h 93"/>
                  <a:gd name="T74" fmla="*/ 1603475 w 64"/>
                  <a:gd name="T75" fmla="*/ 5270297 h 93"/>
                  <a:gd name="T76" fmla="*/ 1525885 w 64"/>
                  <a:gd name="T77" fmla="*/ 4895603 h 93"/>
                  <a:gd name="T78" fmla="*/ 1163240 w 64"/>
                  <a:gd name="T79" fmla="*/ 4810500 h 93"/>
                  <a:gd name="T80" fmla="*/ 1525885 w 64"/>
                  <a:gd name="T81" fmla="*/ 4508258 h 93"/>
                  <a:gd name="T82" fmla="*/ 2282788 w 64"/>
                  <a:gd name="T83" fmla="*/ 4508258 h 93"/>
                  <a:gd name="T84" fmla="*/ 2282788 w 64"/>
                  <a:gd name="T85" fmla="*/ 3879038 h 93"/>
                  <a:gd name="T86" fmla="*/ 1933957 w 64"/>
                  <a:gd name="T87" fmla="*/ 3502040 h 93"/>
                  <a:gd name="T88" fmla="*/ 2282788 w 64"/>
                  <a:gd name="T89" fmla="*/ 3199766 h 93"/>
                  <a:gd name="T90" fmla="*/ 1693108 w 64"/>
                  <a:gd name="T91" fmla="*/ 3274103 h 93"/>
                  <a:gd name="T92" fmla="*/ 1163240 w 64"/>
                  <a:gd name="T93" fmla="*/ 3502040 h 93"/>
                  <a:gd name="T94" fmla="*/ 1000685 w 64"/>
                  <a:gd name="T95" fmla="*/ 3274103 h 93"/>
                  <a:gd name="T96" fmla="*/ 1080783 w 64"/>
                  <a:gd name="T97" fmla="*/ 2967479 h 93"/>
                  <a:gd name="T98" fmla="*/ 1243783 w 64"/>
                  <a:gd name="T99" fmla="*/ 2739811 h 93"/>
                  <a:gd name="T100" fmla="*/ 1163240 w 64"/>
                  <a:gd name="T101" fmla="*/ 2342785 h 93"/>
                  <a:gd name="T102" fmla="*/ 913833 w 64"/>
                  <a:gd name="T103" fmla="*/ 2183191 h 93"/>
                  <a:gd name="T104" fmla="*/ 492645 w 64"/>
                  <a:gd name="T105" fmla="*/ 2496767 h 93"/>
                  <a:gd name="T106" fmla="*/ 410353 w 64"/>
                  <a:gd name="T107" fmla="*/ 2034075 h 93"/>
                  <a:gd name="T108" fmla="*/ 410353 w 64"/>
                  <a:gd name="T109" fmla="*/ 1467955 h 93"/>
                  <a:gd name="T110" fmla="*/ 0 w 64"/>
                  <a:gd name="T111" fmla="*/ 1158931 h 9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4" h="93">
                    <a:moveTo>
                      <a:pt x="0" y="15"/>
                    </a:moveTo>
                    <a:cubicBezTo>
                      <a:pt x="1" y="14"/>
                      <a:pt x="2" y="12"/>
                      <a:pt x="2" y="12"/>
                    </a:cubicBezTo>
                    <a:cubicBezTo>
                      <a:pt x="3" y="12"/>
                      <a:pt x="6" y="15"/>
                      <a:pt x="7" y="14"/>
                    </a:cubicBezTo>
                    <a:cubicBezTo>
                      <a:pt x="8" y="13"/>
                      <a:pt x="11" y="3"/>
                      <a:pt x="12" y="2"/>
                    </a:cubicBezTo>
                    <a:cubicBezTo>
                      <a:pt x="13" y="1"/>
                      <a:pt x="25" y="1"/>
                      <a:pt x="26" y="0"/>
                    </a:cubicBezTo>
                    <a:cubicBezTo>
                      <a:pt x="26" y="0"/>
                      <a:pt x="27" y="2"/>
                      <a:pt x="27" y="3"/>
                    </a:cubicBezTo>
                    <a:cubicBezTo>
                      <a:pt x="27" y="5"/>
                      <a:pt x="20" y="8"/>
                      <a:pt x="19" y="9"/>
                    </a:cubicBezTo>
                    <a:cubicBezTo>
                      <a:pt x="18" y="9"/>
                      <a:pt x="17" y="13"/>
                      <a:pt x="18" y="13"/>
                    </a:cubicBezTo>
                    <a:cubicBezTo>
                      <a:pt x="19" y="14"/>
                      <a:pt x="34" y="11"/>
                      <a:pt x="35" y="12"/>
                    </a:cubicBezTo>
                    <a:cubicBezTo>
                      <a:pt x="36" y="13"/>
                      <a:pt x="31" y="23"/>
                      <a:pt x="30" y="24"/>
                    </a:cubicBezTo>
                    <a:cubicBezTo>
                      <a:pt x="29" y="25"/>
                      <a:pt x="23" y="27"/>
                      <a:pt x="23" y="28"/>
                    </a:cubicBezTo>
                    <a:cubicBezTo>
                      <a:pt x="21" y="29"/>
                      <a:pt x="28" y="31"/>
                      <a:pt x="29" y="31"/>
                    </a:cubicBezTo>
                    <a:cubicBezTo>
                      <a:pt x="31" y="31"/>
                      <a:pt x="34" y="30"/>
                      <a:pt x="36" y="34"/>
                    </a:cubicBezTo>
                    <a:cubicBezTo>
                      <a:pt x="38" y="37"/>
                      <a:pt x="39" y="43"/>
                      <a:pt x="41" y="44"/>
                    </a:cubicBezTo>
                    <a:cubicBezTo>
                      <a:pt x="43" y="45"/>
                      <a:pt x="46" y="44"/>
                      <a:pt x="47" y="47"/>
                    </a:cubicBezTo>
                    <a:cubicBezTo>
                      <a:pt x="48" y="49"/>
                      <a:pt x="52" y="56"/>
                      <a:pt x="52" y="58"/>
                    </a:cubicBezTo>
                    <a:cubicBezTo>
                      <a:pt x="52" y="59"/>
                      <a:pt x="49" y="61"/>
                      <a:pt x="50" y="63"/>
                    </a:cubicBezTo>
                    <a:cubicBezTo>
                      <a:pt x="51" y="64"/>
                      <a:pt x="53" y="65"/>
                      <a:pt x="54" y="64"/>
                    </a:cubicBezTo>
                    <a:cubicBezTo>
                      <a:pt x="55" y="64"/>
                      <a:pt x="57" y="62"/>
                      <a:pt x="57" y="62"/>
                    </a:cubicBezTo>
                    <a:cubicBezTo>
                      <a:pt x="57" y="62"/>
                      <a:pt x="61" y="62"/>
                      <a:pt x="62" y="63"/>
                    </a:cubicBezTo>
                    <a:cubicBezTo>
                      <a:pt x="64" y="65"/>
                      <a:pt x="64" y="70"/>
                      <a:pt x="61" y="72"/>
                    </a:cubicBezTo>
                    <a:cubicBezTo>
                      <a:pt x="58" y="74"/>
                      <a:pt x="53" y="75"/>
                      <a:pt x="53" y="76"/>
                    </a:cubicBezTo>
                    <a:cubicBezTo>
                      <a:pt x="52" y="78"/>
                      <a:pt x="61" y="79"/>
                      <a:pt x="61" y="80"/>
                    </a:cubicBezTo>
                    <a:cubicBezTo>
                      <a:pt x="61" y="81"/>
                      <a:pt x="52" y="85"/>
                      <a:pt x="51" y="85"/>
                    </a:cubicBezTo>
                    <a:cubicBezTo>
                      <a:pt x="49" y="84"/>
                      <a:pt x="40" y="83"/>
                      <a:pt x="37" y="84"/>
                    </a:cubicBezTo>
                    <a:cubicBezTo>
                      <a:pt x="35" y="85"/>
                      <a:pt x="26" y="85"/>
                      <a:pt x="25" y="86"/>
                    </a:cubicBezTo>
                    <a:cubicBezTo>
                      <a:pt x="24" y="88"/>
                      <a:pt x="24" y="91"/>
                      <a:pt x="22" y="91"/>
                    </a:cubicBezTo>
                    <a:cubicBezTo>
                      <a:pt x="20" y="90"/>
                      <a:pt x="19" y="88"/>
                      <a:pt x="17" y="89"/>
                    </a:cubicBezTo>
                    <a:cubicBezTo>
                      <a:pt x="15" y="90"/>
                      <a:pt x="11" y="93"/>
                      <a:pt x="10" y="93"/>
                    </a:cubicBezTo>
                    <a:cubicBezTo>
                      <a:pt x="9" y="93"/>
                      <a:pt x="5" y="93"/>
                      <a:pt x="5" y="92"/>
                    </a:cubicBezTo>
                    <a:cubicBezTo>
                      <a:pt x="5" y="90"/>
                      <a:pt x="11" y="86"/>
                      <a:pt x="13" y="86"/>
                    </a:cubicBezTo>
                    <a:cubicBezTo>
                      <a:pt x="14" y="85"/>
                      <a:pt x="16" y="81"/>
                      <a:pt x="17" y="81"/>
                    </a:cubicBezTo>
                    <a:cubicBezTo>
                      <a:pt x="18" y="80"/>
                      <a:pt x="25" y="80"/>
                      <a:pt x="26" y="80"/>
                    </a:cubicBezTo>
                    <a:cubicBezTo>
                      <a:pt x="27" y="79"/>
                      <a:pt x="30" y="78"/>
                      <a:pt x="29" y="77"/>
                    </a:cubicBezTo>
                    <a:cubicBezTo>
                      <a:pt x="28" y="75"/>
                      <a:pt x="21" y="75"/>
                      <a:pt x="20" y="75"/>
                    </a:cubicBezTo>
                    <a:cubicBezTo>
                      <a:pt x="19" y="74"/>
                      <a:pt x="12" y="76"/>
                      <a:pt x="11" y="74"/>
                    </a:cubicBezTo>
                    <a:cubicBezTo>
                      <a:pt x="10" y="73"/>
                      <a:pt x="12" y="72"/>
                      <a:pt x="13" y="71"/>
                    </a:cubicBezTo>
                    <a:cubicBezTo>
                      <a:pt x="14" y="70"/>
                      <a:pt x="19" y="69"/>
                      <a:pt x="19" y="68"/>
                    </a:cubicBezTo>
                    <a:cubicBezTo>
                      <a:pt x="19" y="68"/>
                      <a:pt x="19" y="63"/>
                      <a:pt x="18" y="63"/>
                    </a:cubicBezTo>
                    <a:cubicBezTo>
                      <a:pt x="17" y="62"/>
                      <a:pt x="14" y="64"/>
                      <a:pt x="14" y="62"/>
                    </a:cubicBezTo>
                    <a:cubicBezTo>
                      <a:pt x="14" y="61"/>
                      <a:pt x="16" y="59"/>
                      <a:pt x="18" y="58"/>
                    </a:cubicBezTo>
                    <a:cubicBezTo>
                      <a:pt x="19" y="58"/>
                      <a:pt x="26" y="59"/>
                      <a:pt x="27" y="58"/>
                    </a:cubicBezTo>
                    <a:cubicBezTo>
                      <a:pt x="28" y="57"/>
                      <a:pt x="28" y="52"/>
                      <a:pt x="27" y="50"/>
                    </a:cubicBezTo>
                    <a:cubicBezTo>
                      <a:pt x="26" y="49"/>
                      <a:pt x="23" y="46"/>
                      <a:pt x="23" y="45"/>
                    </a:cubicBezTo>
                    <a:cubicBezTo>
                      <a:pt x="23" y="44"/>
                      <a:pt x="27" y="42"/>
                      <a:pt x="27" y="41"/>
                    </a:cubicBezTo>
                    <a:cubicBezTo>
                      <a:pt x="26" y="39"/>
                      <a:pt x="21" y="41"/>
                      <a:pt x="20" y="42"/>
                    </a:cubicBezTo>
                    <a:cubicBezTo>
                      <a:pt x="19" y="43"/>
                      <a:pt x="15" y="45"/>
                      <a:pt x="14" y="45"/>
                    </a:cubicBezTo>
                    <a:cubicBezTo>
                      <a:pt x="13" y="44"/>
                      <a:pt x="14" y="43"/>
                      <a:pt x="12" y="42"/>
                    </a:cubicBezTo>
                    <a:cubicBezTo>
                      <a:pt x="10" y="40"/>
                      <a:pt x="13" y="38"/>
                      <a:pt x="13" y="38"/>
                    </a:cubicBezTo>
                    <a:cubicBezTo>
                      <a:pt x="13" y="36"/>
                      <a:pt x="16" y="36"/>
                      <a:pt x="15" y="35"/>
                    </a:cubicBezTo>
                    <a:cubicBezTo>
                      <a:pt x="14" y="34"/>
                      <a:pt x="14" y="32"/>
                      <a:pt x="14" y="30"/>
                    </a:cubicBezTo>
                    <a:cubicBezTo>
                      <a:pt x="14" y="29"/>
                      <a:pt x="12" y="28"/>
                      <a:pt x="11" y="28"/>
                    </a:cubicBezTo>
                    <a:cubicBezTo>
                      <a:pt x="10" y="28"/>
                      <a:pt x="8" y="33"/>
                      <a:pt x="6" y="32"/>
                    </a:cubicBezTo>
                    <a:cubicBezTo>
                      <a:pt x="4" y="31"/>
                      <a:pt x="5" y="27"/>
                      <a:pt x="5" y="26"/>
                    </a:cubicBezTo>
                    <a:cubicBezTo>
                      <a:pt x="5" y="25"/>
                      <a:pt x="7" y="20"/>
                      <a:pt x="5" y="19"/>
                    </a:cubicBezTo>
                    <a:cubicBezTo>
                      <a:pt x="4" y="18"/>
                      <a:pt x="0" y="16"/>
                      <a:pt x="0" y="15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4" name="Freeform 272"/>
              <p:cNvSpPr>
                <a:spLocks/>
              </p:cNvSpPr>
              <p:nvPr/>
            </p:nvSpPr>
            <p:spPr bwMode="auto">
              <a:xfrm>
                <a:off x="2598" y="1530"/>
                <a:ext cx="26" cy="42"/>
              </a:xfrm>
              <a:custGeom>
                <a:avLst/>
                <a:gdLst>
                  <a:gd name="T0" fmla="*/ 0 w 13"/>
                  <a:gd name="T1" fmla="*/ 983040 h 21"/>
                  <a:gd name="T2" fmla="*/ 131072 w 13"/>
                  <a:gd name="T3" fmla="*/ 327680 h 21"/>
                  <a:gd name="T4" fmla="*/ 786432 w 13"/>
                  <a:gd name="T5" fmla="*/ 65536 h 21"/>
                  <a:gd name="T6" fmla="*/ 720896 w 13"/>
                  <a:gd name="T7" fmla="*/ 393216 h 21"/>
                  <a:gd name="T8" fmla="*/ 393216 w 13"/>
                  <a:gd name="T9" fmla="*/ 655360 h 21"/>
                  <a:gd name="T10" fmla="*/ 196608 w 13"/>
                  <a:gd name="T11" fmla="*/ 1179648 h 21"/>
                  <a:gd name="T12" fmla="*/ 65536 w 13"/>
                  <a:gd name="T13" fmla="*/ 1376256 h 21"/>
                  <a:gd name="T14" fmla="*/ 0 w 13"/>
                  <a:gd name="T15" fmla="*/ 983040 h 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0" y="15"/>
                    </a:moveTo>
                    <a:cubicBezTo>
                      <a:pt x="0" y="13"/>
                      <a:pt x="1" y="6"/>
                      <a:pt x="2" y="5"/>
                    </a:cubicBezTo>
                    <a:cubicBezTo>
                      <a:pt x="3" y="4"/>
                      <a:pt x="10" y="0"/>
                      <a:pt x="12" y="1"/>
                    </a:cubicBezTo>
                    <a:cubicBezTo>
                      <a:pt x="13" y="2"/>
                      <a:pt x="11" y="5"/>
                      <a:pt x="11" y="6"/>
                    </a:cubicBezTo>
                    <a:cubicBezTo>
                      <a:pt x="11" y="6"/>
                      <a:pt x="6" y="9"/>
                      <a:pt x="6" y="10"/>
                    </a:cubicBezTo>
                    <a:cubicBezTo>
                      <a:pt x="6" y="10"/>
                      <a:pt x="3" y="17"/>
                      <a:pt x="3" y="18"/>
                    </a:cubicBezTo>
                    <a:cubicBezTo>
                      <a:pt x="3" y="18"/>
                      <a:pt x="2" y="21"/>
                      <a:pt x="1" y="21"/>
                    </a:cubicBezTo>
                    <a:cubicBezTo>
                      <a:pt x="0" y="21"/>
                      <a:pt x="0" y="18"/>
                      <a:pt x="0" y="15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5" name="Freeform 273"/>
              <p:cNvSpPr>
                <a:spLocks/>
              </p:cNvSpPr>
              <p:nvPr/>
            </p:nvSpPr>
            <p:spPr bwMode="auto">
              <a:xfrm>
                <a:off x="2600" y="1607"/>
                <a:ext cx="35" cy="26"/>
              </a:xfrm>
              <a:custGeom>
                <a:avLst/>
                <a:gdLst>
                  <a:gd name="T0" fmla="*/ 1160402 w 17"/>
                  <a:gd name="T1" fmla="*/ 0 h 13"/>
                  <a:gd name="T2" fmla="*/ 1670840 w 17"/>
                  <a:gd name="T3" fmla="*/ 524288 h 13"/>
                  <a:gd name="T4" fmla="*/ 957839 w 17"/>
                  <a:gd name="T5" fmla="*/ 851968 h 13"/>
                  <a:gd name="T6" fmla="*/ 608796 w 17"/>
                  <a:gd name="T7" fmla="*/ 720896 h 13"/>
                  <a:gd name="T8" fmla="*/ 92995 w 17"/>
                  <a:gd name="T9" fmla="*/ 655360 h 13"/>
                  <a:gd name="T10" fmla="*/ 394182 w 17"/>
                  <a:gd name="T11" fmla="*/ 196608 h 13"/>
                  <a:gd name="T12" fmla="*/ 718630 w 17"/>
                  <a:gd name="T13" fmla="*/ 0 h 13"/>
                  <a:gd name="T14" fmla="*/ 1160402 w 17"/>
                  <a:gd name="T15" fmla="*/ 0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" h="13">
                    <a:moveTo>
                      <a:pt x="11" y="0"/>
                    </a:moveTo>
                    <a:cubicBezTo>
                      <a:pt x="12" y="1"/>
                      <a:pt x="17" y="8"/>
                      <a:pt x="16" y="8"/>
                    </a:cubicBezTo>
                    <a:cubicBezTo>
                      <a:pt x="15" y="9"/>
                      <a:pt x="9" y="12"/>
                      <a:pt x="9" y="13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0"/>
                      <a:pt x="0" y="11"/>
                      <a:pt x="1" y="10"/>
                    </a:cubicBezTo>
                    <a:cubicBezTo>
                      <a:pt x="1" y="9"/>
                      <a:pt x="4" y="3"/>
                      <a:pt x="4" y="3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1" y="0"/>
                      <a:pt x="11" y="0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68" name="Group 277"/>
            <p:cNvGrpSpPr>
              <a:grpSpLocks/>
            </p:cNvGrpSpPr>
            <p:nvPr/>
          </p:nvGrpSpPr>
          <p:grpSpPr bwMode="auto">
            <a:xfrm>
              <a:off x="8458634" y="3686886"/>
              <a:ext cx="340084" cy="347326"/>
              <a:chOff x="4724" y="1801"/>
              <a:chExt cx="247" cy="267"/>
            </a:xfrm>
          </p:grpSpPr>
          <p:sp>
            <p:nvSpPr>
              <p:cNvPr id="169" name="Freeform 278"/>
              <p:cNvSpPr>
                <a:spLocks/>
              </p:cNvSpPr>
              <p:nvPr/>
            </p:nvSpPr>
            <p:spPr bwMode="auto">
              <a:xfrm>
                <a:off x="4878" y="1801"/>
                <a:ext cx="93" cy="79"/>
              </a:xfrm>
              <a:custGeom>
                <a:avLst/>
                <a:gdLst>
                  <a:gd name="T0" fmla="*/ 74044 w 46"/>
                  <a:gd name="T1" fmla="*/ 2504201 h 39"/>
                  <a:gd name="T2" fmla="*/ 461165 w 46"/>
                  <a:gd name="T3" fmla="*/ 1856417 h 39"/>
                  <a:gd name="T4" fmla="*/ 1086414 w 46"/>
                  <a:gd name="T5" fmla="*/ 1624023 h 39"/>
                  <a:gd name="T6" fmla="*/ 1318940 w 46"/>
                  <a:gd name="T7" fmla="*/ 629290 h 39"/>
                  <a:gd name="T8" fmla="*/ 1160290 w 46"/>
                  <a:gd name="T9" fmla="*/ 153365 h 39"/>
                  <a:gd name="T10" fmla="*/ 1469521 w 46"/>
                  <a:gd name="T11" fmla="*/ 153365 h 39"/>
                  <a:gd name="T12" fmla="*/ 1963384 w 46"/>
                  <a:gd name="T13" fmla="*/ 707573 h 39"/>
                  <a:gd name="T14" fmla="*/ 2896806 w 46"/>
                  <a:gd name="T15" fmla="*/ 1036395 h 39"/>
                  <a:gd name="T16" fmla="*/ 3431516 w 46"/>
                  <a:gd name="T17" fmla="*/ 958485 h 39"/>
                  <a:gd name="T18" fmla="*/ 3358788 w 46"/>
                  <a:gd name="T19" fmla="*/ 1433289 h 39"/>
                  <a:gd name="T20" fmla="*/ 3506094 w 46"/>
                  <a:gd name="T21" fmla="*/ 1856417 h 39"/>
                  <a:gd name="T22" fmla="*/ 2666553 w 46"/>
                  <a:gd name="T23" fmla="*/ 2099364 h 39"/>
                  <a:gd name="T24" fmla="*/ 2112808 w 46"/>
                  <a:gd name="T25" fmla="*/ 2745313 h 39"/>
                  <a:gd name="T26" fmla="*/ 1237060 w 46"/>
                  <a:gd name="T27" fmla="*/ 2253289 h 39"/>
                  <a:gd name="T28" fmla="*/ 690335 w 46"/>
                  <a:gd name="T29" fmla="*/ 2423605 h 39"/>
                  <a:gd name="T30" fmla="*/ 932355 w 46"/>
                  <a:gd name="T31" fmla="*/ 2820484 h 39"/>
                  <a:gd name="T32" fmla="*/ 228103 w 46"/>
                  <a:gd name="T33" fmla="*/ 3052862 h 39"/>
                  <a:gd name="T34" fmla="*/ 74044 w 46"/>
                  <a:gd name="T35" fmla="*/ 2504201 h 3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9">
                    <a:moveTo>
                      <a:pt x="1" y="31"/>
                    </a:moveTo>
                    <a:cubicBezTo>
                      <a:pt x="0" y="29"/>
                      <a:pt x="5" y="26"/>
                      <a:pt x="6" y="23"/>
                    </a:cubicBezTo>
                    <a:cubicBezTo>
                      <a:pt x="7" y="20"/>
                      <a:pt x="13" y="23"/>
                      <a:pt x="14" y="20"/>
                    </a:cubicBezTo>
                    <a:cubicBezTo>
                      <a:pt x="15" y="16"/>
                      <a:pt x="17" y="10"/>
                      <a:pt x="17" y="8"/>
                    </a:cubicBezTo>
                    <a:cubicBezTo>
                      <a:pt x="16" y="6"/>
                      <a:pt x="13" y="4"/>
                      <a:pt x="15" y="2"/>
                    </a:cubicBezTo>
                    <a:cubicBezTo>
                      <a:pt x="17" y="0"/>
                      <a:pt x="17" y="2"/>
                      <a:pt x="19" y="2"/>
                    </a:cubicBezTo>
                    <a:cubicBezTo>
                      <a:pt x="21" y="2"/>
                      <a:pt x="25" y="9"/>
                      <a:pt x="25" y="9"/>
                    </a:cubicBezTo>
                    <a:cubicBezTo>
                      <a:pt x="30" y="12"/>
                      <a:pt x="34" y="13"/>
                      <a:pt x="37" y="13"/>
                    </a:cubicBezTo>
                    <a:cubicBezTo>
                      <a:pt x="40" y="13"/>
                      <a:pt x="42" y="11"/>
                      <a:pt x="44" y="12"/>
                    </a:cubicBezTo>
                    <a:cubicBezTo>
                      <a:pt x="45" y="12"/>
                      <a:pt x="42" y="16"/>
                      <a:pt x="43" y="18"/>
                    </a:cubicBezTo>
                    <a:cubicBezTo>
                      <a:pt x="44" y="20"/>
                      <a:pt x="45" y="22"/>
                      <a:pt x="45" y="23"/>
                    </a:cubicBezTo>
                    <a:cubicBezTo>
                      <a:pt x="46" y="24"/>
                      <a:pt x="36" y="24"/>
                      <a:pt x="34" y="26"/>
                    </a:cubicBezTo>
                    <a:cubicBezTo>
                      <a:pt x="32" y="28"/>
                      <a:pt x="29" y="34"/>
                      <a:pt x="27" y="34"/>
                    </a:cubicBezTo>
                    <a:cubicBezTo>
                      <a:pt x="26" y="34"/>
                      <a:pt x="18" y="28"/>
                      <a:pt x="16" y="28"/>
                    </a:cubicBezTo>
                    <a:cubicBezTo>
                      <a:pt x="14" y="28"/>
                      <a:pt x="9" y="28"/>
                      <a:pt x="9" y="30"/>
                    </a:cubicBezTo>
                    <a:cubicBezTo>
                      <a:pt x="8" y="31"/>
                      <a:pt x="13" y="35"/>
                      <a:pt x="12" y="35"/>
                    </a:cubicBezTo>
                    <a:cubicBezTo>
                      <a:pt x="10" y="36"/>
                      <a:pt x="5" y="37"/>
                      <a:pt x="3" y="38"/>
                    </a:cubicBezTo>
                    <a:cubicBezTo>
                      <a:pt x="1" y="39"/>
                      <a:pt x="1" y="32"/>
                      <a:pt x="1" y="31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0" name="Freeform 279"/>
              <p:cNvSpPr>
                <a:spLocks/>
              </p:cNvSpPr>
              <p:nvPr/>
            </p:nvSpPr>
            <p:spPr bwMode="auto">
              <a:xfrm>
                <a:off x="4724" y="2018"/>
                <a:ext cx="38" cy="50"/>
              </a:xfrm>
              <a:custGeom>
                <a:avLst/>
                <a:gdLst>
                  <a:gd name="T0" fmla="*/ 1048576 w 19"/>
                  <a:gd name="T1" fmla="*/ 720896 h 25"/>
                  <a:gd name="T2" fmla="*/ 851968 w 19"/>
                  <a:gd name="T3" fmla="*/ 1245184 h 25"/>
                  <a:gd name="T4" fmla="*/ 458752 w 19"/>
                  <a:gd name="T5" fmla="*/ 1638400 h 25"/>
                  <a:gd name="T6" fmla="*/ 262144 w 19"/>
                  <a:gd name="T7" fmla="*/ 1310720 h 25"/>
                  <a:gd name="T8" fmla="*/ 327680 w 19"/>
                  <a:gd name="T9" fmla="*/ 655360 h 25"/>
                  <a:gd name="T10" fmla="*/ 0 w 19"/>
                  <a:gd name="T11" fmla="*/ 327680 h 25"/>
                  <a:gd name="T12" fmla="*/ 327680 w 19"/>
                  <a:gd name="T13" fmla="*/ 0 h 25"/>
                  <a:gd name="T14" fmla="*/ 720896 w 19"/>
                  <a:gd name="T15" fmla="*/ 262144 h 25"/>
                  <a:gd name="T16" fmla="*/ 1179648 w 19"/>
                  <a:gd name="T17" fmla="*/ 393216 h 25"/>
                  <a:gd name="T18" fmla="*/ 1048576 w 19"/>
                  <a:gd name="T19" fmla="*/ 720896 h 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9" h="25">
                    <a:moveTo>
                      <a:pt x="16" y="11"/>
                    </a:moveTo>
                    <a:cubicBezTo>
                      <a:pt x="16" y="14"/>
                      <a:pt x="15" y="18"/>
                      <a:pt x="13" y="19"/>
                    </a:cubicBezTo>
                    <a:cubicBezTo>
                      <a:pt x="10" y="22"/>
                      <a:pt x="8" y="25"/>
                      <a:pt x="7" y="25"/>
                    </a:cubicBezTo>
                    <a:cubicBezTo>
                      <a:pt x="6" y="24"/>
                      <a:pt x="4" y="22"/>
                      <a:pt x="4" y="20"/>
                    </a:cubicBezTo>
                    <a:cubicBezTo>
                      <a:pt x="4" y="17"/>
                      <a:pt x="7" y="12"/>
                      <a:pt x="5" y="10"/>
                    </a:cubicBezTo>
                    <a:cubicBezTo>
                      <a:pt x="4" y="8"/>
                      <a:pt x="0" y="9"/>
                      <a:pt x="0" y="5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6" y="0"/>
                      <a:pt x="10" y="4"/>
                      <a:pt x="11" y="4"/>
                    </a:cubicBezTo>
                    <a:cubicBezTo>
                      <a:pt x="12" y="5"/>
                      <a:pt x="17" y="3"/>
                      <a:pt x="18" y="6"/>
                    </a:cubicBezTo>
                    <a:cubicBezTo>
                      <a:pt x="19" y="8"/>
                      <a:pt x="16" y="11"/>
                      <a:pt x="16" y="11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1" name="Freeform 280"/>
              <p:cNvSpPr>
                <a:spLocks/>
              </p:cNvSpPr>
              <p:nvPr/>
            </p:nvSpPr>
            <p:spPr bwMode="auto">
              <a:xfrm>
                <a:off x="4744" y="1886"/>
                <a:ext cx="172" cy="134"/>
              </a:xfrm>
              <a:custGeom>
                <a:avLst/>
                <a:gdLst>
                  <a:gd name="T0" fmla="*/ 1488249 w 85"/>
                  <a:gd name="T1" fmla="*/ 5018938 h 66"/>
                  <a:gd name="T2" fmla="*/ 230464 w 85"/>
                  <a:gd name="T3" fmla="*/ 5258276 h 66"/>
                  <a:gd name="T4" fmla="*/ 230464 w 85"/>
                  <a:gd name="T5" fmla="*/ 4929978 h 66"/>
                  <a:gd name="T6" fmla="*/ 1096668 w 85"/>
                  <a:gd name="T7" fmla="*/ 4061794 h 66"/>
                  <a:gd name="T8" fmla="*/ 2546001 w 85"/>
                  <a:gd name="T9" fmla="*/ 3984415 h 66"/>
                  <a:gd name="T10" fmla="*/ 3011516 w 85"/>
                  <a:gd name="T11" fmla="*/ 4061794 h 66"/>
                  <a:gd name="T12" fmla="*/ 3472862 w 85"/>
                  <a:gd name="T13" fmla="*/ 2908596 h 66"/>
                  <a:gd name="T14" fmla="*/ 3864039 w 85"/>
                  <a:gd name="T15" fmla="*/ 2746872 h 66"/>
                  <a:gd name="T16" fmla="*/ 4015890 w 85"/>
                  <a:gd name="T17" fmla="*/ 3160743 h 66"/>
                  <a:gd name="T18" fmla="*/ 4651210 w 85"/>
                  <a:gd name="T19" fmla="*/ 2746872 h 66"/>
                  <a:gd name="T20" fmla="*/ 5075198 w 85"/>
                  <a:gd name="T21" fmla="*/ 2261528 h 66"/>
                  <a:gd name="T22" fmla="*/ 5461935 w 85"/>
                  <a:gd name="T23" fmla="*/ 1238103 h 66"/>
                  <a:gd name="T24" fmla="*/ 5461935 w 85"/>
                  <a:gd name="T25" fmla="*/ 408012 h 66"/>
                  <a:gd name="T26" fmla="*/ 5769208 w 85"/>
                  <a:gd name="T27" fmla="*/ 77314 h 66"/>
                  <a:gd name="T28" fmla="*/ 6253754 w 85"/>
                  <a:gd name="T29" fmla="*/ 77314 h 66"/>
                  <a:gd name="T30" fmla="*/ 6485213 w 85"/>
                  <a:gd name="T31" fmla="*/ 570300 h 66"/>
                  <a:gd name="T32" fmla="*/ 6560798 w 85"/>
                  <a:gd name="T33" fmla="*/ 1761501 h 66"/>
                  <a:gd name="T34" fmla="*/ 6018847 w 85"/>
                  <a:gd name="T35" fmla="*/ 2350851 h 66"/>
                  <a:gd name="T36" fmla="*/ 5862316 w 85"/>
                  <a:gd name="T37" fmla="*/ 3315406 h 66"/>
                  <a:gd name="T38" fmla="*/ 6018847 w 85"/>
                  <a:gd name="T39" fmla="*/ 4061794 h 66"/>
                  <a:gd name="T40" fmla="*/ 5461935 w 85"/>
                  <a:gd name="T41" fmla="*/ 4671248 h 66"/>
                  <a:gd name="T42" fmla="*/ 3941493 w 85"/>
                  <a:gd name="T43" fmla="*/ 4671248 h 66"/>
                  <a:gd name="T44" fmla="*/ 3550100 w 85"/>
                  <a:gd name="T45" fmla="*/ 4671248 h 66"/>
                  <a:gd name="T46" fmla="*/ 3090518 w 85"/>
                  <a:gd name="T47" fmla="*/ 5499634 h 66"/>
                  <a:gd name="T48" fmla="*/ 3011516 w 85"/>
                  <a:gd name="T49" fmla="*/ 5499634 h 66"/>
                  <a:gd name="T50" fmla="*/ 2546001 w 85"/>
                  <a:gd name="T51" fmla="*/ 5258276 h 66"/>
                  <a:gd name="T52" fmla="*/ 2699212 w 85"/>
                  <a:gd name="T53" fmla="*/ 4852564 h 66"/>
                  <a:gd name="T54" fmla="*/ 2145718 w 85"/>
                  <a:gd name="T55" fmla="*/ 4852564 h 66"/>
                  <a:gd name="T56" fmla="*/ 1488249 w 85"/>
                  <a:gd name="T57" fmla="*/ 5018938 h 6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5" h="66">
                    <a:moveTo>
                      <a:pt x="19" y="60"/>
                    </a:moveTo>
                    <a:cubicBezTo>
                      <a:pt x="16" y="61"/>
                      <a:pt x="7" y="64"/>
                      <a:pt x="3" y="63"/>
                    </a:cubicBezTo>
                    <a:cubicBezTo>
                      <a:pt x="0" y="62"/>
                      <a:pt x="2" y="60"/>
                      <a:pt x="3" y="59"/>
                    </a:cubicBezTo>
                    <a:cubicBezTo>
                      <a:pt x="7" y="55"/>
                      <a:pt x="11" y="50"/>
                      <a:pt x="14" y="49"/>
                    </a:cubicBezTo>
                    <a:cubicBezTo>
                      <a:pt x="18" y="48"/>
                      <a:pt x="30" y="49"/>
                      <a:pt x="32" y="48"/>
                    </a:cubicBezTo>
                    <a:cubicBezTo>
                      <a:pt x="34" y="48"/>
                      <a:pt x="35" y="51"/>
                      <a:pt x="38" y="49"/>
                    </a:cubicBezTo>
                    <a:cubicBezTo>
                      <a:pt x="40" y="47"/>
                      <a:pt x="43" y="38"/>
                      <a:pt x="44" y="35"/>
                    </a:cubicBezTo>
                    <a:cubicBezTo>
                      <a:pt x="46" y="32"/>
                      <a:pt x="48" y="33"/>
                      <a:pt x="49" y="33"/>
                    </a:cubicBezTo>
                    <a:cubicBezTo>
                      <a:pt x="50" y="33"/>
                      <a:pt x="47" y="38"/>
                      <a:pt x="51" y="38"/>
                    </a:cubicBezTo>
                    <a:cubicBezTo>
                      <a:pt x="55" y="38"/>
                      <a:pt x="59" y="33"/>
                      <a:pt x="59" y="33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7" y="22"/>
                      <a:pt x="69" y="18"/>
                      <a:pt x="69" y="15"/>
                    </a:cubicBezTo>
                    <a:cubicBezTo>
                      <a:pt x="69" y="12"/>
                      <a:pt x="68" y="6"/>
                      <a:pt x="69" y="5"/>
                    </a:cubicBezTo>
                    <a:cubicBezTo>
                      <a:pt x="70" y="5"/>
                      <a:pt x="73" y="1"/>
                      <a:pt x="73" y="1"/>
                    </a:cubicBezTo>
                    <a:cubicBezTo>
                      <a:pt x="73" y="1"/>
                      <a:pt x="79" y="0"/>
                      <a:pt x="79" y="1"/>
                    </a:cubicBezTo>
                    <a:cubicBezTo>
                      <a:pt x="79" y="2"/>
                      <a:pt x="81" y="5"/>
                      <a:pt x="82" y="7"/>
                    </a:cubicBezTo>
                    <a:cubicBezTo>
                      <a:pt x="84" y="10"/>
                      <a:pt x="85" y="18"/>
                      <a:pt x="83" y="21"/>
                    </a:cubicBezTo>
                    <a:cubicBezTo>
                      <a:pt x="80" y="25"/>
                      <a:pt x="76" y="24"/>
                      <a:pt x="76" y="28"/>
                    </a:cubicBezTo>
                    <a:cubicBezTo>
                      <a:pt x="76" y="32"/>
                      <a:pt x="75" y="37"/>
                      <a:pt x="74" y="40"/>
                    </a:cubicBezTo>
                    <a:cubicBezTo>
                      <a:pt x="73" y="43"/>
                      <a:pt x="77" y="48"/>
                      <a:pt x="76" y="49"/>
                    </a:cubicBezTo>
                    <a:cubicBezTo>
                      <a:pt x="75" y="50"/>
                      <a:pt x="71" y="56"/>
                      <a:pt x="69" y="56"/>
                    </a:cubicBezTo>
                    <a:cubicBezTo>
                      <a:pt x="66" y="56"/>
                      <a:pt x="52" y="56"/>
                      <a:pt x="50" y="56"/>
                    </a:cubicBezTo>
                    <a:cubicBezTo>
                      <a:pt x="48" y="56"/>
                      <a:pt x="47" y="54"/>
                      <a:pt x="45" y="56"/>
                    </a:cubicBezTo>
                    <a:cubicBezTo>
                      <a:pt x="43" y="58"/>
                      <a:pt x="42" y="64"/>
                      <a:pt x="39" y="66"/>
                    </a:cubicBezTo>
                    <a:cubicBezTo>
                      <a:pt x="39" y="66"/>
                      <a:pt x="38" y="66"/>
                      <a:pt x="38" y="66"/>
                    </a:cubicBezTo>
                    <a:cubicBezTo>
                      <a:pt x="36" y="66"/>
                      <a:pt x="32" y="66"/>
                      <a:pt x="32" y="63"/>
                    </a:cubicBezTo>
                    <a:cubicBezTo>
                      <a:pt x="32" y="61"/>
                      <a:pt x="36" y="60"/>
                      <a:pt x="34" y="58"/>
                    </a:cubicBezTo>
                    <a:cubicBezTo>
                      <a:pt x="33" y="56"/>
                      <a:pt x="28" y="57"/>
                      <a:pt x="27" y="58"/>
                    </a:cubicBezTo>
                    <a:cubicBezTo>
                      <a:pt x="25" y="58"/>
                      <a:pt x="19" y="60"/>
                      <a:pt x="19" y="60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2" name="Freeform 281"/>
              <p:cNvSpPr>
                <a:spLocks/>
              </p:cNvSpPr>
              <p:nvPr/>
            </p:nvSpPr>
            <p:spPr bwMode="auto">
              <a:xfrm>
                <a:off x="4772" y="2016"/>
                <a:ext cx="31" cy="24"/>
              </a:xfrm>
              <a:custGeom>
                <a:avLst/>
                <a:gdLst>
                  <a:gd name="T0" fmla="*/ 102542 w 15"/>
                  <a:gd name="T1" fmla="*/ 262144 h 12"/>
                  <a:gd name="T2" fmla="*/ 1244840 w 15"/>
                  <a:gd name="T3" fmla="*/ 0 h 12"/>
                  <a:gd name="T4" fmla="*/ 1553685 w 15"/>
                  <a:gd name="T5" fmla="*/ 458752 h 12"/>
                  <a:gd name="T6" fmla="*/ 1013655 w 15"/>
                  <a:gd name="T7" fmla="*/ 393216 h 12"/>
                  <a:gd name="T8" fmla="*/ 102542 w 15"/>
                  <a:gd name="T9" fmla="*/ 786432 h 12"/>
                  <a:gd name="T10" fmla="*/ 0 w 15"/>
                  <a:gd name="T11" fmla="*/ 458752 h 12"/>
                  <a:gd name="T12" fmla="*/ 102542 w 15"/>
                  <a:gd name="T13" fmla="*/ 262144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5" h="12">
                    <a:moveTo>
                      <a:pt x="1" y="4"/>
                    </a:moveTo>
                    <a:cubicBezTo>
                      <a:pt x="1" y="3"/>
                      <a:pt x="9" y="0"/>
                      <a:pt x="11" y="0"/>
                    </a:cubicBezTo>
                    <a:cubicBezTo>
                      <a:pt x="13" y="1"/>
                      <a:pt x="15" y="7"/>
                      <a:pt x="14" y="7"/>
                    </a:cubicBezTo>
                    <a:cubicBezTo>
                      <a:pt x="13" y="8"/>
                      <a:pt x="11" y="7"/>
                      <a:pt x="9" y="6"/>
                    </a:cubicBezTo>
                    <a:cubicBezTo>
                      <a:pt x="7" y="6"/>
                      <a:pt x="3" y="12"/>
                      <a:pt x="1" y="12"/>
                    </a:cubicBezTo>
                    <a:cubicBezTo>
                      <a:pt x="0" y="12"/>
                      <a:pt x="0" y="9"/>
                      <a:pt x="0" y="7"/>
                    </a:cubicBezTo>
                    <a:cubicBezTo>
                      <a:pt x="0" y="6"/>
                      <a:pt x="1" y="4"/>
                      <a:pt x="1" y="4"/>
                    </a:cubicBezTo>
                    <a:close/>
                  </a:path>
                </a:pathLst>
              </a:custGeom>
              <a:solidFill>
                <a:srgbClr val="AAB414"/>
              </a:solidFill>
              <a:ln w="9525" cap="flat" cmpd="sng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</p:grpSp>
      <p:grpSp>
        <p:nvGrpSpPr>
          <p:cNvPr id="293" name="Gruppieren 292"/>
          <p:cNvGrpSpPr/>
          <p:nvPr/>
        </p:nvGrpSpPr>
        <p:grpSpPr>
          <a:xfrm>
            <a:off x="656103" y="1596821"/>
            <a:ext cx="2644450" cy="1321086"/>
            <a:chOff x="656103" y="1596821"/>
            <a:chExt cx="2644450" cy="1321086"/>
          </a:xfrm>
        </p:grpSpPr>
        <p:sp>
          <p:nvSpPr>
            <p:cNvPr id="283" name="Rectangle 29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493132" y="1769201"/>
              <a:ext cx="1807421" cy="5103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90000" tIns="46800" rIns="90000" bIns="46800" anchor="b"/>
            <a:lstStyle/>
            <a:p>
              <a:pPr>
                <a:spcBef>
                  <a:spcPct val="50000"/>
                </a:spcBef>
              </a:pPr>
              <a:r>
                <a:rPr lang="en-US" altLang="en-US" sz="2400" b="1" dirty="0" err="1" smtClean="0">
                  <a:solidFill>
                    <a:srgbClr val="AAAA96"/>
                  </a:solidFill>
                  <a:latin typeface="Siemens Slab" pitchFamily="2" charset="0"/>
                  <a:cs typeface="Arial" pitchFamily="34" charset="0"/>
                </a:rPr>
                <a:t>Traditionalisten</a:t>
              </a:r>
              <a:endParaRPr lang="en-US" altLang="en-US" sz="2400" b="1" dirty="0">
                <a:solidFill>
                  <a:srgbClr val="AAAA96"/>
                </a:solidFill>
                <a:latin typeface="Siemens Slab" pitchFamily="2" charset="0"/>
                <a:cs typeface="Arial" pitchFamily="34" charset="0"/>
              </a:endParaRPr>
            </a:p>
          </p:txBody>
        </p:sp>
        <p:grpSp>
          <p:nvGrpSpPr>
            <p:cNvPr id="314" name="Group 26"/>
            <p:cNvGrpSpPr>
              <a:grpSpLocks noChangeAspect="1"/>
            </p:cNvGrpSpPr>
            <p:nvPr/>
          </p:nvGrpSpPr>
          <p:grpSpPr bwMode="auto">
            <a:xfrm>
              <a:off x="656103" y="1596821"/>
              <a:ext cx="837029" cy="1321086"/>
              <a:chOff x="2616" y="225"/>
              <a:chExt cx="2452" cy="3870"/>
            </a:xfrm>
            <a:solidFill>
              <a:srgbClr val="AAAA96"/>
            </a:solidFill>
          </p:grpSpPr>
          <p:sp>
            <p:nvSpPr>
              <p:cNvPr id="316" name="Freeform 27"/>
              <p:cNvSpPr>
                <a:spLocks noEditPoints="1"/>
              </p:cNvSpPr>
              <p:nvPr/>
            </p:nvSpPr>
            <p:spPr bwMode="auto">
              <a:xfrm>
                <a:off x="3192" y="687"/>
                <a:ext cx="1300" cy="2066"/>
              </a:xfrm>
              <a:custGeom>
                <a:avLst/>
                <a:gdLst>
                  <a:gd name="T0" fmla="*/ 497 w 1300"/>
                  <a:gd name="T1" fmla="*/ 859 h 2066"/>
                  <a:gd name="T2" fmla="*/ 497 w 1300"/>
                  <a:gd name="T3" fmla="*/ 703 h 2066"/>
                  <a:gd name="T4" fmla="*/ 419 w 1300"/>
                  <a:gd name="T5" fmla="*/ 703 h 2066"/>
                  <a:gd name="T6" fmla="*/ 419 w 1300"/>
                  <a:gd name="T7" fmla="*/ 0 h 2066"/>
                  <a:gd name="T8" fmla="*/ 234 w 1300"/>
                  <a:gd name="T9" fmla="*/ 0 h 2066"/>
                  <a:gd name="T10" fmla="*/ 234 w 1300"/>
                  <a:gd name="T11" fmla="*/ 703 h 2066"/>
                  <a:gd name="T12" fmla="*/ 156 w 1300"/>
                  <a:gd name="T13" fmla="*/ 703 h 2066"/>
                  <a:gd name="T14" fmla="*/ 156 w 1300"/>
                  <a:gd name="T15" fmla="*/ 859 h 2066"/>
                  <a:gd name="T16" fmla="*/ 0 w 1300"/>
                  <a:gd name="T17" fmla="*/ 859 h 2066"/>
                  <a:gd name="T18" fmla="*/ 0 w 1300"/>
                  <a:gd name="T19" fmla="*/ 2066 h 2066"/>
                  <a:gd name="T20" fmla="*/ 1300 w 1300"/>
                  <a:gd name="T21" fmla="*/ 2066 h 2066"/>
                  <a:gd name="T22" fmla="*/ 1300 w 1300"/>
                  <a:gd name="T23" fmla="*/ 859 h 2066"/>
                  <a:gd name="T24" fmla="*/ 497 w 1300"/>
                  <a:gd name="T25" fmla="*/ 859 h 2066"/>
                  <a:gd name="T26" fmla="*/ 1130 w 1300"/>
                  <a:gd name="T27" fmla="*/ 1462 h 2066"/>
                  <a:gd name="T28" fmla="*/ 170 w 1300"/>
                  <a:gd name="T29" fmla="*/ 1462 h 2066"/>
                  <a:gd name="T30" fmla="*/ 170 w 1300"/>
                  <a:gd name="T31" fmla="*/ 1377 h 2066"/>
                  <a:gd name="T32" fmla="*/ 1130 w 1300"/>
                  <a:gd name="T33" fmla="*/ 1377 h 2066"/>
                  <a:gd name="T34" fmla="*/ 1130 w 1300"/>
                  <a:gd name="T35" fmla="*/ 1462 h 2066"/>
                  <a:gd name="T36" fmla="*/ 1130 w 1300"/>
                  <a:gd name="T37" fmla="*/ 1271 h 2066"/>
                  <a:gd name="T38" fmla="*/ 170 w 1300"/>
                  <a:gd name="T39" fmla="*/ 1271 h 2066"/>
                  <a:gd name="T40" fmla="*/ 170 w 1300"/>
                  <a:gd name="T41" fmla="*/ 1185 h 2066"/>
                  <a:gd name="T42" fmla="*/ 1130 w 1300"/>
                  <a:gd name="T43" fmla="*/ 1185 h 2066"/>
                  <a:gd name="T44" fmla="*/ 1130 w 1300"/>
                  <a:gd name="T45" fmla="*/ 1271 h 20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00" h="2066">
                    <a:moveTo>
                      <a:pt x="497" y="859"/>
                    </a:moveTo>
                    <a:lnTo>
                      <a:pt x="497" y="703"/>
                    </a:lnTo>
                    <a:lnTo>
                      <a:pt x="419" y="703"/>
                    </a:lnTo>
                    <a:lnTo>
                      <a:pt x="419" y="0"/>
                    </a:lnTo>
                    <a:lnTo>
                      <a:pt x="234" y="0"/>
                    </a:lnTo>
                    <a:lnTo>
                      <a:pt x="234" y="703"/>
                    </a:lnTo>
                    <a:lnTo>
                      <a:pt x="156" y="703"/>
                    </a:lnTo>
                    <a:lnTo>
                      <a:pt x="156" y="859"/>
                    </a:lnTo>
                    <a:lnTo>
                      <a:pt x="0" y="859"/>
                    </a:lnTo>
                    <a:lnTo>
                      <a:pt x="0" y="2066"/>
                    </a:lnTo>
                    <a:lnTo>
                      <a:pt x="1300" y="2066"/>
                    </a:lnTo>
                    <a:lnTo>
                      <a:pt x="1300" y="859"/>
                    </a:lnTo>
                    <a:lnTo>
                      <a:pt x="497" y="859"/>
                    </a:lnTo>
                    <a:close/>
                    <a:moveTo>
                      <a:pt x="1130" y="1462"/>
                    </a:moveTo>
                    <a:lnTo>
                      <a:pt x="170" y="1462"/>
                    </a:lnTo>
                    <a:lnTo>
                      <a:pt x="170" y="1377"/>
                    </a:lnTo>
                    <a:lnTo>
                      <a:pt x="1130" y="1377"/>
                    </a:lnTo>
                    <a:lnTo>
                      <a:pt x="1130" y="1462"/>
                    </a:lnTo>
                    <a:close/>
                    <a:moveTo>
                      <a:pt x="1130" y="1271"/>
                    </a:moveTo>
                    <a:lnTo>
                      <a:pt x="170" y="1271"/>
                    </a:lnTo>
                    <a:lnTo>
                      <a:pt x="170" y="1185"/>
                    </a:lnTo>
                    <a:lnTo>
                      <a:pt x="1130" y="1185"/>
                    </a:lnTo>
                    <a:lnTo>
                      <a:pt x="1130" y="12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28"/>
              <p:cNvSpPr>
                <a:spLocks/>
              </p:cNvSpPr>
              <p:nvPr/>
            </p:nvSpPr>
            <p:spPr bwMode="auto">
              <a:xfrm>
                <a:off x="3568" y="225"/>
                <a:ext cx="1173" cy="561"/>
              </a:xfrm>
              <a:custGeom>
                <a:avLst/>
                <a:gdLst>
                  <a:gd name="T0" fmla="*/ 155 w 165"/>
                  <a:gd name="T1" fmla="*/ 30 h 79"/>
                  <a:gd name="T2" fmla="*/ 132 w 165"/>
                  <a:gd name="T3" fmla="*/ 27 h 79"/>
                  <a:gd name="T4" fmla="*/ 128 w 165"/>
                  <a:gd name="T5" fmla="*/ 19 h 79"/>
                  <a:gd name="T6" fmla="*/ 114 w 165"/>
                  <a:gd name="T7" fmla="*/ 19 h 79"/>
                  <a:gd name="T8" fmla="*/ 75 w 165"/>
                  <a:gd name="T9" fmla="*/ 0 h 79"/>
                  <a:gd name="T10" fmla="*/ 39 w 165"/>
                  <a:gd name="T11" fmla="*/ 22 h 79"/>
                  <a:gd name="T12" fmla="*/ 18 w 165"/>
                  <a:gd name="T13" fmla="*/ 25 h 79"/>
                  <a:gd name="T14" fmla="*/ 11 w 165"/>
                  <a:gd name="T15" fmla="*/ 38 h 79"/>
                  <a:gd name="T16" fmla="*/ 1 w 165"/>
                  <a:gd name="T17" fmla="*/ 43 h 79"/>
                  <a:gd name="T18" fmla="*/ 7 w 165"/>
                  <a:gd name="T19" fmla="*/ 53 h 79"/>
                  <a:gd name="T20" fmla="*/ 12 w 165"/>
                  <a:gd name="T21" fmla="*/ 55 h 79"/>
                  <a:gd name="T22" fmla="*/ 12 w 165"/>
                  <a:gd name="T23" fmla="*/ 57 h 79"/>
                  <a:gd name="T24" fmla="*/ 49 w 165"/>
                  <a:gd name="T25" fmla="*/ 79 h 79"/>
                  <a:gd name="T26" fmla="*/ 84 w 165"/>
                  <a:gd name="T27" fmla="*/ 63 h 79"/>
                  <a:gd name="T28" fmla="*/ 99 w 165"/>
                  <a:gd name="T29" fmla="*/ 65 h 79"/>
                  <a:gd name="T30" fmla="*/ 128 w 165"/>
                  <a:gd name="T31" fmla="*/ 51 h 79"/>
                  <a:gd name="T32" fmla="*/ 153 w 165"/>
                  <a:gd name="T33" fmla="*/ 52 h 79"/>
                  <a:gd name="T34" fmla="*/ 155 w 165"/>
                  <a:gd name="T35" fmla="*/ 3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5" h="79">
                    <a:moveTo>
                      <a:pt x="155" y="30"/>
                    </a:moveTo>
                    <a:cubicBezTo>
                      <a:pt x="145" y="25"/>
                      <a:pt x="132" y="27"/>
                      <a:pt x="132" y="27"/>
                    </a:cubicBezTo>
                    <a:cubicBezTo>
                      <a:pt x="132" y="27"/>
                      <a:pt x="133" y="22"/>
                      <a:pt x="128" y="19"/>
                    </a:cubicBezTo>
                    <a:cubicBezTo>
                      <a:pt x="120" y="16"/>
                      <a:pt x="114" y="19"/>
                      <a:pt x="114" y="19"/>
                    </a:cubicBezTo>
                    <a:cubicBezTo>
                      <a:pt x="114" y="19"/>
                      <a:pt x="109" y="0"/>
                      <a:pt x="75" y="0"/>
                    </a:cubicBezTo>
                    <a:cubicBezTo>
                      <a:pt x="39" y="1"/>
                      <a:pt x="39" y="22"/>
                      <a:pt x="39" y="22"/>
                    </a:cubicBezTo>
                    <a:cubicBezTo>
                      <a:pt x="39" y="22"/>
                      <a:pt x="29" y="19"/>
                      <a:pt x="18" y="25"/>
                    </a:cubicBezTo>
                    <a:cubicBezTo>
                      <a:pt x="7" y="30"/>
                      <a:pt x="11" y="38"/>
                      <a:pt x="11" y="38"/>
                    </a:cubicBezTo>
                    <a:cubicBezTo>
                      <a:pt x="11" y="38"/>
                      <a:pt x="4" y="38"/>
                      <a:pt x="1" y="43"/>
                    </a:cubicBezTo>
                    <a:cubicBezTo>
                      <a:pt x="0" y="46"/>
                      <a:pt x="0" y="50"/>
                      <a:pt x="7" y="53"/>
                    </a:cubicBezTo>
                    <a:cubicBezTo>
                      <a:pt x="8" y="54"/>
                      <a:pt x="10" y="54"/>
                      <a:pt x="12" y="55"/>
                    </a:cubicBezTo>
                    <a:cubicBezTo>
                      <a:pt x="12" y="55"/>
                      <a:pt x="12" y="56"/>
                      <a:pt x="12" y="57"/>
                    </a:cubicBezTo>
                    <a:cubicBezTo>
                      <a:pt x="12" y="69"/>
                      <a:pt x="28" y="79"/>
                      <a:pt x="49" y="79"/>
                    </a:cubicBezTo>
                    <a:cubicBezTo>
                      <a:pt x="66" y="79"/>
                      <a:pt x="80" y="72"/>
                      <a:pt x="84" y="63"/>
                    </a:cubicBezTo>
                    <a:cubicBezTo>
                      <a:pt x="88" y="64"/>
                      <a:pt x="93" y="65"/>
                      <a:pt x="99" y="65"/>
                    </a:cubicBezTo>
                    <a:cubicBezTo>
                      <a:pt x="124" y="65"/>
                      <a:pt x="128" y="51"/>
                      <a:pt x="128" y="51"/>
                    </a:cubicBezTo>
                    <a:cubicBezTo>
                      <a:pt x="128" y="51"/>
                      <a:pt x="138" y="59"/>
                      <a:pt x="153" y="52"/>
                    </a:cubicBezTo>
                    <a:cubicBezTo>
                      <a:pt x="165" y="47"/>
                      <a:pt x="164" y="35"/>
                      <a:pt x="15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29"/>
              <p:cNvSpPr>
                <a:spLocks/>
              </p:cNvSpPr>
              <p:nvPr/>
            </p:nvSpPr>
            <p:spPr bwMode="auto">
              <a:xfrm>
                <a:off x="2616" y="2874"/>
                <a:ext cx="2452" cy="1221"/>
              </a:xfrm>
              <a:custGeom>
                <a:avLst/>
                <a:gdLst>
                  <a:gd name="T0" fmla="*/ 338 w 345"/>
                  <a:gd name="T1" fmla="*/ 64 h 172"/>
                  <a:gd name="T2" fmla="*/ 248 w 345"/>
                  <a:gd name="T3" fmla="*/ 30 h 172"/>
                  <a:gd name="T4" fmla="*/ 232 w 345"/>
                  <a:gd name="T5" fmla="*/ 100 h 172"/>
                  <a:gd name="T6" fmla="*/ 231 w 345"/>
                  <a:gd name="T7" fmla="*/ 100 h 172"/>
                  <a:gd name="T8" fmla="*/ 176 w 345"/>
                  <a:gd name="T9" fmla="*/ 38 h 172"/>
                  <a:gd name="T10" fmla="*/ 176 w 345"/>
                  <a:gd name="T11" fmla="*/ 37 h 172"/>
                  <a:gd name="T12" fmla="*/ 220 w 345"/>
                  <a:gd name="T13" fmla="*/ 0 h 172"/>
                  <a:gd name="T14" fmla="*/ 116 w 345"/>
                  <a:gd name="T15" fmla="*/ 0 h 172"/>
                  <a:gd name="T16" fmla="*/ 161 w 345"/>
                  <a:gd name="T17" fmla="*/ 37 h 172"/>
                  <a:gd name="T18" fmla="*/ 161 w 345"/>
                  <a:gd name="T19" fmla="*/ 38 h 172"/>
                  <a:gd name="T20" fmla="*/ 106 w 345"/>
                  <a:gd name="T21" fmla="*/ 100 h 172"/>
                  <a:gd name="T22" fmla="*/ 105 w 345"/>
                  <a:gd name="T23" fmla="*/ 100 h 172"/>
                  <a:gd name="T24" fmla="*/ 90 w 345"/>
                  <a:gd name="T25" fmla="*/ 32 h 172"/>
                  <a:gd name="T26" fmla="*/ 7 w 345"/>
                  <a:gd name="T27" fmla="*/ 65 h 172"/>
                  <a:gd name="T28" fmla="*/ 0 w 345"/>
                  <a:gd name="T29" fmla="*/ 77 h 172"/>
                  <a:gd name="T30" fmla="*/ 0 w 345"/>
                  <a:gd name="T31" fmla="*/ 172 h 172"/>
                  <a:gd name="T32" fmla="*/ 115 w 345"/>
                  <a:gd name="T33" fmla="*/ 172 h 172"/>
                  <a:gd name="T34" fmla="*/ 110 w 345"/>
                  <a:gd name="T35" fmla="*/ 147 h 172"/>
                  <a:gd name="T36" fmla="*/ 110 w 345"/>
                  <a:gd name="T37" fmla="*/ 146 h 172"/>
                  <a:gd name="T38" fmla="*/ 141 w 345"/>
                  <a:gd name="T39" fmla="*/ 110 h 172"/>
                  <a:gd name="T40" fmla="*/ 142 w 345"/>
                  <a:gd name="T41" fmla="*/ 110 h 172"/>
                  <a:gd name="T42" fmla="*/ 155 w 345"/>
                  <a:gd name="T43" fmla="*/ 129 h 172"/>
                  <a:gd name="T44" fmla="*/ 156 w 345"/>
                  <a:gd name="T45" fmla="*/ 130 h 172"/>
                  <a:gd name="T46" fmla="*/ 149 w 345"/>
                  <a:gd name="T47" fmla="*/ 172 h 172"/>
                  <a:gd name="T48" fmla="*/ 191 w 345"/>
                  <a:gd name="T49" fmla="*/ 172 h 172"/>
                  <a:gd name="T50" fmla="*/ 184 w 345"/>
                  <a:gd name="T51" fmla="*/ 130 h 172"/>
                  <a:gd name="T52" fmla="*/ 184 w 345"/>
                  <a:gd name="T53" fmla="*/ 129 h 172"/>
                  <a:gd name="T54" fmla="*/ 198 w 345"/>
                  <a:gd name="T55" fmla="*/ 110 h 172"/>
                  <a:gd name="T56" fmla="*/ 199 w 345"/>
                  <a:gd name="T57" fmla="*/ 110 h 172"/>
                  <a:gd name="T58" fmla="*/ 230 w 345"/>
                  <a:gd name="T59" fmla="*/ 146 h 172"/>
                  <a:gd name="T60" fmla="*/ 230 w 345"/>
                  <a:gd name="T61" fmla="*/ 147 h 172"/>
                  <a:gd name="T62" fmla="*/ 224 w 345"/>
                  <a:gd name="T63" fmla="*/ 172 h 172"/>
                  <a:gd name="T64" fmla="*/ 345 w 345"/>
                  <a:gd name="T65" fmla="*/ 172 h 172"/>
                  <a:gd name="T66" fmla="*/ 345 w 345"/>
                  <a:gd name="T67" fmla="*/ 75 h 172"/>
                  <a:gd name="T68" fmla="*/ 338 w 345"/>
                  <a:gd name="T69" fmla="*/ 6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5" h="172">
                    <a:moveTo>
                      <a:pt x="338" y="64"/>
                    </a:moveTo>
                    <a:cubicBezTo>
                      <a:pt x="248" y="30"/>
                      <a:pt x="248" y="30"/>
                      <a:pt x="248" y="30"/>
                    </a:cubicBezTo>
                    <a:cubicBezTo>
                      <a:pt x="232" y="100"/>
                      <a:pt x="232" y="100"/>
                      <a:pt x="232" y="100"/>
                    </a:cubicBezTo>
                    <a:cubicBezTo>
                      <a:pt x="232" y="101"/>
                      <a:pt x="231" y="101"/>
                      <a:pt x="231" y="100"/>
                    </a:cubicBezTo>
                    <a:cubicBezTo>
                      <a:pt x="176" y="38"/>
                      <a:pt x="176" y="38"/>
                      <a:pt x="176" y="38"/>
                    </a:cubicBezTo>
                    <a:cubicBezTo>
                      <a:pt x="175" y="38"/>
                      <a:pt x="176" y="37"/>
                      <a:pt x="176" y="37"/>
                    </a:cubicBezTo>
                    <a:cubicBezTo>
                      <a:pt x="193" y="29"/>
                      <a:pt x="209" y="16"/>
                      <a:pt x="220" y="0"/>
                    </a:cubicBezTo>
                    <a:cubicBezTo>
                      <a:pt x="116" y="0"/>
                      <a:pt x="116" y="0"/>
                      <a:pt x="116" y="0"/>
                    </a:cubicBezTo>
                    <a:cubicBezTo>
                      <a:pt x="128" y="16"/>
                      <a:pt x="143" y="29"/>
                      <a:pt x="161" y="37"/>
                    </a:cubicBezTo>
                    <a:cubicBezTo>
                      <a:pt x="161" y="37"/>
                      <a:pt x="162" y="38"/>
                      <a:pt x="161" y="38"/>
                    </a:cubicBezTo>
                    <a:cubicBezTo>
                      <a:pt x="106" y="100"/>
                      <a:pt x="106" y="100"/>
                      <a:pt x="106" y="100"/>
                    </a:cubicBezTo>
                    <a:cubicBezTo>
                      <a:pt x="106" y="101"/>
                      <a:pt x="105" y="101"/>
                      <a:pt x="105" y="100"/>
                    </a:cubicBezTo>
                    <a:cubicBezTo>
                      <a:pt x="90" y="32"/>
                      <a:pt x="90" y="32"/>
                      <a:pt x="90" y="32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2" y="67"/>
                      <a:pt x="0" y="72"/>
                      <a:pt x="0" y="77"/>
                    </a:cubicBezTo>
                    <a:cubicBezTo>
                      <a:pt x="0" y="172"/>
                      <a:pt x="0" y="172"/>
                      <a:pt x="0" y="172"/>
                    </a:cubicBezTo>
                    <a:cubicBezTo>
                      <a:pt x="115" y="172"/>
                      <a:pt x="115" y="172"/>
                      <a:pt x="115" y="172"/>
                    </a:cubicBezTo>
                    <a:cubicBezTo>
                      <a:pt x="110" y="147"/>
                      <a:pt x="110" y="147"/>
                      <a:pt x="110" y="147"/>
                    </a:cubicBezTo>
                    <a:cubicBezTo>
                      <a:pt x="110" y="147"/>
                      <a:pt x="110" y="146"/>
                      <a:pt x="110" y="146"/>
                    </a:cubicBezTo>
                    <a:cubicBezTo>
                      <a:pt x="141" y="110"/>
                      <a:pt x="141" y="110"/>
                      <a:pt x="141" y="110"/>
                    </a:cubicBezTo>
                    <a:cubicBezTo>
                      <a:pt x="141" y="110"/>
                      <a:pt x="141" y="110"/>
                      <a:pt x="142" y="110"/>
                    </a:cubicBezTo>
                    <a:cubicBezTo>
                      <a:pt x="155" y="129"/>
                      <a:pt x="155" y="129"/>
                      <a:pt x="155" y="129"/>
                    </a:cubicBezTo>
                    <a:cubicBezTo>
                      <a:pt x="156" y="129"/>
                      <a:pt x="156" y="130"/>
                      <a:pt x="156" y="130"/>
                    </a:cubicBezTo>
                    <a:cubicBezTo>
                      <a:pt x="149" y="172"/>
                      <a:pt x="149" y="172"/>
                      <a:pt x="149" y="172"/>
                    </a:cubicBezTo>
                    <a:cubicBezTo>
                      <a:pt x="191" y="172"/>
                      <a:pt x="191" y="172"/>
                      <a:pt x="191" y="172"/>
                    </a:cubicBezTo>
                    <a:cubicBezTo>
                      <a:pt x="184" y="130"/>
                      <a:pt x="184" y="130"/>
                      <a:pt x="184" y="130"/>
                    </a:cubicBezTo>
                    <a:cubicBezTo>
                      <a:pt x="184" y="130"/>
                      <a:pt x="184" y="129"/>
                      <a:pt x="184" y="129"/>
                    </a:cubicBezTo>
                    <a:cubicBezTo>
                      <a:pt x="198" y="110"/>
                      <a:pt x="198" y="110"/>
                      <a:pt x="198" y="110"/>
                    </a:cubicBezTo>
                    <a:cubicBezTo>
                      <a:pt x="198" y="110"/>
                      <a:pt x="199" y="110"/>
                      <a:pt x="199" y="110"/>
                    </a:cubicBezTo>
                    <a:cubicBezTo>
                      <a:pt x="230" y="146"/>
                      <a:pt x="230" y="146"/>
                      <a:pt x="230" y="146"/>
                    </a:cubicBezTo>
                    <a:cubicBezTo>
                      <a:pt x="230" y="146"/>
                      <a:pt x="230" y="147"/>
                      <a:pt x="230" y="147"/>
                    </a:cubicBezTo>
                    <a:cubicBezTo>
                      <a:pt x="224" y="172"/>
                      <a:pt x="224" y="172"/>
                      <a:pt x="224" y="172"/>
                    </a:cubicBezTo>
                    <a:cubicBezTo>
                      <a:pt x="345" y="172"/>
                      <a:pt x="345" y="172"/>
                      <a:pt x="345" y="172"/>
                    </a:cubicBezTo>
                    <a:cubicBezTo>
                      <a:pt x="345" y="75"/>
                      <a:pt x="345" y="75"/>
                      <a:pt x="345" y="75"/>
                    </a:cubicBezTo>
                    <a:cubicBezTo>
                      <a:pt x="345" y="70"/>
                      <a:pt x="343" y="66"/>
                      <a:pt x="338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95" name="Gruppieren 294"/>
          <p:cNvGrpSpPr/>
          <p:nvPr/>
        </p:nvGrpSpPr>
        <p:grpSpPr>
          <a:xfrm>
            <a:off x="5433121" y="1403193"/>
            <a:ext cx="2529940" cy="851313"/>
            <a:chOff x="5272701" y="1403193"/>
            <a:chExt cx="2529940" cy="851313"/>
          </a:xfrm>
        </p:grpSpPr>
        <p:sp>
          <p:nvSpPr>
            <p:cNvPr id="284" name="Rectangle 29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272701" y="1684338"/>
              <a:ext cx="1537185" cy="57016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 anchor="b"/>
            <a:lstStyle/>
            <a:p>
              <a:pPr>
                <a:spcBef>
                  <a:spcPct val="50000"/>
                </a:spcBef>
              </a:pPr>
              <a:r>
                <a:rPr lang="en-US" altLang="en-US" sz="2400" b="1" dirty="0" err="1" smtClean="0">
                  <a:solidFill>
                    <a:srgbClr val="AAB414"/>
                  </a:solidFill>
                  <a:latin typeface="Siemens Slab" pitchFamily="2" charset="0"/>
                  <a:cs typeface="Arial" pitchFamily="34" charset="0"/>
                </a:rPr>
                <a:t>Grüne</a:t>
              </a:r>
              <a:r>
                <a:rPr lang="en-US" altLang="en-US" sz="2400" b="1" dirty="0" smtClean="0">
                  <a:solidFill>
                    <a:srgbClr val="AAB414"/>
                  </a:solidFill>
                  <a:latin typeface="Siemens Slab" pitchFamily="2" charset="0"/>
                  <a:cs typeface="Arial" pitchFamily="34" charset="0"/>
                </a:rPr>
                <a:t> </a:t>
              </a:r>
              <a:r>
                <a:rPr lang="en-US" altLang="en-US" sz="2400" b="1" dirty="0" err="1" smtClean="0">
                  <a:solidFill>
                    <a:srgbClr val="AAB414"/>
                  </a:solidFill>
                  <a:latin typeface="Siemens Slab" pitchFamily="2" charset="0"/>
                  <a:cs typeface="Arial" pitchFamily="34" charset="0"/>
                </a:rPr>
                <a:t>Pioniere</a:t>
              </a:r>
              <a:endParaRPr lang="en-US" altLang="en-US" sz="2400" b="1" dirty="0">
                <a:solidFill>
                  <a:srgbClr val="AAB414"/>
                </a:solidFill>
                <a:latin typeface="Siemens Slab" pitchFamily="2" charset="0"/>
                <a:cs typeface="Arial" pitchFamily="34" charset="0"/>
              </a:endParaRPr>
            </a:p>
          </p:txBody>
        </p:sp>
        <p:grpSp>
          <p:nvGrpSpPr>
            <p:cNvPr id="320" name="Group 32"/>
            <p:cNvGrpSpPr>
              <a:grpSpLocks noChangeAspect="1"/>
            </p:cNvGrpSpPr>
            <p:nvPr/>
          </p:nvGrpSpPr>
          <p:grpSpPr bwMode="auto">
            <a:xfrm>
              <a:off x="6656898" y="1403193"/>
              <a:ext cx="1145743" cy="791599"/>
              <a:chOff x="1865" y="800"/>
              <a:chExt cx="3947" cy="2727"/>
            </a:xfrm>
            <a:solidFill>
              <a:srgbClr val="AAB414"/>
            </a:solidFill>
          </p:grpSpPr>
          <p:sp>
            <p:nvSpPr>
              <p:cNvPr id="322" name="Freeform 33"/>
              <p:cNvSpPr>
                <a:spLocks/>
              </p:cNvSpPr>
              <p:nvPr/>
            </p:nvSpPr>
            <p:spPr bwMode="auto">
              <a:xfrm>
                <a:off x="2504" y="1922"/>
                <a:ext cx="3308" cy="1605"/>
              </a:xfrm>
              <a:custGeom>
                <a:avLst/>
                <a:gdLst>
                  <a:gd name="T0" fmla="*/ 466 w 466"/>
                  <a:gd name="T1" fmla="*/ 19 h 226"/>
                  <a:gd name="T2" fmla="*/ 441 w 466"/>
                  <a:gd name="T3" fmla="*/ 29 h 226"/>
                  <a:gd name="T4" fmla="*/ 243 w 466"/>
                  <a:gd name="T5" fmla="*/ 28 h 226"/>
                  <a:gd name="T6" fmla="*/ 186 w 466"/>
                  <a:gd name="T7" fmla="*/ 135 h 226"/>
                  <a:gd name="T8" fmla="*/ 440 w 466"/>
                  <a:gd name="T9" fmla="*/ 54 h 226"/>
                  <a:gd name="T10" fmla="*/ 214 w 466"/>
                  <a:gd name="T11" fmla="*/ 148 h 226"/>
                  <a:gd name="T12" fmla="*/ 30 w 466"/>
                  <a:gd name="T13" fmla="*/ 50 h 226"/>
                  <a:gd name="T14" fmla="*/ 0 w 466"/>
                  <a:gd name="T15" fmla="*/ 57 h 226"/>
                  <a:gd name="T16" fmla="*/ 122 w 466"/>
                  <a:gd name="T17" fmla="*/ 176 h 226"/>
                  <a:gd name="T18" fmla="*/ 210 w 466"/>
                  <a:gd name="T19" fmla="*/ 179 h 226"/>
                  <a:gd name="T20" fmla="*/ 328 w 466"/>
                  <a:gd name="T21" fmla="*/ 223 h 226"/>
                  <a:gd name="T22" fmla="*/ 466 w 466"/>
                  <a:gd name="T23" fmla="*/ 1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6" h="226">
                    <a:moveTo>
                      <a:pt x="466" y="19"/>
                    </a:moveTo>
                    <a:cubicBezTo>
                      <a:pt x="466" y="19"/>
                      <a:pt x="461" y="29"/>
                      <a:pt x="441" y="29"/>
                    </a:cubicBezTo>
                    <a:cubicBezTo>
                      <a:pt x="379" y="31"/>
                      <a:pt x="314" y="0"/>
                      <a:pt x="243" y="28"/>
                    </a:cubicBezTo>
                    <a:cubicBezTo>
                      <a:pt x="162" y="58"/>
                      <a:pt x="186" y="135"/>
                      <a:pt x="186" y="135"/>
                    </a:cubicBezTo>
                    <a:cubicBezTo>
                      <a:pt x="186" y="135"/>
                      <a:pt x="337" y="134"/>
                      <a:pt x="440" y="54"/>
                    </a:cubicBezTo>
                    <a:cubicBezTo>
                      <a:pt x="440" y="54"/>
                      <a:pt x="399" y="120"/>
                      <a:pt x="214" y="148"/>
                    </a:cubicBezTo>
                    <a:cubicBezTo>
                      <a:pt x="109" y="161"/>
                      <a:pt x="48" y="129"/>
                      <a:pt x="30" y="50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8" y="132"/>
                      <a:pt x="66" y="165"/>
                      <a:pt x="122" y="176"/>
                    </a:cubicBezTo>
                    <a:cubicBezTo>
                      <a:pt x="151" y="182"/>
                      <a:pt x="181" y="182"/>
                      <a:pt x="210" y="179"/>
                    </a:cubicBezTo>
                    <a:cubicBezTo>
                      <a:pt x="231" y="201"/>
                      <a:pt x="268" y="226"/>
                      <a:pt x="328" y="223"/>
                    </a:cubicBezTo>
                    <a:cubicBezTo>
                      <a:pt x="446" y="216"/>
                      <a:pt x="466" y="19"/>
                      <a:pt x="466" y="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Freeform 34"/>
              <p:cNvSpPr>
                <a:spLocks/>
              </p:cNvSpPr>
              <p:nvPr/>
            </p:nvSpPr>
            <p:spPr bwMode="auto">
              <a:xfrm>
                <a:off x="2000" y="892"/>
                <a:ext cx="298" cy="554"/>
              </a:xfrm>
              <a:custGeom>
                <a:avLst/>
                <a:gdLst>
                  <a:gd name="T0" fmla="*/ 31 w 42"/>
                  <a:gd name="T1" fmla="*/ 14 h 78"/>
                  <a:gd name="T2" fmla="*/ 14 w 42"/>
                  <a:gd name="T3" fmla="*/ 2 h 78"/>
                  <a:gd name="T4" fmla="*/ 2 w 42"/>
                  <a:gd name="T5" fmla="*/ 19 h 78"/>
                  <a:gd name="T6" fmla="*/ 12 w 42"/>
                  <a:gd name="T7" fmla="*/ 78 h 78"/>
                  <a:gd name="T8" fmla="*/ 42 w 42"/>
                  <a:gd name="T9" fmla="*/ 73 h 78"/>
                  <a:gd name="T10" fmla="*/ 31 w 42"/>
                  <a:gd name="T11" fmla="*/ 1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78">
                    <a:moveTo>
                      <a:pt x="31" y="14"/>
                    </a:moveTo>
                    <a:cubicBezTo>
                      <a:pt x="30" y="6"/>
                      <a:pt x="22" y="0"/>
                      <a:pt x="14" y="2"/>
                    </a:cubicBezTo>
                    <a:cubicBezTo>
                      <a:pt x="6" y="3"/>
                      <a:pt x="0" y="11"/>
                      <a:pt x="2" y="19"/>
                    </a:cubicBezTo>
                    <a:cubicBezTo>
                      <a:pt x="12" y="78"/>
                      <a:pt x="12" y="78"/>
                      <a:pt x="12" y="78"/>
                    </a:cubicBezTo>
                    <a:cubicBezTo>
                      <a:pt x="42" y="73"/>
                      <a:pt x="42" y="73"/>
                      <a:pt x="42" y="73"/>
                    </a:cubicBezTo>
                    <a:lnTo>
                      <a:pt x="31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Freeform 35"/>
              <p:cNvSpPr>
                <a:spLocks/>
              </p:cNvSpPr>
              <p:nvPr/>
            </p:nvSpPr>
            <p:spPr bwMode="auto">
              <a:xfrm>
                <a:off x="2525" y="800"/>
                <a:ext cx="291" cy="554"/>
              </a:xfrm>
              <a:custGeom>
                <a:avLst/>
                <a:gdLst>
                  <a:gd name="T0" fmla="*/ 30 w 41"/>
                  <a:gd name="T1" fmla="*/ 14 h 78"/>
                  <a:gd name="T2" fmla="*/ 13 w 41"/>
                  <a:gd name="T3" fmla="*/ 2 h 78"/>
                  <a:gd name="T4" fmla="*/ 1 w 41"/>
                  <a:gd name="T5" fmla="*/ 19 h 78"/>
                  <a:gd name="T6" fmla="*/ 12 w 41"/>
                  <a:gd name="T7" fmla="*/ 78 h 78"/>
                  <a:gd name="T8" fmla="*/ 41 w 41"/>
                  <a:gd name="T9" fmla="*/ 73 h 78"/>
                  <a:gd name="T10" fmla="*/ 30 w 41"/>
                  <a:gd name="T11" fmla="*/ 1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78">
                    <a:moveTo>
                      <a:pt x="30" y="14"/>
                    </a:moveTo>
                    <a:cubicBezTo>
                      <a:pt x="29" y="6"/>
                      <a:pt x="21" y="0"/>
                      <a:pt x="13" y="2"/>
                    </a:cubicBezTo>
                    <a:cubicBezTo>
                      <a:pt x="5" y="3"/>
                      <a:pt x="0" y="11"/>
                      <a:pt x="1" y="19"/>
                    </a:cubicBezTo>
                    <a:cubicBezTo>
                      <a:pt x="12" y="78"/>
                      <a:pt x="12" y="78"/>
                      <a:pt x="12" y="78"/>
                    </a:cubicBezTo>
                    <a:cubicBezTo>
                      <a:pt x="41" y="73"/>
                      <a:pt x="41" y="73"/>
                      <a:pt x="41" y="73"/>
                    </a:cubicBezTo>
                    <a:lnTo>
                      <a:pt x="30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36"/>
              <p:cNvSpPr>
                <a:spLocks noEditPoints="1"/>
              </p:cNvSpPr>
              <p:nvPr/>
            </p:nvSpPr>
            <p:spPr bwMode="auto">
              <a:xfrm>
                <a:off x="1865" y="1382"/>
                <a:ext cx="1278" cy="1002"/>
              </a:xfrm>
              <a:custGeom>
                <a:avLst/>
                <a:gdLst>
                  <a:gd name="T0" fmla="*/ 124 w 180"/>
                  <a:gd name="T1" fmla="*/ 136 h 141"/>
                  <a:gd name="T2" fmla="*/ 164 w 180"/>
                  <a:gd name="T3" fmla="*/ 62 h 141"/>
                  <a:gd name="T4" fmla="*/ 159 w 180"/>
                  <a:gd name="T5" fmla="*/ 32 h 141"/>
                  <a:gd name="T6" fmla="*/ 166 w 180"/>
                  <a:gd name="T7" fmla="*/ 31 h 141"/>
                  <a:gd name="T8" fmla="*/ 178 w 180"/>
                  <a:gd name="T9" fmla="*/ 14 h 141"/>
                  <a:gd name="T10" fmla="*/ 161 w 180"/>
                  <a:gd name="T11" fmla="*/ 2 h 141"/>
                  <a:gd name="T12" fmla="*/ 14 w 180"/>
                  <a:gd name="T13" fmla="*/ 28 h 141"/>
                  <a:gd name="T14" fmla="*/ 2 w 180"/>
                  <a:gd name="T15" fmla="*/ 45 h 141"/>
                  <a:gd name="T16" fmla="*/ 19 w 180"/>
                  <a:gd name="T17" fmla="*/ 57 h 141"/>
                  <a:gd name="T18" fmla="*/ 26 w 180"/>
                  <a:gd name="T19" fmla="*/ 56 h 141"/>
                  <a:gd name="T20" fmla="*/ 32 w 180"/>
                  <a:gd name="T21" fmla="*/ 86 h 141"/>
                  <a:gd name="T22" fmla="*/ 95 w 180"/>
                  <a:gd name="T23" fmla="*/ 141 h 141"/>
                  <a:gd name="T24" fmla="*/ 124 w 180"/>
                  <a:gd name="T25" fmla="*/ 136 h 141"/>
                  <a:gd name="T26" fmla="*/ 57 w 180"/>
                  <a:gd name="T27" fmla="*/ 77 h 141"/>
                  <a:gd name="T28" fmla="*/ 60 w 180"/>
                  <a:gd name="T29" fmla="*/ 73 h 141"/>
                  <a:gd name="T30" fmla="*/ 133 w 180"/>
                  <a:gd name="T31" fmla="*/ 60 h 141"/>
                  <a:gd name="T32" fmla="*/ 138 w 180"/>
                  <a:gd name="T33" fmla="*/ 63 h 141"/>
                  <a:gd name="T34" fmla="*/ 135 w 180"/>
                  <a:gd name="T35" fmla="*/ 67 h 141"/>
                  <a:gd name="T36" fmla="*/ 61 w 180"/>
                  <a:gd name="T37" fmla="*/ 80 h 141"/>
                  <a:gd name="T38" fmla="*/ 57 w 180"/>
                  <a:gd name="T39" fmla="*/ 77 h 141"/>
                  <a:gd name="T40" fmla="*/ 81 w 180"/>
                  <a:gd name="T41" fmla="*/ 107 h 141"/>
                  <a:gd name="T42" fmla="*/ 77 w 180"/>
                  <a:gd name="T43" fmla="*/ 104 h 141"/>
                  <a:gd name="T44" fmla="*/ 80 w 180"/>
                  <a:gd name="T45" fmla="*/ 100 h 141"/>
                  <a:gd name="T46" fmla="*/ 124 w 180"/>
                  <a:gd name="T47" fmla="*/ 92 h 141"/>
                  <a:gd name="T48" fmla="*/ 128 w 180"/>
                  <a:gd name="T49" fmla="*/ 95 h 141"/>
                  <a:gd name="T50" fmla="*/ 125 w 180"/>
                  <a:gd name="T51" fmla="*/ 99 h 141"/>
                  <a:gd name="T52" fmla="*/ 81 w 180"/>
                  <a:gd name="T53" fmla="*/ 107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0" h="141">
                    <a:moveTo>
                      <a:pt x="124" y="136"/>
                    </a:moveTo>
                    <a:cubicBezTo>
                      <a:pt x="152" y="123"/>
                      <a:pt x="170" y="93"/>
                      <a:pt x="164" y="62"/>
                    </a:cubicBezTo>
                    <a:cubicBezTo>
                      <a:pt x="159" y="32"/>
                      <a:pt x="159" y="32"/>
                      <a:pt x="159" y="32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74" y="29"/>
                      <a:pt x="180" y="22"/>
                      <a:pt x="178" y="14"/>
                    </a:cubicBezTo>
                    <a:cubicBezTo>
                      <a:pt x="177" y="5"/>
                      <a:pt x="169" y="0"/>
                      <a:pt x="161" y="2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6" y="30"/>
                      <a:pt x="0" y="37"/>
                      <a:pt x="2" y="45"/>
                    </a:cubicBezTo>
                    <a:cubicBezTo>
                      <a:pt x="3" y="54"/>
                      <a:pt x="11" y="59"/>
                      <a:pt x="19" y="57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32" y="86"/>
                      <a:pt x="32" y="86"/>
                      <a:pt x="32" y="86"/>
                    </a:cubicBezTo>
                    <a:cubicBezTo>
                      <a:pt x="37" y="117"/>
                      <a:pt x="64" y="139"/>
                      <a:pt x="95" y="141"/>
                    </a:cubicBezTo>
                    <a:lnTo>
                      <a:pt x="124" y="136"/>
                    </a:lnTo>
                    <a:close/>
                    <a:moveTo>
                      <a:pt x="57" y="77"/>
                    </a:moveTo>
                    <a:cubicBezTo>
                      <a:pt x="56" y="75"/>
                      <a:pt x="58" y="73"/>
                      <a:pt x="60" y="73"/>
                    </a:cubicBezTo>
                    <a:cubicBezTo>
                      <a:pt x="133" y="60"/>
                      <a:pt x="133" y="60"/>
                      <a:pt x="133" y="60"/>
                    </a:cubicBezTo>
                    <a:cubicBezTo>
                      <a:pt x="135" y="59"/>
                      <a:pt x="137" y="61"/>
                      <a:pt x="138" y="63"/>
                    </a:cubicBezTo>
                    <a:cubicBezTo>
                      <a:pt x="138" y="65"/>
                      <a:pt x="137" y="67"/>
                      <a:pt x="135" y="67"/>
                    </a:cubicBezTo>
                    <a:cubicBezTo>
                      <a:pt x="61" y="80"/>
                      <a:pt x="61" y="80"/>
                      <a:pt x="61" y="80"/>
                    </a:cubicBezTo>
                    <a:cubicBezTo>
                      <a:pt x="59" y="81"/>
                      <a:pt x="57" y="79"/>
                      <a:pt x="57" y="77"/>
                    </a:cubicBezTo>
                    <a:moveTo>
                      <a:pt x="81" y="107"/>
                    </a:moveTo>
                    <a:cubicBezTo>
                      <a:pt x="79" y="107"/>
                      <a:pt x="77" y="106"/>
                      <a:pt x="77" y="104"/>
                    </a:cubicBezTo>
                    <a:cubicBezTo>
                      <a:pt x="76" y="102"/>
                      <a:pt x="78" y="100"/>
                      <a:pt x="80" y="100"/>
                    </a:cubicBezTo>
                    <a:cubicBezTo>
                      <a:pt x="124" y="92"/>
                      <a:pt x="124" y="92"/>
                      <a:pt x="124" y="92"/>
                    </a:cubicBezTo>
                    <a:cubicBezTo>
                      <a:pt x="126" y="91"/>
                      <a:pt x="128" y="93"/>
                      <a:pt x="128" y="95"/>
                    </a:cubicBezTo>
                    <a:cubicBezTo>
                      <a:pt x="129" y="97"/>
                      <a:pt x="127" y="99"/>
                      <a:pt x="125" y="99"/>
                    </a:cubicBezTo>
                    <a:lnTo>
                      <a:pt x="81" y="1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96" name="Gruppieren 295"/>
          <p:cNvGrpSpPr/>
          <p:nvPr/>
        </p:nvGrpSpPr>
        <p:grpSpPr>
          <a:xfrm>
            <a:off x="9869296" y="1877209"/>
            <a:ext cx="1743586" cy="1892489"/>
            <a:chOff x="9869296" y="1877209"/>
            <a:chExt cx="1743586" cy="1892489"/>
          </a:xfrm>
        </p:grpSpPr>
        <p:sp>
          <p:nvSpPr>
            <p:cNvPr id="282" name="Rectangle 29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9869296" y="3222631"/>
              <a:ext cx="1743586" cy="5470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 anchor="b"/>
            <a:lstStyle/>
            <a:p>
              <a:pPr algn="ctr">
                <a:spcBef>
                  <a:spcPct val="50000"/>
                </a:spcBef>
              </a:pPr>
              <a:r>
                <a:rPr lang="en-US" altLang="en-US" sz="2400" b="1" dirty="0" err="1" smtClean="0">
                  <a:solidFill>
                    <a:schemeClr val="accent3"/>
                  </a:solidFill>
                  <a:latin typeface="Siemens Slab" pitchFamily="2" charset="0"/>
                  <a:cs typeface="Arial" pitchFamily="34" charset="0"/>
                </a:rPr>
                <a:t>Energie-hungrige</a:t>
              </a:r>
              <a:endParaRPr lang="en-US" altLang="en-US" sz="2400" b="1" dirty="0">
                <a:solidFill>
                  <a:schemeClr val="accent3"/>
                </a:solidFill>
                <a:latin typeface="Siemens Slab" pitchFamily="2" charset="0"/>
                <a:cs typeface="Arial" pitchFamily="34" charset="0"/>
              </a:endParaRPr>
            </a:p>
          </p:txBody>
        </p:sp>
        <p:grpSp>
          <p:nvGrpSpPr>
            <p:cNvPr id="327" name="Group 39"/>
            <p:cNvGrpSpPr>
              <a:grpSpLocks noChangeAspect="1"/>
            </p:cNvGrpSpPr>
            <p:nvPr/>
          </p:nvGrpSpPr>
          <p:grpSpPr bwMode="auto">
            <a:xfrm>
              <a:off x="10073769" y="1877209"/>
              <a:ext cx="1334641" cy="1052643"/>
              <a:chOff x="2021" y="721"/>
              <a:chExt cx="3649" cy="2878"/>
            </a:xfrm>
            <a:solidFill>
              <a:schemeClr val="accent3"/>
            </a:solidFill>
          </p:grpSpPr>
          <p:sp>
            <p:nvSpPr>
              <p:cNvPr id="329" name="Oval 40"/>
              <p:cNvSpPr>
                <a:spLocks noChangeArrowheads="1"/>
              </p:cNvSpPr>
              <p:nvPr/>
            </p:nvSpPr>
            <p:spPr bwMode="auto">
              <a:xfrm>
                <a:off x="3263" y="2114"/>
                <a:ext cx="320" cy="32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Oval 41"/>
              <p:cNvSpPr>
                <a:spLocks noChangeArrowheads="1"/>
              </p:cNvSpPr>
              <p:nvPr/>
            </p:nvSpPr>
            <p:spPr bwMode="auto">
              <a:xfrm>
                <a:off x="4193" y="2114"/>
                <a:ext cx="320" cy="32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42"/>
              <p:cNvSpPr>
                <a:spLocks noEditPoints="1"/>
              </p:cNvSpPr>
              <p:nvPr/>
            </p:nvSpPr>
            <p:spPr bwMode="auto">
              <a:xfrm>
                <a:off x="2610" y="998"/>
                <a:ext cx="2556" cy="2558"/>
              </a:xfrm>
              <a:custGeom>
                <a:avLst/>
                <a:gdLst>
                  <a:gd name="T0" fmla="*/ 180 w 360"/>
                  <a:gd name="T1" fmla="*/ 360 h 360"/>
                  <a:gd name="T2" fmla="*/ 0 w 360"/>
                  <a:gd name="T3" fmla="*/ 180 h 360"/>
                  <a:gd name="T4" fmla="*/ 180 w 360"/>
                  <a:gd name="T5" fmla="*/ 0 h 360"/>
                  <a:gd name="T6" fmla="*/ 360 w 360"/>
                  <a:gd name="T7" fmla="*/ 180 h 360"/>
                  <a:gd name="T8" fmla="*/ 180 w 360"/>
                  <a:gd name="T9" fmla="*/ 360 h 360"/>
                  <a:gd name="T10" fmla="*/ 180 w 360"/>
                  <a:gd name="T11" fmla="*/ 12 h 360"/>
                  <a:gd name="T12" fmla="*/ 12 w 360"/>
                  <a:gd name="T13" fmla="*/ 180 h 360"/>
                  <a:gd name="T14" fmla="*/ 180 w 360"/>
                  <a:gd name="T15" fmla="*/ 348 h 360"/>
                  <a:gd name="T16" fmla="*/ 348 w 360"/>
                  <a:gd name="T17" fmla="*/ 180 h 360"/>
                  <a:gd name="T18" fmla="*/ 180 w 360"/>
                  <a:gd name="T19" fmla="*/ 12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0" h="360">
                    <a:moveTo>
                      <a:pt x="180" y="360"/>
                    </a:moveTo>
                    <a:cubicBezTo>
                      <a:pt x="80" y="360"/>
                      <a:pt x="0" y="279"/>
                      <a:pt x="0" y="180"/>
                    </a:cubicBezTo>
                    <a:cubicBezTo>
                      <a:pt x="0" y="80"/>
                      <a:pt x="80" y="0"/>
                      <a:pt x="180" y="0"/>
                    </a:cubicBezTo>
                    <a:cubicBezTo>
                      <a:pt x="279" y="0"/>
                      <a:pt x="360" y="80"/>
                      <a:pt x="360" y="180"/>
                    </a:cubicBezTo>
                    <a:cubicBezTo>
                      <a:pt x="360" y="279"/>
                      <a:pt x="279" y="360"/>
                      <a:pt x="180" y="360"/>
                    </a:cubicBezTo>
                    <a:close/>
                    <a:moveTo>
                      <a:pt x="180" y="12"/>
                    </a:moveTo>
                    <a:cubicBezTo>
                      <a:pt x="87" y="12"/>
                      <a:pt x="12" y="87"/>
                      <a:pt x="12" y="180"/>
                    </a:cubicBezTo>
                    <a:cubicBezTo>
                      <a:pt x="12" y="273"/>
                      <a:pt x="87" y="348"/>
                      <a:pt x="180" y="348"/>
                    </a:cubicBezTo>
                    <a:cubicBezTo>
                      <a:pt x="273" y="348"/>
                      <a:pt x="348" y="273"/>
                      <a:pt x="348" y="180"/>
                    </a:cubicBezTo>
                    <a:cubicBezTo>
                      <a:pt x="348" y="87"/>
                      <a:pt x="273" y="12"/>
                      <a:pt x="18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43"/>
              <p:cNvSpPr>
                <a:spLocks noEditPoints="1"/>
              </p:cNvSpPr>
              <p:nvPr/>
            </p:nvSpPr>
            <p:spPr bwMode="auto">
              <a:xfrm>
                <a:off x="2795" y="1190"/>
                <a:ext cx="2201" cy="2203"/>
              </a:xfrm>
              <a:custGeom>
                <a:avLst/>
                <a:gdLst>
                  <a:gd name="T0" fmla="*/ 155 w 310"/>
                  <a:gd name="T1" fmla="*/ 0 h 310"/>
                  <a:gd name="T2" fmla="*/ 0 w 310"/>
                  <a:gd name="T3" fmla="*/ 155 h 310"/>
                  <a:gd name="T4" fmla="*/ 155 w 310"/>
                  <a:gd name="T5" fmla="*/ 310 h 310"/>
                  <a:gd name="T6" fmla="*/ 310 w 310"/>
                  <a:gd name="T7" fmla="*/ 155 h 310"/>
                  <a:gd name="T8" fmla="*/ 155 w 310"/>
                  <a:gd name="T9" fmla="*/ 0 h 310"/>
                  <a:gd name="T10" fmla="*/ 170 w 310"/>
                  <a:gd name="T11" fmla="*/ 292 h 310"/>
                  <a:gd name="T12" fmla="*/ 171 w 310"/>
                  <a:gd name="T13" fmla="*/ 290 h 310"/>
                  <a:gd name="T14" fmla="*/ 171 w 310"/>
                  <a:gd name="T15" fmla="*/ 289 h 310"/>
                  <a:gd name="T16" fmla="*/ 162 w 310"/>
                  <a:gd name="T17" fmla="*/ 281 h 310"/>
                  <a:gd name="T18" fmla="*/ 141 w 310"/>
                  <a:gd name="T19" fmla="*/ 281 h 310"/>
                  <a:gd name="T20" fmla="*/ 131 w 310"/>
                  <a:gd name="T21" fmla="*/ 289 h 310"/>
                  <a:gd name="T22" fmla="*/ 131 w 310"/>
                  <a:gd name="T23" fmla="*/ 290 h 310"/>
                  <a:gd name="T24" fmla="*/ 131 w 310"/>
                  <a:gd name="T25" fmla="*/ 291 h 310"/>
                  <a:gd name="T26" fmla="*/ 28 w 310"/>
                  <a:gd name="T27" fmla="*/ 211 h 310"/>
                  <a:gd name="T28" fmla="*/ 28 w 310"/>
                  <a:gd name="T29" fmla="*/ 170 h 310"/>
                  <a:gd name="T30" fmla="*/ 18 w 310"/>
                  <a:gd name="T31" fmla="*/ 170 h 310"/>
                  <a:gd name="T32" fmla="*/ 17 w 310"/>
                  <a:gd name="T33" fmla="*/ 156 h 310"/>
                  <a:gd name="T34" fmla="*/ 18 w 310"/>
                  <a:gd name="T35" fmla="*/ 142 h 310"/>
                  <a:gd name="T36" fmla="*/ 28 w 310"/>
                  <a:gd name="T37" fmla="*/ 142 h 310"/>
                  <a:gd name="T38" fmla="*/ 28 w 310"/>
                  <a:gd name="T39" fmla="*/ 98 h 310"/>
                  <a:gd name="T40" fmla="*/ 135 w 310"/>
                  <a:gd name="T41" fmla="*/ 18 h 310"/>
                  <a:gd name="T42" fmla="*/ 135 w 310"/>
                  <a:gd name="T43" fmla="*/ 19 h 310"/>
                  <a:gd name="T44" fmla="*/ 135 w 310"/>
                  <a:gd name="T45" fmla="*/ 21 h 310"/>
                  <a:gd name="T46" fmla="*/ 145 w 310"/>
                  <a:gd name="T47" fmla="*/ 31 h 310"/>
                  <a:gd name="T48" fmla="*/ 166 w 310"/>
                  <a:gd name="T49" fmla="*/ 31 h 310"/>
                  <a:gd name="T50" fmla="*/ 175 w 310"/>
                  <a:gd name="T51" fmla="*/ 21 h 310"/>
                  <a:gd name="T52" fmla="*/ 175 w 310"/>
                  <a:gd name="T53" fmla="*/ 19 h 310"/>
                  <a:gd name="T54" fmla="*/ 174 w 310"/>
                  <a:gd name="T55" fmla="*/ 18 h 310"/>
                  <a:gd name="T56" fmla="*/ 278 w 310"/>
                  <a:gd name="T57" fmla="*/ 94 h 310"/>
                  <a:gd name="T58" fmla="*/ 278 w 310"/>
                  <a:gd name="T59" fmla="*/ 142 h 310"/>
                  <a:gd name="T60" fmla="*/ 292 w 310"/>
                  <a:gd name="T61" fmla="*/ 142 h 310"/>
                  <a:gd name="T62" fmla="*/ 293 w 310"/>
                  <a:gd name="T63" fmla="*/ 156 h 310"/>
                  <a:gd name="T64" fmla="*/ 292 w 310"/>
                  <a:gd name="T65" fmla="*/ 170 h 310"/>
                  <a:gd name="T66" fmla="*/ 278 w 310"/>
                  <a:gd name="T67" fmla="*/ 170 h 310"/>
                  <a:gd name="T68" fmla="*/ 278 w 310"/>
                  <a:gd name="T69" fmla="*/ 216 h 310"/>
                  <a:gd name="T70" fmla="*/ 170 w 310"/>
                  <a:gd name="T71" fmla="*/ 292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10" h="310">
                    <a:moveTo>
                      <a:pt x="155" y="0"/>
                    </a:moveTo>
                    <a:cubicBezTo>
                      <a:pt x="69" y="0"/>
                      <a:pt x="0" y="69"/>
                      <a:pt x="0" y="155"/>
                    </a:cubicBezTo>
                    <a:cubicBezTo>
                      <a:pt x="0" y="240"/>
                      <a:pt x="69" y="310"/>
                      <a:pt x="155" y="310"/>
                    </a:cubicBezTo>
                    <a:cubicBezTo>
                      <a:pt x="241" y="310"/>
                      <a:pt x="310" y="240"/>
                      <a:pt x="310" y="155"/>
                    </a:cubicBezTo>
                    <a:cubicBezTo>
                      <a:pt x="310" y="69"/>
                      <a:pt x="241" y="0"/>
                      <a:pt x="155" y="0"/>
                    </a:cubicBezTo>
                    <a:close/>
                    <a:moveTo>
                      <a:pt x="170" y="292"/>
                    </a:moveTo>
                    <a:cubicBezTo>
                      <a:pt x="171" y="291"/>
                      <a:pt x="171" y="291"/>
                      <a:pt x="171" y="290"/>
                    </a:cubicBezTo>
                    <a:cubicBezTo>
                      <a:pt x="171" y="289"/>
                      <a:pt x="171" y="289"/>
                      <a:pt x="171" y="289"/>
                    </a:cubicBezTo>
                    <a:cubicBezTo>
                      <a:pt x="171" y="284"/>
                      <a:pt x="168" y="281"/>
                      <a:pt x="162" y="281"/>
                    </a:cubicBezTo>
                    <a:cubicBezTo>
                      <a:pt x="141" y="281"/>
                      <a:pt x="141" y="281"/>
                      <a:pt x="141" y="281"/>
                    </a:cubicBezTo>
                    <a:cubicBezTo>
                      <a:pt x="136" y="281"/>
                      <a:pt x="131" y="284"/>
                      <a:pt x="131" y="289"/>
                    </a:cubicBezTo>
                    <a:cubicBezTo>
                      <a:pt x="131" y="290"/>
                      <a:pt x="131" y="290"/>
                      <a:pt x="131" y="290"/>
                    </a:cubicBezTo>
                    <a:cubicBezTo>
                      <a:pt x="131" y="290"/>
                      <a:pt x="131" y="291"/>
                      <a:pt x="131" y="291"/>
                    </a:cubicBezTo>
                    <a:cubicBezTo>
                      <a:pt x="85" y="283"/>
                      <a:pt x="48" y="253"/>
                      <a:pt x="28" y="211"/>
                    </a:cubicBezTo>
                    <a:cubicBezTo>
                      <a:pt x="28" y="170"/>
                      <a:pt x="28" y="170"/>
                      <a:pt x="28" y="170"/>
                    </a:cubicBezTo>
                    <a:cubicBezTo>
                      <a:pt x="18" y="170"/>
                      <a:pt x="18" y="170"/>
                      <a:pt x="18" y="170"/>
                    </a:cubicBezTo>
                    <a:cubicBezTo>
                      <a:pt x="17" y="166"/>
                      <a:pt x="17" y="161"/>
                      <a:pt x="17" y="156"/>
                    </a:cubicBezTo>
                    <a:cubicBezTo>
                      <a:pt x="17" y="151"/>
                      <a:pt x="17" y="146"/>
                      <a:pt x="18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98"/>
                      <a:pt x="28" y="98"/>
                      <a:pt x="28" y="98"/>
                    </a:cubicBezTo>
                    <a:cubicBezTo>
                      <a:pt x="48" y="56"/>
                      <a:pt x="87" y="25"/>
                      <a:pt x="135" y="18"/>
                    </a:cubicBezTo>
                    <a:cubicBezTo>
                      <a:pt x="135" y="18"/>
                      <a:pt x="135" y="19"/>
                      <a:pt x="135" y="19"/>
                    </a:cubicBezTo>
                    <a:cubicBezTo>
                      <a:pt x="135" y="21"/>
                      <a:pt x="135" y="21"/>
                      <a:pt x="135" y="21"/>
                    </a:cubicBezTo>
                    <a:cubicBezTo>
                      <a:pt x="135" y="26"/>
                      <a:pt x="140" y="31"/>
                      <a:pt x="145" y="31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72" y="31"/>
                      <a:pt x="175" y="26"/>
                      <a:pt x="175" y="21"/>
                    </a:cubicBezTo>
                    <a:cubicBezTo>
                      <a:pt x="175" y="19"/>
                      <a:pt x="175" y="19"/>
                      <a:pt x="175" y="19"/>
                    </a:cubicBezTo>
                    <a:cubicBezTo>
                      <a:pt x="175" y="19"/>
                      <a:pt x="174" y="19"/>
                      <a:pt x="174" y="18"/>
                    </a:cubicBezTo>
                    <a:cubicBezTo>
                      <a:pt x="220" y="25"/>
                      <a:pt x="258" y="54"/>
                      <a:pt x="278" y="94"/>
                    </a:cubicBezTo>
                    <a:cubicBezTo>
                      <a:pt x="278" y="142"/>
                      <a:pt x="278" y="142"/>
                      <a:pt x="278" y="142"/>
                    </a:cubicBezTo>
                    <a:cubicBezTo>
                      <a:pt x="292" y="142"/>
                      <a:pt x="292" y="142"/>
                      <a:pt x="292" y="142"/>
                    </a:cubicBezTo>
                    <a:cubicBezTo>
                      <a:pt x="293" y="146"/>
                      <a:pt x="293" y="151"/>
                      <a:pt x="293" y="156"/>
                    </a:cubicBezTo>
                    <a:cubicBezTo>
                      <a:pt x="293" y="161"/>
                      <a:pt x="293" y="166"/>
                      <a:pt x="292" y="170"/>
                    </a:cubicBezTo>
                    <a:cubicBezTo>
                      <a:pt x="278" y="170"/>
                      <a:pt x="278" y="170"/>
                      <a:pt x="278" y="170"/>
                    </a:cubicBezTo>
                    <a:cubicBezTo>
                      <a:pt x="278" y="216"/>
                      <a:pt x="278" y="216"/>
                      <a:pt x="278" y="216"/>
                    </a:cubicBezTo>
                    <a:cubicBezTo>
                      <a:pt x="258" y="257"/>
                      <a:pt x="218" y="286"/>
                      <a:pt x="170" y="2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44"/>
              <p:cNvSpPr>
                <a:spLocks/>
              </p:cNvSpPr>
              <p:nvPr/>
            </p:nvSpPr>
            <p:spPr bwMode="auto">
              <a:xfrm>
                <a:off x="5315" y="721"/>
                <a:ext cx="355" cy="2878"/>
              </a:xfrm>
              <a:custGeom>
                <a:avLst/>
                <a:gdLst>
                  <a:gd name="T0" fmla="*/ 43 w 50"/>
                  <a:gd name="T1" fmla="*/ 177 h 405"/>
                  <a:gd name="T2" fmla="*/ 44 w 50"/>
                  <a:gd name="T3" fmla="*/ 174 h 405"/>
                  <a:gd name="T4" fmla="*/ 45 w 50"/>
                  <a:gd name="T5" fmla="*/ 169 h 405"/>
                  <a:gd name="T6" fmla="*/ 47 w 50"/>
                  <a:gd name="T7" fmla="*/ 149 h 405"/>
                  <a:gd name="T8" fmla="*/ 49 w 50"/>
                  <a:gd name="T9" fmla="*/ 9 h 405"/>
                  <a:gd name="T10" fmla="*/ 48 w 50"/>
                  <a:gd name="T11" fmla="*/ 2 h 405"/>
                  <a:gd name="T12" fmla="*/ 44 w 50"/>
                  <a:gd name="T13" fmla="*/ 0 h 405"/>
                  <a:gd name="T14" fmla="*/ 35 w 50"/>
                  <a:gd name="T15" fmla="*/ 5 h 405"/>
                  <a:gd name="T16" fmla="*/ 16 w 50"/>
                  <a:gd name="T17" fmla="*/ 51 h 405"/>
                  <a:gd name="T18" fmla="*/ 0 w 50"/>
                  <a:gd name="T19" fmla="*/ 132 h 405"/>
                  <a:gd name="T20" fmla="*/ 4 w 50"/>
                  <a:gd name="T21" fmla="*/ 151 h 405"/>
                  <a:gd name="T22" fmla="*/ 15 w 50"/>
                  <a:gd name="T23" fmla="*/ 168 h 405"/>
                  <a:gd name="T24" fmla="*/ 21 w 50"/>
                  <a:gd name="T25" fmla="*/ 182 h 405"/>
                  <a:gd name="T26" fmla="*/ 19 w 50"/>
                  <a:gd name="T27" fmla="*/ 206 h 405"/>
                  <a:gd name="T28" fmla="*/ 15 w 50"/>
                  <a:gd name="T29" fmla="*/ 232 h 405"/>
                  <a:gd name="T30" fmla="*/ 15 w 50"/>
                  <a:gd name="T31" fmla="*/ 398 h 405"/>
                  <a:gd name="T32" fmla="*/ 17 w 50"/>
                  <a:gd name="T33" fmla="*/ 403 h 405"/>
                  <a:gd name="T34" fmla="*/ 30 w 50"/>
                  <a:gd name="T35" fmla="*/ 405 h 405"/>
                  <a:gd name="T36" fmla="*/ 31 w 50"/>
                  <a:gd name="T37" fmla="*/ 405 h 405"/>
                  <a:gd name="T38" fmla="*/ 46 w 50"/>
                  <a:gd name="T39" fmla="*/ 404 h 405"/>
                  <a:gd name="T40" fmla="*/ 47 w 50"/>
                  <a:gd name="T41" fmla="*/ 398 h 405"/>
                  <a:gd name="T42" fmla="*/ 48 w 50"/>
                  <a:gd name="T43" fmla="*/ 374 h 405"/>
                  <a:gd name="T44" fmla="*/ 49 w 50"/>
                  <a:gd name="T45" fmla="*/ 242 h 405"/>
                  <a:gd name="T46" fmla="*/ 47 w 50"/>
                  <a:gd name="T47" fmla="*/ 215 h 405"/>
                  <a:gd name="T48" fmla="*/ 44 w 50"/>
                  <a:gd name="T49" fmla="*/ 204 h 405"/>
                  <a:gd name="T50" fmla="*/ 42 w 50"/>
                  <a:gd name="T51" fmla="*/ 195 h 405"/>
                  <a:gd name="T52" fmla="*/ 42 w 50"/>
                  <a:gd name="T53" fmla="*/ 182 h 405"/>
                  <a:gd name="T54" fmla="*/ 43 w 50"/>
                  <a:gd name="T55" fmla="*/ 177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0" h="405">
                    <a:moveTo>
                      <a:pt x="43" y="177"/>
                    </a:moveTo>
                    <a:cubicBezTo>
                      <a:pt x="43" y="176"/>
                      <a:pt x="44" y="175"/>
                      <a:pt x="44" y="174"/>
                    </a:cubicBezTo>
                    <a:cubicBezTo>
                      <a:pt x="44" y="173"/>
                      <a:pt x="45" y="172"/>
                      <a:pt x="45" y="169"/>
                    </a:cubicBezTo>
                    <a:cubicBezTo>
                      <a:pt x="46" y="165"/>
                      <a:pt x="47" y="150"/>
                      <a:pt x="47" y="149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49" y="8"/>
                      <a:pt x="50" y="4"/>
                      <a:pt x="48" y="2"/>
                    </a:cubicBezTo>
                    <a:cubicBezTo>
                      <a:pt x="47" y="0"/>
                      <a:pt x="45" y="0"/>
                      <a:pt x="44" y="0"/>
                    </a:cubicBezTo>
                    <a:cubicBezTo>
                      <a:pt x="37" y="0"/>
                      <a:pt x="35" y="5"/>
                      <a:pt x="35" y="5"/>
                    </a:cubicBezTo>
                    <a:cubicBezTo>
                      <a:pt x="35" y="5"/>
                      <a:pt x="24" y="27"/>
                      <a:pt x="16" y="51"/>
                    </a:cubicBezTo>
                    <a:cubicBezTo>
                      <a:pt x="9" y="76"/>
                      <a:pt x="0" y="132"/>
                      <a:pt x="0" y="132"/>
                    </a:cubicBezTo>
                    <a:cubicBezTo>
                      <a:pt x="0" y="133"/>
                      <a:pt x="0" y="143"/>
                      <a:pt x="4" y="151"/>
                    </a:cubicBezTo>
                    <a:cubicBezTo>
                      <a:pt x="7" y="159"/>
                      <a:pt x="15" y="168"/>
                      <a:pt x="15" y="168"/>
                    </a:cubicBezTo>
                    <a:cubicBezTo>
                      <a:pt x="15" y="168"/>
                      <a:pt x="21" y="176"/>
                      <a:pt x="21" y="182"/>
                    </a:cubicBezTo>
                    <a:cubicBezTo>
                      <a:pt x="22" y="188"/>
                      <a:pt x="19" y="206"/>
                      <a:pt x="19" y="206"/>
                    </a:cubicBezTo>
                    <a:cubicBezTo>
                      <a:pt x="19" y="207"/>
                      <a:pt x="15" y="223"/>
                      <a:pt x="15" y="232"/>
                    </a:cubicBezTo>
                    <a:cubicBezTo>
                      <a:pt x="15" y="241"/>
                      <a:pt x="15" y="397"/>
                      <a:pt x="15" y="398"/>
                    </a:cubicBezTo>
                    <a:cubicBezTo>
                      <a:pt x="15" y="398"/>
                      <a:pt x="15" y="402"/>
                      <a:pt x="17" y="403"/>
                    </a:cubicBezTo>
                    <a:cubicBezTo>
                      <a:pt x="18" y="404"/>
                      <a:pt x="19" y="405"/>
                      <a:pt x="30" y="405"/>
                    </a:cubicBezTo>
                    <a:cubicBezTo>
                      <a:pt x="31" y="405"/>
                      <a:pt x="31" y="405"/>
                      <a:pt x="31" y="405"/>
                    </a:cubicBezTo>
                    <a:cubicBezTo>
                      <a:pt x="40" y="405"/>
                      <a:pt x="45" y="404"/>
                      <a:pt x="46" y="404"/>
                    </a:cubicBezTo>
                    <a:cubicBezTo>
                      <a:pt x="47" y="402"/>
                      <a:pt x="47" y="399"/>
                      <a:pt x="47" y="398"/>
                    </a:cubicBezTo>
                    <a:cubicBezTo>
                      <a:pt x="48" y="374"/>
                      <a:pt x="48" y="374"/>
                      <a:pt x="48" y="374"/>
                    </a:cubicBezTo>
                    <a:cubicBezTo>
                      <a:pt x="49" y="242"/>
                      <a:pt x="49" y="242"/>
                      <a:pt x="49" y="242"/>
                    </a:cubicBezTo>
                    <a:cubicBezTo>
                      <a:pt x="49" y="241"/>
                      <a:pt x="47" y="220"/>
                      <a:pt x="47" y="215"/>
                    </a:cubicBezTo>
                    <a:cubicBezTo>
                      <a:pt x="46" y="212"/>
                      <a:pt x="45" y="208"/>
                      <a:pt x="44" y="204"/>
                    </a:cubicBezTo>
                    <a:cubicBezTo>
                      <a:pt x="43" y="200"/>
                      <a:pt x="43" y="196"/>
                      <a:pt x="42" y="195"/>
                    </a:cubicBezTo>
                    <a:cubicBezTo>
                      <a:pt x="42" y="191"/>
                      <a:pt x="42" y="182"/>
                      <a:pt x="42" y="182"/>
                    </a:cubicBezTo>
                    <a:cubicBezTo>
                      <a:pt x="42" y="182"/>
                      <a:pt x="43" y="180"/>
                      <a:pt x="43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45"/>
              <p:cNvSpPr>
                <a:spLocks noEditPoints="1"/>
              </p:cNvSpPr>
              <p:nvPr/>
            </p:nvSpPr>
            <p:spPr bwMode="auto">
              <a:xfrm>
                <a:off x="2021" y="877"/>
                <a:ext cx="412" cy="2722"/>
              </a:xfrm>
              <a:custGeom>
                <a:avLst/>
                <a:gdLst>
                  <a:gd name="T0" fmla="*/ 40 w 58"/>
                  <a:gd name="T1" fmla="*/ 127 h 383"/>
                  <a:gd name="T2" fmla="*/ 53 w 58"/>
                  <a:gd name="T3" fmla="*/ 112 h 383"/>
                  <a:gd name="T4" fmla="*/ 57 w 58"/>
                  <a:gd name="T5" fmla="*/ 88 h 383"/>
                  <a:gd name="T6" fmla="*/ 57 w 58"/>
                  <a:gd name="T7" fmla="*/ 61 h 383"/>
                  <a:gd name="T8" fmla="*/ 54 w 58"/>
                  <a:gd name="T9" fmla="*/ 5 h 383"/>
                  <a:gd name="T10" fmla="*/ 50 w 58"/>
                  <a:gd name="T11" fmla="*/ 0 h 383"/>
                  <a:gd name="T12" fmla="*/ 47 w 58"/>
                  <a:gd name="T13" fmla="*/ 5 h 383"/>
                  <a:gd name="T14" fmla="*/ 45 w 58"/>
                  <a:gd name="T15" fmla="*/ 40 h 383"/>
                  <a:gd name="T16" fmla="*/ 44 w 58"/>
                  <a:gd name="T17" fmla="*/ 66 h 383"/>
                  <a:gd name="T18" fmla="*/ 43 w 58"/>
                  <a:gd name="T19" fmla="*/ 71 h 383"/>
                  <a:gd name="T20" fmla="*/ 42 w 58"/>
                  <a:gd name="T21" fmla="*/ 66 h 383"/>
                  <a:gd name="T22" fmla="*/ 40 w 58"/>
                  <a:gd name="T23" fmla="*/ 4 h 383"/>
                  <a:gd name="T24" fmla="*/ 38 w 58"/>
                  <a:gd name="T25" fmla="*/ 0 h 383"/>
                  <a:gd name="T26" fmla="*/ 35 w 58"/>
                  <a:gd name="T27" fmla="*/ 4 h 383"/>
                  <a:gd name="T28" fmla="*/ 31 w 58"/>
                  <a:gd name="T29" fmla="*/ 40 h 383"/>
                  <a:gd name="T30" fmla="*/ 30 w 58"/>
                  <a:gd name="T31" fmla="*/ 67 h 383"/>
                  <a:gd name="T32" fmla="*/ 29 w 58"/>
                  <a:gd name="T33" fmla="*/ 71 h 383"/>
                  <a:gd name="T34" fmla="*/ 29 w 58"/>
                  <a:gd name="T35" fmla="*/ 71 h 383"/>
                  <a:gd name="T36" fmla="*/ 28 w 58"/>
                  <a:gd name="T37" fmla="*/ 67 h 383"/>
                  <a:gd name="T38" fmla="*/ 29 w 58"/>
                  <a:gd name="T39" fmla="*/ 12 h 383"/>
                  <a:gd name="T40" fmla="*/ 29 w 58"/>
                  <a:gd name="T41" fmla="*/ 5 h 383"/>
                  <a:gd name="T42" fmla="*/ 28 w 58"/>
                  <a:gd name="T43" fmla="*/ 1 h 383"/>
                  <a:gd name="T44" fmla="*/ 26 w 58"/>
                  <a:gd name="T45" fmla="*/ 0 h 383"/>
                  <a:gd name="T46" fmla="*/ 24 w 58"/>
                  <a:gd name="T47" fmla="*/ 4 h 383"/>
                  <a:gd name="T48" fmla="*/ 19 w 58"/>
                  <a:gd name="T49" fmla="*/ 41 h 383"/>
                  <a:gd name="T50" fmla="*/ 17 w 58"/>
                  <a:gd name="T51" fmla="*/ 67 h 383"/>
                  <a:gd name="T52" fmla="*/ 16 w 58"/>
                  <a:gd name="T53" fmla="*/ 70 h 383"/>
                  <a:gd name="T54" fmla="*/ 15 w 58"/>
                  <a:gd name="T55" fmla="*/ 71 h 383"/>
                  <a:gd name="T56" fmla="*/ 15 w 58"/>
                  <a:gd name="T57" fmla="*/ 70 h 383"/>
                  <a:gd name="T58" fmla="*/ 14 w 58"/>
                  <a:gd name="T59" fmla="*/ 67 h 383"/>
                  <a:gd name="T60" fmla="*/ 16 w 58"/>
                  <a:gd name="T61" fmla="*/ 5 h 383"/>
                  <a:gd name="T62" fmla="*/ 14 w 58"/>
                  <a:gd name="T63" fmla="*/ 0 h 383"/>
                  <a:gd name="T64" fmla="*/ 13 w 58"/>
                  <a:gd name="T65" fmla="*/ 0 h 383"/>
                  <a:gd name="T66" fmla="*/ 10 w 58"/>
                  <a:gd name="T67" fmla="*/ 5 h 383"/>
                  <a:gd name="T68" fmla="*/ 5 w 58"/>
                  <a:gd name="T69" fmla="*/ 37 h 383"/>
                  <a:gd name="T70" fmla="*/ 1 w 58"/>
                  <a:gd name="T71" fmla="*/ 75 h 383"/>
                  <a:gd name="T72" fmla="*/ 0 w 58"/>
                  <a:gd name="T73" fmla="*/ 99 h 383"/>
                  <a:gd name="T74" fmla="*/ 1 w 58"/>
                  <a:gd name="T75" fmla="*/ 103 h 383"/>
                  <a:gd name="T76" fmla="*/ 10 w 58"/>
                  <a:gd name="T77" fmla="*/ 119 h 383"/>
                  <a:gd name="T78" fmla="*/ 18 w 58"/>
                  <a:gd name="T79" fmla="*/ 127 h 383"/>
                  <a:gd name="T80" fmla="*/ 22 w 58"/>
                  <a:gd name="T81" fmla="*/ 133 h 383"/>
                  <a:gd name="T82" fmla="*/ 23 w 58"/>
                  <a:gd name="T83" fmla="*/ 139 h 383"/>
                  <a:gd name="T84" fmla="*/ 23 w 58"/>
                  <a:gd name="T85" fmla="*/ 153 h 383"/>
                  <a:gd name="T86" fmla="*/ 22 w 58"/>
                  <a:gd name="T87" fmla="*/ 177 h 383"/>
                  <a:gd name="T88" fmla="*/ 21 w 58"/>
                  <a:gd name="T89" fmla="*/ 184 h 383"/>
                  <a:gd name="T90" fmla="*/ 18 w 58"/>
                  <a:gd name="T91" fmla="*/ 194 h 383"/>
                  <a:gd name="T92" fmla="*/ 17 w 58"/>
                  <a:gd name="T93" fmla="*/ 205 h 383"/>
                  <a:gd name="T94" fmla="*/ 15 w 58"/>
                  <a:gd name="T95" fmla="*/ 376 h 383"/>
                  <a:gd name="T96" fmla="*/ 20 w 58"/>
                  <a:gd name="T97" fmla="*/ 383 h 383"/>
                  <a:gd name="T98" fmla="*/ 37 w 58"/>
                  <a:gd name="T99" fmla="*/ 383 h 383"/>
                  <a:gd name="T100" fmla="*/ 42 w 58"/>
                  <a:gd name="T101" fmla="*/ 381 h 383"/>
                  <a:gd name="T102" fmla="*/ 43 w 58"/>
                  <a:gd name="T103" fmla="*/ 377 h 383"/>
                  <a:gd name="T104" fmla="*/ 44 w 58"/>
                  <a:gd name="T105" fmla="*/ 205 h 383"/>
                  <a:gd name="T106" fmla="*/ 43 w 58"/>
                  <a:gd name="T107" fmla="*/ 194 h 383"/>
                  <a:gd name="T108" fmla="*/ 41 w 58"/>
                  <a:gd name="T109" fmla="*/ 189 h 383"/>
                  <a:gd name="T110" fmla="*/ 39 w 58"/>
                  <a:gd name="T111" fmla="*/ 182 h 383"/>
                  <a:gd name="T112" fmla="*/ 37 w 58"/>
                  <a:gd name="T113" fmla="*/ 162 h 383"/>
                  <a:gd name="T114" fmla="*/ 36 w 58"/>
                  <a:gd name="T115" fmla="*/ 140 h 383"/>
                  <a:gd name="T116" fmla="*/ 38 w 58"/>
                  <a:gd name="T117" fmla="*/ 130 h 383"/>
                  <a:gd name="T118" fmla="*/ 40 w 58"/>
                  <a:gd name="T119" fmla="*/ 127 h 383"/>
                  <a:gd name="T120" fmla="*/ 20 w 58"/>
                  <a:gd name="T121" fmla="*/ 381 h 383"/>
                  <a:gd name="T122" fmla="*/ 20 w 58"/>
                  <a:gd name="T123" fmla="*/ 381 h 383"/>
                  <a:gd name="T124" fmla="*/ 20 w 58"/>
                  <a:gd name="T125" fmla="*/ 381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8" h="383">
                    <a:moveTo>
                      <a:pt x="40" y="127"/>
                    </a:moveTo>
                    <a:cubicBezTo>
                      <a:pt x="40" y="127"/>
                      <a:pt x="48" y="120"/>
                      <a:pt x="53" y="112"/>
                    </a:cubicBezTo>
                    <a:cubicBezTo>
                      <a:pt x="58" y="103"/>
                      <a:pt x="57" y="89"/>
                      <a:pt x="57" y="88"/>
                    </a:cubicBezTo>
                    <a:cubicBezTo>
                      <a:pt x="57" y="61"/>
                      <a:pt x="57" y="61"/>
                      <a:pt x="57" y="61"/>
                    </a:cubicBezTo>
                    <a:cubicBezTo>
                      <a:pt x="54" y="5"/>
                      <a:pt x="54" y="5"/>
                      <a:pt x="54" y="5"/>
                    </a:cubicBezTo>
                    <a:cubicBezTo>
                      <a:pt x="54" y="3"/>
                      <a:pt x="53" y="0"/>
                      <a:pt x="50" y="0"/>
                    </a:cubicBezTo>
                    <a:cubicBezTo>
                      <a:pt x="48" y="0"/>
                      <a:pt x="47" y="3"/>
                      <a:pt x="47" y="5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4" y="69"/>
                      <a:pt x="44" y="71"/>
                      <a:pt x="43" y="71"/>
                    </a:cubicBezTo>
                    <a:cubicBezTo>
                      <a:pt x="43" y="71"/>
                      <a:pt x="42" y="69"/>
                      <a:pt x="42" y="66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2"/>
                      <a:pt x="40" y="0"/>
                      <a:pt x="38" y="0"/>
                    </a:cubicBezTo>
                    <a:cubicBezTo>
                      <a:pt x="36" y="0"/>
                      <a:pt x="35" y="2"/>
                      <a:pt x="35" y="4"/>
                    </a:cubicBezTo>
                    <a:cubicBezTo>
                      <a:pt x="34" y="6"/>
                      <a:pt x="32" y="34"/>
                      <a:pt x="31" y="40"/>
                    </a:cubicBezTo>
                    <a:cubicBezTo>
                      <a:pt x="31" y="46"/>
                      <a:pt x="30" y="67"/>
                      <a:pt x="30" y="67"/>
                    </a:cubicBezTo>
                    <a:cubicBezTo>
                      <a:pt x="30" y="68"/>
                      <a:pt x="30" y="71"/>
                      <a:pt x="29" y="71"/>
                    </a:cubicBezTo>
                    <a:cubicBezTo>
                      <a:pt x="29" y="71"/>
                      <a:pt x="29" y="71"/>
                      <a:pt x="29" y="71"/>
                    </a:cubicBezTo>
                    <a:cubicBezTo>
                      <a:pt x="28" y="70"/>
                      <a:pt x="28" y="68"/>
                      <a:pt x="28" y="67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9" y="4"/>
                      <a:pt x="29" y="2"/>
                      <a:pt x="28" y="1"/>
                    </a:cubicBezTo>
                    <a:cubicBezTo>
                      <a:pt x="28" y="0"/>
                      <a:pt x="27" y="0"/>
                      <a:pt x="26" y="0"/>
                    </a:cubicBezTo>
                    <a:cubicBezTo>
                      <a:pt x="24" y="0"/>
                      <a:pt x="24" y="2"/>
                      <a:pt x="24" y="4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7" y="67"/>
                      <a:pt x="17" y="67"/>
                      <a:pt x="17" y="67"/>
                    </a:cubicBezTo>
                    <a:cubicBezTo>
                      <a:pt x="17" y="68"/>
                      <a:pt x="17" y="70"/>
                      <a:pt x="16" y="70"/>
                    </a:cubicBezTo>
                    <a:cubicBezTo>
                      <a:pt x="16" y="70"/>
                      <a:pt x="15" y="71"/>
                      <a:pt x="15" y="71"/>
                    </a:cubicBezTo>
                    <a:cubicBezTo>
                      <a:pt x="15" y="71"/>
                      <a:pt x="15" y="70"/>
                      <a:pt x="15" y="70"/>
                    </a:cubicBezTo>
                    <a:cubicBezTo>
                      <a:pt x="14" y="70"/>
                      <a:pt x="14" y="68"/>
                      <a:pt x="14" y="67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2"/>
                      <a:pt x="15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1" y="0"/>
                      <a:pt x="11" y="3"/>
                      <a:pt x="10" y="5"/>
                    </a:cubicBezTo>
                    <a:cubicBezTo>
                      <a:pt x="9" y="10"/>
                      <a:pt x="5" y="36"/>
                      <a:pt x="5" y="37"/>
                    </a:cubicBezTo>
                    <a:cubicBezTo>
                      <a:pt x="5" y="37"/>
                      <a:pt x="2" y="58"/>
                      <a:pt x="1" y="75"/>
                    </a:cubicBezTo>
                    <a:cubicBezTo>
                      <a:pt x="0" y="90"/>
                      <a:pt x="0" y="93"/>
                      <a:pt x="0" y="99"/>
                    </a:cubicBezTo>
                    <a:cubicBezTo>
                      <a:pt x="1" y="103"/>
                      <a:pt x="1" y="103"/>
                      <a:pt x="1" y="103"/>
                    </a:cubicBezTo>
                    <a:cubicBezTo>
                      <a:pt x="1" y="112"/>
                      <a:pt x="10" y="119"/>
                      <a:pt x="10" y="119"/>
                    </a:cubicBezTo>
                    <a:cubicBezTo>
                      <a:pt x="18" y="127"/>
                      <a:pt x="18" y="127"/>
                      <a:pt x="18" y="127"/>
                    </a:cubicBezTo>
                    <a:cubicBezTo>
                      <a:pt x="19" y="128"/>
                      <a:pt x="21" y="131"/>
                      <a:pt x="22" y="133"/>
                    </a:cubicBezTo>
                    <a:cubicBezTo>
                      <a:pt x="23" y="135"/>
                      <a:pt x="23" y="138"/>
                      <a:pt x="23" y="139"/>
                    </a:cubicBezTo>
                    <a:cubicBezTo>
                      <a:pt x="23" y="153"/>
                      <a:pt x="23" y="153"/>
                      <a:pt x="23" y="153"/>
                    </a:cubicBezTo>
                    <a:cubicBezTo>
                      <a:pt x="23" y="153"/>
                      <a:pt x="23" y="172"/>
                      <a:pt x="22" y="177"/>
                    </a:cubicBezTo>
                    <a:cubicBezTo>
                      <a:pt x="22" y="182"/>
                      <a:pt x="21" y="184"/>
                      <a:pt x="21" y="184"/>
                    </a:cubicBezTo>
                    <a:cubicBezTo>
                      <a:pt x="21" y="185"/>
                      <a:pt x="19" y="190"/>
                      <a:pt x="18" y="194"/>
                    </a:cubicBezTo>
                    <a:cubicBezTo>
                      <a:pt x="17" y="198"/>
                      <a:pt x="17" y="204"/>
                      <a:pt x="17" y="205"/>
                    </a:cubicBezTo>
                    <a:cubicBezTo>
                      <a:pt x="15" y="376"/>
                      <a:pt x="15" y="376"/>
                      <a:pt x="15" y="376"/>
                    </a:cubicBezTo>
                    <a:cubicBezTo>
                      <a:pt x="15" y="383"/>
                      <a:pt x="19" y="383"/>
                      <a:pt x="20" y="383"/>
                    </a:cubicBezTo>
                    <a:cubicBezTo>
                      <a:pt x="37" y="383"/>
                      <a:pt x="37" y="383"/>
                      <a:pt x="37" y="383"/>
                    </a:cubicBezTo>
                    <a:cubicBezTo>
                      <a:pt x="39" y="383"/>
                      <a:pt x="41" y="382"/>
                      <a:pt x="42" y="381"/>
                    </a:cubicBezTo>
                    <a:cubicBezTo>
                      <a:pt x="44" y="379"/>
                      <a:pt x="43" y="377"/>
                      <a:pt x="43" y="377"/>
                    </a:cubicBezTo>
                    <a:cubicBezTo>
                      <a:pt x="44" y="205"/>
                      <a:pt x="44" y="205"/>
                      <a:pt x="44" y="205"/>
                    </a:cubicBezTo>
                    <a:cubicBezTo>
                      <a:pt x="43" y="204"/>
                      <a:pt x="43" y="196"/>
                      <a:pt x="43" y="194"/>
                    </a:cubicBezTo>
                    <a:cubicBezTo>
                      <a:pt x="43" y="193"/>
                      <a:pt x="42" y="191"/>
                      <a:pt x="41" y="189"/>
                    </a:cubicBezTo>
                    <a:cubicBezTo>
                      <a:pt x="41" y="187"/>
                      <a:pt x="40" y="185"/>
                      <a:pt x="39" y="182"/>
                    </a:cubicBezTo>
                    <a:cubicBezTo>
                      <a:pt x="38" y="178"/>
                      <a:pt x="37" y="162"/>
                      <a:pt x="37" y="162"/>
                    </a:cubicBezTo>
                    <a:cubicBezTo>
                      <a:pt x="36" y="140"/>
                      <a:pt x="36" y="140"/>
                      <a:pt x="36" y="140"/>
                    </a:cubicBezTo>
                    <a:cubicBezTo>
                      <a:pt x="36" y="137"/>
                      <a:pt x="37" y="131"/>
                      <a:pt x="38" y="130"/>
                    </a:cubicBezTo>
                    <a:cubicBezTo>
                      <a:pt x="39" y="128"/>
                      <a:pt x="40" y="127"/>
                      <a:pt x="40" y="127"/>
                    </a:cubicBezTo>
                    <a:close/>
                    <a:moveTo>
                      <a:pt x="20" y="381"/>
                    </a:moveTo>
                    <a:cubicBezTo>
                      <a:pt x="20" y="381"/>
                      <a:pt x="20" y="381"/>
                      <a:pt x="20" y="381"/>
                    </a:cubicBezTo>
                    <a:cubicBezTo>
                      <a:pt x="20" y="381"/>
                      <a:pt x="20" y="381"/>
                      <a:pt x="20" y="3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97" name="Gruppieren 296"/>
          <p:cNvGrpSpPr/>
          <p:nvPr/>
        </p:nvGrpSpPr>
        <p:grpSpPr>
          <a:xfrm>
            <a:off x="9841089" y="4245026"/>
            <a:ext cx="1800000" cy="1421092"/>
            <a:chOff x="9841089" y="4245026"/>
            <a:chExt cx="1800000" cy="1421092"/>
          </a:xfrm>
        </p:grpSpPr>
        <p:sp>
          <p:nvSpPr>
            <p:cNvPr id="285" name="Rectangle 28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9841089" y="4969872"/>
              <a:ext cx="1800000" cy="6962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 anchor="b"/>
            <a:lstStyle/>
            <a:p>
              <a:pPr algn="ctr">
                <a:spcBef>
                  <a:spcPct val="50000"/>
                </a:spcBef>
              </a:pPr>
              <a:r>
                <a:rPr lang="en-US" altLang="en-US" sz="2400" b="1" dirty="0" err="1" smtClean="0">
                  <a:solidFill>
                    <a:srgbClr val="FFB900"/>
                  </a:solidFill>
                  <a:latin typeface="Siemens Slab" pitchFamily="2" charset="0"/>
                  <a:cs typeface="Arial" pitchFamily="34" charset="0"/>
                </a:rPr>
                <a:t>Elektrifi-zierer</a:t>
              </a:r>
              <a:endParaRPr lang="en-US" altLang="en-US" sz="2400" b="1" dirty="0">
                <a:solidFill>
                  <a:srgbClr val="FFB900"/>
                </a:solidFill>
                <a:latin typeface="Siemens Slab" pitchFamily="2" charset="0"/>
                <a:cs typeface="Arial" pitchFamily="34" charset="0"/>
              </a:endParaRPr>
            </a:p>
          </p:txBody>
        </p:sp>
        <p:grpSp>
          <p:nvGrpSpPr>
            <p:cNvPr id="336" name="Group 48"/>
            <p:cNvGrpSpPr>
              <a:grpSpLocks noChangeAspect="1"/>
            </p:cNvGrpSpPr>
            <p:nvPr/>
          </p:nvGrpSpPr>
          <p:grpSpPr bwMode="auto">
            <a:xfrm>
              <a:off x="10054990" y="4245026"/>
              <a:ext cx="1420324" cy="497509"/>
              <a:chOff x="1695" y="1395"/>
              <a:chExt cx="4308" cy="1509"/>
            </a:xfrm>
            <a:solidFill>
              <a:srgbClr val="FFB900"/>
            </a:solidFill>
          </p:grpSpPr>
          <p:sp>
            <p:nvSpPr>
              <p:cNvPr id="338" name="Freeform 49"/>
              <p:cNvSpPr>
                <a:spLocks/>
              </p:cNvSpPr>
              <p:nvPr/>
            </p:nvSpPr>
            <p:spPr bwMode="auto">
              <a:xfrm>
                <a:off x="5144" y="1395"/>
                <a:ext cx="590" cy="462"/>
              </a:xfrm>
              <a:custGeom>
                <a:avLst/>
                <a:gdLst>
                  <a:gd name="T0" fmla="*/ 73 w 83"/>
                  <a:gd name="T1" fmla="*/ 33 h 65"/>
                  <a:gd name="T2" fmla="*/ 79 w 83"/>
                  <a:gd name="T3" fmla="*/ 11 h 65"/>
                  <a:gd name="T4" fmla="*/ 57 w 83"/>
                  <a:gd name="T5" fmla="*/ 5 h 65"/>
                  <a:gd name="T6" fmla="*/ 0 w 83"/>
                  <a:gd name="T7" fmla="*/ 36 h 65"/>
                  <a:gd name="T8" fmla="*/ 16 w 83"/>
                  <a:gd name="T9" fmla="*/ 65 h 65"/>
                  <a:gd name="T10" fmla="*/ 73 w 83"/>
                  <a:gd name="T11" fmla="*/ 3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65">
                    <a:moveTo>
                      <a:pt x="73" y="33"/>
                    </a:moveTo>
                    <a:cubicBezTo>
                      <a:pt x="80" y="29"/>
                      <a:pt x="83" y="19"/>
                      <a:pt x="79" y="11"/>
                    </a:cubicBezTo>
                    <a:cubicBezTo>
                      <a:pt x="75" y="3"/>
                      <a:pt x="65" y="0"/>
                      <a:pt x="57" y="5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16" y="65"/>
                      <a:pt x="16" y="65"/>
                      <a:pt x="16" y="65"/>
                    </a:cubicBezTo>
                    <a:lnTo>
                      <a:pt x="73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50"/>
              <p:cNvSpPr>
                <a:spLocks/>
              </p:cNvSpPr>
              <p:nvPr/>
            </p:nvSpPr>
            <p:spPr bwMode="auto">
              <a:xfrm>
                <a:off x="5414" y="1886"/>
                <a:ext cx="589" cy="456"/>
              </a:xfrm>
              <a:custGeom>
                <a:avLst/>
                <a:gdLst>
                  <a:gd name="T0" fmla="*/ 73 w 83"/>
                  <a:gd name="T1" fmla="*/ 33 h 64"/>
                  <a:gd name="T2" fmla="*/ 79 w 83"/>
                  <a:gd name="T3" fmla="*/ 11 h 64"/>
                  <a:gd name="T4" fmla="*/ 57 w 83"/>
                  <a:gd name="T5" fmla="*/ 4 h 64"/>
                  <a:gd name="T6" fmla="*/ 0 w 83"/>
                  <a:gd name="T7" fmla="*/ 36 h 64"/>
                  <a:gd name="T8" fmla="*/ 16 w 83"/>
                  <a:gd name="T9" fmla="*/ 64 h 64"/>
                  <a:gd name="T10" fmla="*/ 73 w 83"/>
                  <a:gd name="T11" fmla="*/ 3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3" h="64">
                    <a:moveTo>
                      <a:pt x="73" y="33"/>
                    </a:moveTo>
                    <a:cubicBezTo>
                      <a:pt x="81" y="28"/>
                      <a:pt x="83" y="18"/>
                      <a:pt x="79" y="11"/>
                    </a:cubicBezTo>
                    <a:cubicBezTo>
                      <a:pt x="75" y="3"/>
                      <a:pt x="65" y="0"/>
                      <a:pt x="57" y="4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16" y="64"/>
                      <a:pt x="16" y="64"/>
                      <a:pt x="16" y="64"/>
                    </a:cubicBezTo>
                    <a:lnTo>
                      <a:pt x="73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51"/>
              <p:cNvSpPr>
                <a:spLocks noEditPoints="1"/>
              </p:cNvSpPr>
              <p:nvPr/>
            </p:nvSpPr>
            <p:spPr bwMode="auto">
              <a:xfrm>
                <a:off x="4271" y="1473"/>
                <a:ext cx="1278" cy="1381"/>
              </a:xfrm>
              <a:custGeom>
                <a:avLst/>
                <a:gdLst>
                  <a:gd name="T0" fmla="*/ 25 w 180"/>
                  <a:gd name="T1" fmla="*/ 162 h 194"/>
                  <a:gd name="T2" fmla="*/ 115 w 180"/>
                  <a:gd name="T3" fmla="*/ 177 h 194"/>
                  <a:gd name="T4" fmla="*/ 143 w 180"/>
                  <a:gd name="T5" fmla="*/ 161 h 194"/>
                  <a:gd name="T6" fmla="*/ 147 w 180"/>
                  <a:gd name="T7" fmla="*/ 168 h 194"/>
                  <a:gd name="T8" fmla="*/ 169 w 180"/>
                  <a:gd name="T9" fmla="*/ 174 h 194"/>
                  <a:gd name="T10" fmla="*/ 175 w 180"/>
                  <a:gd name="T11" fmla="*/ 152 h 194"/>
                  <a:gd name="T12" fmla="*/ 96 w 180"/>
                  <a:gd name="T13" fmla="*/ 10 h 194"/>
                  <a:gd name="T14" fmla="*/ 74 w 180"/>
                  <a:gd name="T15" fmla="*/ 4 h 194"/>
                  <a:gd name="T16" fmla="*/ 68 w 180"/>
                  <a:gd name="T17" fmla="*/ 26 h 194"/>
                  <a:gd name="T18" fmla="*/ 72 w 180"/>
                  <a:gd name="T19" fmla="*/ 33 h 194"/>
                  <a:gd name="T20" fmla="*/ 44 w 180"/>
                  <a:gd name="T21" fmla="*/ 49 h 194"/>
                  <a:gd name="T22" fmla="*/ 9 w 180"/>
                  <a:gd name="T23" fmla="*/ 133 h 194"/>
                  <a:gd name="T24" fmla="*/ 25 w 180"/>
                  <a:gd name="T25" fmla="*/ 162 h 194"/>
                  <a:gd name="T26" fmla="*/ 61 w 180"/>
                  <a:gd name="T27" fmla="*/ 72 h 194"/>
                  <a:gd name="T28" fmla="*/ 67 w 180"/>
                  <a:gd name="T29" fmla="*/ 74 h 194"/>
                  <a:gd name="T30" fmla="*/ 106 w 180"/>
                  <a:gd name="T31" fmla="*/ 144 h 194"/>
                  <a:gd name="T32" fmla="*/ 105 w 180"/>
                  <a:gd name="T33" fmla="*/ 150 h 194"/>
                  <a:gd name="T34" fmla="*/ 99 w 180"/>
                  <a:gd name="T35" fmla="*/ 148 h 194"/>
                  <a:gd name="T36" fmla="*/ 60 w 180"/>
                  <a:gd name="T37" fmla="*/ 77 h 194"/>
                  <a:gd name="T38" fmla="*/ 61 w 180"/>
                  <a:gd name="T39" fmla="*/ 72 h 194"/>
                  <a:gd name="T40" fmla="*/ 39 w 180"/>
                  <a:gd name="T41" fmla="*/ 107 h 194"/>
                  <a:gd name="T42" fmla="*/ 41 w 180"/>
                  <a:gd name="T43" fmla="*/ 102 h 194"/>
                  <a:gd name="T44" fmla="*/ 46 w 180"/>
                  <a:gd name="T45" fmla="*/ 103 h 194"/>
                  <a:gd name="T46" fmla="*/ 70 w 180"/>
                  <a:gd name="T47" fmla="*/ 146 h 194"/>
                  <a:gd name="T48" fmla="*/ 68 w 180"/>
                  <a:gd name="T49" fmla="*/ 152 h 194"/>
                  <a:gd name="T50" fmla="*/ 63 w 180"/>
                  <a:gd name="T51" fmla="*/ 150 h 194"/>
                  <a:gd name="T52" fmla="*/ 39 w 180"/>
                  <a:gd name="T53" fmla="*/ 107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0" h="194">
                    <a:moveTo>
                      <a:pt x="25" y="162"/>
                    </a:moveTo>
                    <a:cubicBezTo>
                      <a:pt x="47" y="186"/>
                      <a:pt x="85" y="194"/>
                      <a:pt x="115" y="177"/>
                    </a:cubicBezTo>
                    <a:cubicBezTo>
                      <a:pt x="143" y="161"/>
                      <a:pt x="143" y="161"/>
                      <a:pt x="143" y="161"/>
                    </a:cubicBezTo>
                    <a:cubicBezTo>
                      <a:pt x="147" y="168"/>
                      <a:pt x="147" y="168"/>
                      <a:pt x="147" y="168"/>
                    </a:cubicBezTo>
                    <a:cubicBezTo>
                      <a:pt x="151" y="176"/>
                      <a:pt x="161" y="179"/>
                      <a:pt x="169" y="174"/>
                    </a:cubicBezTo>
                    <a:cubicBezTo>
                      <a:pt x="177" y="170"/>
                      <a:pt x="180" y="160"/>
                      <a:pt x="175" y="152"/>
                    </a:cubicBezTo>
                    <a:cubicBezTo>
                      <a:pt x="96" y="10"/>
                      <a:pt x="96" y="10"/>
                      <a:pt x="96" y="10"/>
                    </a:cubicBezTo>
                    <a:cubicBezTo>
                      <a:pt x="92" y="3"/>
                      <a:pt x="82" y="0"/>
                      <a:pt x="74" y="4"/>
                    </a:cubicBezTo>
                    <a:cubicBezTo>
                      <a:pt x="67" y="9"/>
                      <a:pt x="64" y="18"/>
                      <a:pt x="68" y="26"/>
                    </a:cubicBezTo>
                    <a:cubicBezTo>
                      <a:pt x="72" y="33"/>
                      <a:pt x="72" y="33"/>
                      <a:pt x="72" y="33"/>
                    </a:cubicBezTo>
                    <a:cubicBezTo>
                      <a:pt x="44" y="49"/>
                      <a:pt x="44" y="49"/>
                      <a:pt x="44" y="49"/>
                    </a:cubicBezTo>
                    <a:cubicBezTo>
                      <a:pt x="14" y="66"/>
                      <a:pt x="0" y="101"/>
                      <a:pt x="9" y="133"/>
                    </a:cubicBezTo>
                    <a:lnTo>
                      <a:pt x="25" y="162"/>
                    </a:lnTo>
                    <a:close/>
                    <a:moveTo>
                      <a:pt x="61" y="72"/>
                    </a:moveTo>
                    <a:cubicBezTo>
                      <a:pt x="63" y="71"/>
                      <a:pt x="66" y="72"/>
                      <a:pt x="67" y="74"/>
                    </a:cubicBezTo>
                    <a:cubicBezTo>
                      <a:pt x="106" y="144"/>
                      <a:pt x="106" y="144"/>
                      <a:pt x="106" y="144"/>
                    </a:cubicBezTo>
                    <a:cubicBezTo>
                      <a:pt x="107" y="146"/>
                      <a:pt x="106" y="149"/>
                      <a:pt x="105" y="150"/>
                    </a:cubicBezTo>
                    <a:cubicBezTo>
                      <a:pt x="103" y="151"/>
                      <a:pt x="100" y="150"/>
                      <a:pt x="99" y="148"/>
                    </a:cubicBezTo>
                    <a:cubicBezTo>
                      <a:pt x="60" y="77"/>
                      <a:pt x="60" y="77"/>
                      <a:pt x="60" y="77"/>
                    </a:cubicBezTo>
                    <a:cubicBezTo>
                      <a:pt x="58" y="76"/>
                      <a:pt x="59" y="73"/>
                      <a:pt x="61" y="72"/>
                    </a:cubicBezTo>
                    <a:moveTo>
                      <a:pt x="39" y="107"/>
                    </a:moveTo>
                    <a:cubicBezTo>
                      <a:pt x="38" y="105"/>
                      <a:pt x="39" y="103"/>
                      <a:pt x="41" y="102"/>
                    </a:cubicBezTo>
                    <a:cubicBezTo>
                      <a:pt x="43" y="101"/>
                      <a:pt x="45" y="102"/>
                      <a:pt x="46" y="103"/>
                    </a:cubicBezTo>
                    <a:cubicBezTo>
                      <a:pt x="70" y="146"/>
                      <a:pt x="70" y="146"/>
                      <a:pt x="70" y="146"/>
                    </a:cubicBezTo>
                    <a:cubicBezTo>
                      <a:pt x="71" y="148"/>
                      <a:pt x="70" y="150"/>
                      <a:pt x="68" y="152"/>
                    </a:cubicBezTo>
                    <a:cubicBezTo>
                      <a:pt x="66" y="153"/>
                      <a:pt x="64" y="152"/>
                      <a:pt x="63" y="150"/>
                    </a:cubicBezTo>
                    <a:lnTo>
                      <a:pt x="39" y="1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52"/>
              <p:cNvSpPr>
                <a:spLocks/>
              </p:cNvSpPr>
              <p:nvPr/>
            </p:nvSpPr>
            <p:spPr bwMode="auto">
              <a:xfrm>
                <a:off x="2497" y="1964"/>
                <a:ext cx="809" cy="812"/>
              </a:xfrm>
              <a:custGeom>
                <a:avLst/>
                <a:gdLst>
                  <a:gd name="T0" fmla="*/ 809 w 809"/>
                  <a:gd name="T1" fmla="*/ 406 h 812"/>
                  <a:gd name="T2" fmla="*/ 0 w 809"/>
                  <a:gd name="T3" fmla="*/ 0 h 812"/>
                  <a:gd name="T4" fmla="*/ 0 w 809"/>
                  <a:gd name="T5" fmla="*/ 812 h 812"/>
                  <a:gd name="T6" fmla="*/ 809 w 809"/>
                  <a:gd name="T7" fmla="*/ 406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09" h="812">
                    <a:moveTo>
                      <a:pt x="809" y="406"/>
                    </a:moveTo>
                    <a:lnTo>
                      <a:pt x="0" y="0"/>
                    </a:lnTo>
                    <a:lnTo>
                      <a:pt x="0" y="812"/>
                    </a:lnTo>
                    <a:lnTo>
                      <a:pt x="809" y="4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53"/>
              <p:cNvSpPr>
                <a:spLocks/>
              </p:cNvSpPr>
              <p:nvPr/>
            </p:nvSpPr>
            <p:spPr bwMode="auto">
              <a:xfrm>
                <a:off x="1695" y="1964"/>
                <a:ext cx="816" cy="812"/>
              </a:xfrm>
              <a:custGeom>
                <a:avLst/>
                <a:gdLst>
                  <a:gd name="T0" fmla="*/ 816 w 816"/>
                  <a:gd name="T1" fmla="*/ 406 h 812"/>
                  <a:gd name="T2" fmla="*/ 0 w 816"/>
                  <a:gd name="T3" fmla="*/ 0 h 812"/>
                  <a:gd name="T4" fmla="*/ 0 w 816"/>
                  <a:gd name="T5" fmla="*/ 812 h 812"/>
                  <a:gd name="T6" fmla="*/ 816 w 816"/>
                  <a:gd name="T7" fmla="*/ 406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6" h="812">
                    <a:moveTo>
                      <a:pt x="816" y="406"/>
                    </a:moveTo>
                    <a:lnTo>
                      <a:pt x="0" y="0"/>
                    </a:lnTo>
                    <a:lnTo>
                      <a:pt x="0" y="812"/>
                    </a:lnTo>
                    <a:lnTo>
                      <a:pt x="816" y="4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Rectangle 54"/>
              <p:cNvSpPr>
                <a:spLocks noChangeArrowheads="1"/>
              </p:cNvSpPr>
              <p:nvPr/>
            </p:nvSpPr>
            <p:spPr bwMode="auto">
              <a:xfrm>
                <a:off x="3320" y="1836"/>
                <a:ext cx="157" cy="106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55"/>
              <p:cNvSpPr>
                <a:spLocks/>
              </p:cNvSpPr>
              <p:nvPr/>
            </p:nvSpPr>
            <p:spPr bwMode="auto">
              <a:xfrm>
                <a:off x="3711" y="2270"/>
                <a:ext cx="823" cy="406"/>
              </a:xfrm>
              <a:custGeom>
                <a:avLst/>
                <a:gdLst>
                  <a:gd name="T0" fmla="*/ 104 w 116"/>
                  <a:gd name="T1" fmla="*/ 10 h 57"/>
                  <a:gd name="T2" fmla="*/ 0 w 116"/>
                  <a:gd name="T3" fmla="*/ 0 h 57"/>
                  <a:gd name="T4" fmla="*/ 0 w 116"/>
                  <a:gd name="T5" fmla="*/ 38 h 57"/>
                  <a:gd name="T6" fmla="*/ 116 w 116"/>
                  <a:gd name="T7" fmla="*/ 41 h 57"/>
                  <a:gd name="T8" fmla="*/ 104 w 116"/>
                  <a:gd name="T9" fmla="*/ 1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57">
                    <a:moveTo>
                      <a:pt x="104" y="10"/>
                    </a:moveTo>
                    <a:cubicBezTo>
                      <a:pt x="61" y="28"/>
                      <a:pt x="25" y="19"/>
                      <a:pt x="0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34" y="56"/>
                      <a:pt x="75" y="57"/>
                      <a:pt x="116" y="41"/>
                    </a:cubicBezTo>
                    <a:lnTo>
                      <a:pt x="10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94" name="Gruppieren 293"/>
          <p:cNvGrpSpPr/>
          <p:nvPr/>
        </p:nvGrpSpPr>
        <p:grpSpPr>
          <a:xfrm>
            <a:off x="611022" y="4579495"/>
            <a:ext cx="2902888" cy="1733949"/>
            <a:chOff x="611022" y="4579495"/>
            <a:chExt cx="2902888" cy="1733949"/>
          </a:xfrm>
        </p:grpSpPr>
        <p:sp>
          <p:nvSpPr>
            <p:cNvPr id="281" name="Rectangle 28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11022" y="5375200"/>
              <a:ext cx="2902888" cy="9382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90000" tIns="46800" rIns="90000" bIns="46800" anchor="b"/>
            <a:lstStyle/>
            <a:p>
              <a:pPr algn="ctr">
                <a:spcBef>
                  <a:spcPct val="50000"/>
                </a:spcBef>
              </a:pPr>
              <a:r>
                <a:rPr lang="en-US" altLang="en-US" sz="2400" b="1" dirty="0" err="1" smtClean="0">
                  <a:solidFill>
                    <a:srgbClr val="55A0B9"/>
                  </a:solidFill>
                  <a:latin typeface="Siemens Slab" pitchFamily="2" charset="0"/>
                  <a:cs typeface="Arial" pitchFamily="34" charset="0"/>
                </a:rPr>
                <a:t>Ölexport-Maximierer</a:t>
              </a:r>
              <a:endParaRPr lang="en-US" altLang="en-US" sz="2400" b="1" dirty="0">
                <a:solidFill>
                  <a:srgbClr val="55A0B9"/>
                </a:solidFill>
                <a:latin typeface="Siemens Slab" pitchFamily="2" charset="0"/>
                <a:cs typeface="Arial" pitchFamily="34" charset="0"/>
              </a:endParaRPr>
            </a:p>
          </p:txBody>
        </p:sp>
        <p:grpSp>
          <p:nvGrpSpPr>
            <p:cNvPr id="346" name="Group 58"/>
            <p:cNvGrpSpPr>
              <a:grpSpLocks noChangeAspect="1"/>
            </p:cNvGrpSpPr>
            <p:nvPr/>
          </p:nvGrpSpPr>
          <p:grpSpPr bwMode="auto">
            <a:xfrm>
              <a:off x="1315317" y="4579495"/>
              <a:ext cx="1392811" cy="871503"/>
              <a:chOff x="1571" y="739"/>
              <a:chExt cx="4542" cy="2842"/>
            </a:xfrm>
            <a:solidFill>
              <a:srgbClr val="55A0B9"/>
            </a:solidFill>
          </p:grpSpPr>
          <p:sp>
            <p:nvSpPr>
              <p:cNvPr id="348" name="Freeform 59"/>
              <p:cNvSpPr>
                <a:spLocks noEditPoints="1"/>
              </p:cNvSpPr>
              <p:nvPr/>
            </p:nvSpPr>
            <p:spPr bwMode="auto">
              <a:xfrm>
                <a:off x="1571" y="2650"/>
                <a:ext cx="4542" cy="931"/>
              </a:xfrm>
              <a:custGeom>
                <a:avLst/>
                <a:gdLst>
                  <a:gd name="T0" fmla="*/ 263 w 640"/>
                  <a:gd name="T1" fmla="*/ 0 h 131"/>
                  <a:gd name="T2" fmla="*/ 268 w 640"/>
                  <a:gd name="T3" fmla="*/ 2 h 131"/>
                  <a:gd name="T4" fmla="*/ 269 w 640"/>
                  <a:gd name="T5" fmla="*/ 5 h 131"/>
                  <a:gd name="T6" fmla="*/ 269 w 640"/>
                  <a:gd name="T7" fmla="*/ 32 h 131"/>
                  <a:gd name="T8" fmla="*/ 640 w 640"/>
                  <a:gd name="T9" fmla="*/ 32 h 131"/>
                  <a:gd name="T10" fmla="*/ 617 w 640"/>
                  <a:gd name="T11" fmla="*/ 75 h 131"/>
                  <a:gd name="T12" fmla="*/ 597 w 640"/>
                  <a:gd name="T13" fmla="*/ 91 h 131"/>
                  <a:gd name="T14" fmla="*/ 596 w 640"/>
                  <a:gd name="T15" fmla="*/ 91 h 131"/>
                  <a:gd name="T16" fmla="*/ 575 w 640"/>
                  <a:gd name="T17" fmla="*/ 103 h 131"/>
                  <a:gd name="T18" fmla="*/ 545 w 640"/>
                  <a:gd name="T19" fmla="*/ 131 h 131"/>
                  <a:gd name="T20" fmla="*/ 50 w 640"/>
                  <a:gd name="T21" fmla="*/ 131 h 131"/>
                  <a:gd name="T22" fmla="*/ 33 w 640"/>
                  <a:gd name="T23" fmla="*/ 91 h 131"/>
                  <a:gd name="T24" fmla="*/ 19 w 640"/>
                  <a:gd name="T25" fmla="*/ 65 h 131"/>
                  <a:gd name="T26" fmla="*/ 0 w 640"/>
                  <a:gd name="T27" fmla="*/ 34 h 131"/>
                  <a:gd name="T28" fmla="*/ 71 w 640"/>
                  <a:gd name="T29" fmla="*/ 34 h 131"/>
                  <a:gd name="T30" fmla="*/ 71 w 640"/>
                  <a:gd name="T31" fmla="*/ 2 h 131"/>
                  <a:gd name="T32" fmla="*/ 71 w 640"/>
                  <a:gd name="T33" fmla="*/ 0 h 131"/>
                  <a:gd name="T34" fmla="*/ 263 w 640"/>
                  <a:gd name="T35" fmla="*/ 0 h 131"/>
                  <a:gd name="T36" fmla="*/ 545 w 640"/>
                  <a:gd name="T37" fmla="*/ 77 h 131"/>
                  <a:gd name="T38" fmla="*/ 548 w 640"/>
                  <a:gd name="T39" fmla="*/ 69 h 131"/>
                  <a:gd name="T40" fmla="*/ 545 w 640"/>
                  <a:gd name="T41" fmla="*/ 61 h 131"/>
                  <a:gd name="T42" fmla="*/ 537 w 640"/>
                  <a:gd name="T43" fmla="*/ 58 h 131"/>
                  <a:gd name="T44" fmla="*/ 529 w 640"/>
                  <a:gd name="T45" fmla="*/ 61 h 131"/>
                  <a:gd name="T46" fmla="*/ 526 w 640"/>
                  <a:gd name="T47" fmla="*/ 69 h 131"/>
                  <a:gd name="T48" fmla="*/ 529 w 640"/>
                  <a:gd name="T49" fmla="*/ 77 h 131"/>
                  <a:gd name="T50" fmla="*/ 537 w 640"/>
                  <a:gd name="T51" fmla="*/ 80 h 131"/>
                  <a:gd name="T52" fmla="*/ 545 w 640"/>
                  <a:gd name="T53" fmla="*/ 7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40" h="131">
                    <a:moveTo>
                      <a:pt x="263" y="0"/>
                    </a:moveTo>
                    <a:cubicBezTo>
                      <a:pt x="265" y="0"/>
                      <a:pt x="266" y="1"/>
                      <a:pt x="268" y="2"/>
                    </a:cubicBezTo>
                    <a:cubicBezTo>
                      <a:pt x="269" y="3"/>
                      <a:pt x="269" y="4"/>
                      <a:pt x="269" y="5"/>
                    </a:cubicBezTo>
                    <a:cubicBezTo>
                      <a:pt x="269" y="32"/>
                      <a:pt x="269" y="32"/>
                      <a:pt x="269" y="32"/>
                    </a:cubicBezTo>
                    <a:cubicBezTo>
                      <a:pt x="640" y="32"/>
                      <a:pt x="640" y="32"/>
                      <a:pt x="640" y="32"/>
                    </a:cubicBezTo>
                    <a:cubicBezTo>
                      <a:pt x="639" y="48"/>
                      <a:pt x="631" y="62"/>
                      <a:pt x="617" y="75"/>
                    </a:cubicBezTo>
                    <a:cubicBezTo>
                      <a:pt x="612" y="80"/>
                      <a:pt x="605" y="85"/>
                      <a:pt x="597" y="91"/>
                    </a:cubicBezTo>
                    <a:cubicBezTo>
                      <a:pt x="596" y="91"/>
                      <a:pt x="596" y="91"/>
                      <a:pt x="596" y="91"/>
                    </a:cubicBezTo>
                    <a:cubicBezTo>
                      <a:pt x="591" y="95"/>
                      <a:pt x="584" y="99"/>
                      <a:pt x="575" y="103"/>
                    </a:cubicBezTo>
                    <a:cubicBezTo>
                      <a:pt x="566" y="108"/>
                      <a:pt x="556" y="117"/>
                      <a:pt x="545" y="131"/>
                    </a:cubicBezTo>
                    <a:cubicBezTo>
                      <a:pt x="50" y="131"/>
                      <a:pt x="50" y="131"/>
                      <a:pt x="50" y="131"/>
                    </a:cubicBezTo>
                    <a:cubicBezTo>
                      <a:pt x="45" y="118"/>
                      <a:pt x="40" y="105"/>
                      <a:pt x="33" y="91"/>
                    </a:cubicBezTo>
                    <a:cubicBezTo>
                      <a:pt x="29" y="82"/>
                      <a:pt x="24" y="74"/>
                      <a:pt x="19" y="65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71" y="34"/>
                      <a:pt x="71" y="34"/>
                      <a:pt x="71" y="34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1" y="2"/>
                      <a:pt x="71" y="1"/>
                      <a:pt x="71" y="0"/>
                    </a:cubicBezTo>
                    <a:lnTo>
                      <a:pt x="263" y="0"/>
                    </a:lnTo>
                    <a:close/>
                    <a:moveTo>
                      <a:pt x="545" y="77"/>
                    </a:moveTo>
                    <a:cubicBezTo>
                      <a:pt x="547" y="74"/>
                      <a:pt x="548" y="72"/>
                      <a:pt x="548" y="69"/>
                    </a:cubicBezTo>
                    <a:cubicBezTo>
                      <a:pt x="548" y="66"/>
                      <a:pt x="547" y="63"/>
                      <a:pt x="545" y="61"/>
                    </a:cubicBezTo>
                    <a:cubicBezTo>
                      <a:pt x="543" y="59"/>
                      <a:pt x="540" y="58"/>
                      <a:pt x="537" y="58"/>
                    </a:cubicBezTo>
                    <a:cubicBezTo>
                      <a:pt x="534" y="58"/>
                      <a:pt x="532" y="59"/>
                      <a:pt x="529" y="61"/>
                    </a:cubicBezTo>
                    <a:cubicBezTo>
                      <a:pt x="527" y="63"/>
                      <a:pt x="526" y="66"/>
                      <a:pt x="526" y="69"/>
                    </a:cubicBezTo>
                    <a:cubicBezTo>
                      <a:pt x="526" y="72"/>
                      <a:pt x="527" y="74"/>
                      <a:pt x="529" y="77"/>
                    </a:cubicBezTo>
                    <a:cubicBezTo>
                      <a:pt x="532" y="79"/>
                      <a:pt x="534" y="80"/>
                      <a:pt x="537" y="80"/>
                    </a:cubicBezTo>
                    <a:cubicBezTo>
                      <a:pt x="540" y="80"/>
                      <a:pt x="543" y="79"/>
                      <a:pt x="545" y="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60"/>
              <p:cNvSpPr>
                <a:spLocks noEditPoints="1"/>
              </p:cNvSpPr>
              <p:nvPr/>
            </p:nvSpPr>
            <p:spPr bwMode="auto">
              <a:xfrm>
                <a:off x="2330" y="1258"/>
                <a:ext cx="362" cy="1137"/>
              </a:xfrm>
              <a:custGeom>
                <a:avLst/>
                <a:gdLst>
                  <a:gd name="T0" fmla="*/ 28 w 51"/>
                  <a:gd name="T1" fmla="*/ 3 h 160"/>
                  <a:gd name="T2" fmla="*/ 29 w 51"/>
                  <a:gd name="T3" fmla="*/ 1 h 160"/>
                  <a:gd name="T4" fmla="*/ 31 w 51"/>
                  <a:gd name="T5" fmla="*/ 0 h 160"/>
                  <a:gd name="T6" fmla="*/ 33 w 51"/>
                  <a:gd name="T7" fmla="*/ 1 h 160"/>
                  <a:gd name="T8" fmla="*/ 34 w 51"/>
                  <a:gd name="T9" fmla="*/ 3 h 160"/>
                  <a:gd name="T10" fmla="*/ 35 w 51"/>
                  <a:gd name="T11" fmla="*/ 35 h 160"/>
                  <a:gd name="T12" fmla="*/ 41 w 51"/>
                  <a:gd name="T13" fmla="*/ 35 h 160"/>
                  <a:gd name="T14" fmla="*/ 42 w 51"/>
                  <a:gd name="T15" fmla="*/ 36 h 160"/>
                  <a:gd name="T16" fmla="*/ 43 w 51"/>
                  <a:gd name="T17" fmla="*/ 37 h 160"/>
                  <a:gd name="T18" fmla="*/ 42 w 51"/>
                  <a:gd name="T19" fmla="*/ 39 h 160"/>
                  <a:gd name="T20" fmla="*/ 41 w 51"/>
                  <a:gd name="T21" fmla="*/ 39 h 160"/>
                  <a:gd name="T22" fmla="*/ 35 w 51"/>
                  <a:gd name="T23" fmla="*/ 39 h 160"/>
                  <a:gd name="T24" fmla="*/ 36 w 51"/>
                  <a:gd name="T25" fmla="*/ 47 h 160"/>
                  <a:gd name="T26" fmla="*/ 42 w 51"/>
                  <a:gd name="T27" fmla="*/ 47 h 160"/>
                  <a:gd name="T28" fmla="*/ 44 w 51"/>
                  <a:gd name="T29" fmla="*/ 47 h 160"/>
                  <a:gd name="T30" fmla="*/ 45 w 51"/>
                  <a:gd name="T31" fmla="*/ 49 h 160"/>
                  <a:gd name="T32" fmla="*/ 44 w 51"/>
                  <a:gd name="T33" fmla="*/ 51 h 160"/>
                  <a:gd name="T34" fmla="*/ 42 w 51"/>
                  <a:gd name="T35" fmla="*/ 52 h 160"/>
                  <a:gd name="T36" fmla="*/ 36 w 51"/>
                  <a:gd name="T37" fmla="*/ 52 h 160"/>
                  <a:gd name="T38" fmla="*/ 37 w 51"/>
                  <a:gd name="T39" fmla="*/ 101 h 160"/>
                  <a:gd name="T40" fmla="*/ 51 w 51"/>
                  <a:gd name="T41" fmla="*/ 101 h 160"/>
                  <a:gd name="T42" fmla="*/ 51 w 51"/>
                  <a:gd name="T43" fmla="*/ 160 h 160"/>
                  <a:gd name="T44" fmla="*/ 0 w 51"/>
                  <a:gd name="T45" fmla="*/ 160 h 160"/>
                  <a:gd name="T46" fmla="*/ 0 w 51"/>
                  <a:gd name="T47" fmla="*/ 101 h 160"/>
                  <a:gd name="T48" fmla="*/ 25 w 51"/>
                  <a:gd name="T49" fmla="*/ 101 h 160"/>
                  <a:gd name="T50" fmla="*/ 27 w 51"/>
                  <a:gd name="T51" fmla="*/ 52 h 160"/>
                  <a:gd name="T52" fmla="*/ 22 w 51"/>
                  <a:gd name="T53" fmla="*/ 52 h 160"/>
                  <a:gd name="T54" fmla="*/ 21 w 51"/>
                  <a:gd name="T55" fmla="*/ 51 h 160"/>
                  <a:gd name="T56" fmla="*/ 20 w 51"/>
                  <a:gd name="T57" fmla="*/ 51 h 160"/>
                  <a:gd name="T58" fmla="*/ 20 w 51"/>
                  <a:gd name="T59" fmla="*/ 48 h 160"/>
                  <a:gd name="T60" fmla="*/ 21 w 51"/>
                  <a:gd name="T61" fmla="*/ 47 h 160"/>
                  <a:gd name="T62" fmla="*/ 22 w 51"/>
                  <a:gd name="T63" fmla="*/ 47 h 160"/>
                  <a:gd name="T64" fmla="*/ 27 w 51"/>
                  <a:gd name="T65" fmla="*/ 47 h 160"/>
                  <a:gd name="T66" fmla="*/ 27 w 51"/>
                  <a:gd name="T67" fmla="*/ 39 h 160"/>
                  <a:gd name="T68" fmla="*/ 22 w 51"/>
                  <a:gd name="T69" fmla="*/ 39 h 160"/>
                  <a:gd name="T70" fmla="*/ 20 w 51"/>
                  <a:gd name="T71" fmla="*/ 39 h 160"/>
                  <a:gd name="T72" fmla="*/ 20 w 51"/>
                  <a:gd name="T73" fmla="*/ 36 h 160"/>
                  <a:gd name="T74" fmla="*/ 22 w 51"/>
                  <a:gd name="T75" fmla="*/ 35 h 160"/>
                  <a:gd name="T76" fmla="*/ 27 w 51"/>
                  <a:gd name="T77" fmla="*/ 35 h 160"/>
                  <a:gd name="T78" fmla="*/ 28 w 51"/>
                  <a:gd name="T79" fmla="*/ 3 h 160"/>
                  <a:gd name="T80" fmla="*/ 12 w 51"/>
                  <a:gd name="T81" fmla="*/ 135 h 160"/>
                  <a:gd name="T82" fmla="*/ 11 w 51"/>
                  <a:gd name="T83" fmla="*/ 136 h 160"/>
                  <a:gd name="T84" fmla="*/ 11 w 51"/>
                  <a:gd name="T85" fmla="*/ 144 h 160"/>
                  <a:gd name="T86" fmla="*/ 12 w 51"/>
                  <a:gd name="T87" fmla="*/ 146 h 160"/>
                  <a:gd name="T88" fmla="*/ 13 w 51"/>
                  <a:gd name="T89" fmla="*/ 146 h 160"/>
                  <a:gd name="T90" fmla="*/ 41 w 51"/>
                  <a:gd name="T91" fmla="*/ 146 h 160"/>
                  <a:gd name="T92" fmla="*/ 42 w 51"/>
                  <a:gd name="T93" fmla="*/ 146 h 160"/>
                  <a:gd name="T94" fmla="*/ 43 w 51"/>
                  <a:gd name="T95" fmla="*/ 144 h 160"/>
                  <a:gd name="T96" fmla="*/ 43 w 51"/>
                  <a:gd name="T97" fmla="*/ 136 h 160"/>
                  <a:gd name="T98" fmla="*/ 42 w 51"/>
                  <a:gd name="T99" fmla="*/ 135 h 160"/>
                  <a:gd name="T100" fmla="*/ 41 w 51"/>
                  <a:gd name="T101" fmla="*/ 134 h 160"/>
                  <a:gd name="T102" fmla="*/ 13 w 51"/>
                  <a:gd name="T103" fmla="*/ 134 h 160"/>
                  <a:gd name="T104" fmla="*/ 12 w 51"/>
                  <a:gd name="T105" fmla="*/ 135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1" h="160">
                    <a:moveTo>
                      <a:pt x="28" y="3"/>
                    </a:moveTo>
                    <a:cubicBezTo>
                      <a:pt x="28" y="2"/>
                      <a:pt x="29" y="2"/>
                      <a:pt x="29" y="1"/>
                    </a:cubicBezTo>
                    <a:cubicBezTo>
                      <a:pt x="30" y="0"/>
                      <a:pt x="31" y="0"/>
                      <a:pt x="31" y="0"/>
                    </a:cubicBezTo>
                    <a:cubicBezTo>
                      <a:pt x="32" y="0"/>
                      <a:pt x="33" y="0"/>
                      <a:pt x="33" y="1"/>
                    </a:cubicBezTo>
                    <a:cubicBezTo>
                      <a:pt x="34" y="2"/>
                      <a:pt x="34" y="2"/>
                      <a:pt x="34" y="3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1" y="35"/>
                      <a:pt x="42" y="35"/>
                      <a:pt x="42" y="36"/>
                    </a:cubicBezTo>
                    <a:cubicBezTo>
                      <a:pt x="43" y="36"/>
                      <a:pt x="43" y="36"/>
                      <a:pt x="43" y="37"/>
                    </a:cubicBezTo>
                    <a:cubicBezTo>
                      <a:pt x="43" y="38"/>
                      <a:pt x="43" y="38"/>
                      <a:pt x="42" y="39"/>
                    </a:cubicBezTo>
                    <a:cubicBezTo>
                      <a:pt x="42" y="39"/>
                      <a:pt x="41" y="39"/>
                      <a:pt x="41" y="39"/>
                    </a:cubicBezTo>
                    <a:cubicBezTo>
                      <a:pt x="35" y="39"/>
                      <a:pt x="35" y="39"/>
                      <a:pt x="35" y="39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42" y="47"/>
                      <a:pt x="42" y="47"/>
                      <a:pt x="42" y="47"/>
                    </a:cubicBezTo>
                    <a:cubicBezTo>
                      <a:pt x="43" y="47"/>
                      <a:pt x="44" y="47"/>
                      <a:pt x="44" y="47"/>
                    </a:cubicBezTo>
                    <a:cubicBezTo>
                      <a:pt x="45" y="48"/>
                      <a:pt x="45" y="49"/>
                      <a:pt x="45" y="49"/>
                    </a:cubicBezTo>
                    <a:cubicBezTo>
                      <a:pt x="45" y="50"/>
                      <a:pt x="45" y="51"/>
                      <a:pt x="44" y="51"/>
                    </a:cubicBezTo>
                    <a:cubicBezTo>
                      <a:pt x="44" y="52"/>
                      <a:pt x="43" y="52"/>
                      <a:pt x="42" y="52"/>
                    </a:cubicBezTo>
                    <a:cubicBezTo>
                      <a:pt x="36" y="52"/>
                      <a:pt x="36" y="52"/>
                      <a:pt x="36" y="52"/>
                    </a:cubicBezTo>
                    <a:cubicBezTo>
                      <a:pt x="37" y="101"/>
                      <a:pt x="37" y="101"/>
                      <a:pt x="37" y="101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51" y="160"/>
                      <a:pt x="51" y="160"/>
                      <a:pt x="51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22" y="52"/>
                      <a:pt x="22" y="52"/>
                      <a:pt x="22" y="52"/>
                    </a:cubicBezTo>
                    <a:cubicBezTo>
                      <a:pt x="22" y="52"/>
                      <a:pt x="21" y="52"/>
                      <a:pt x="21" y="51"/>
                    </a:cubicBezTo>
                    <a:cubicBezTo>
                      <a:pt x="20" y="51"/>
                      <a:pt x="20" y="51"/>
                      <a:pt x="20" y="51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20" y="47"/>
                      <a:pt x="20" y="47"/>
                      <a:pt x="21" y="47"/>
                    </a:cubicBezTo>
                    <a:cubicBezTo>
                      <a:pt x="21" y="47"/>
                      <a:pt x="22" y="47"/>
                      <a:pt x="22" y="47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1" y="39"/>
                      <a:pt x="21" y="39"/>
                      <a:pt x="20" y="39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21" y="35"/>
                      <a:pt x="21" y="35"/>
                      <a:pt x="22" y="35"/>
                    </a:cubicBezTo>
                    <a:cubicBezTo>
                      <a:pt x="27" y="35"/>
                      <a:pt x="27" y="35"/>
                      <a:pt x="27" y="35"/>
                    </a:cubicBezTo>
                    <a:lnTo>
                      <a:pt x="28" y="3"/>
                    </a:lnTo>
                    <a:close/>
                    <a:moveTo>
                      <a:pt x="12" y="135"/>
                    </a:moveTo>
                    <a:cubicBezTo>
                      <a:pt x="12" y="135"/>
                      <a:pt x="11" y="136"/>
                      <a:pt x="11" y="136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1" y="145"/>
                      <a:pt x="12" y="145"/>
                      <a:pt x="12" y="146"/>
                    </a:cubicBezTo>
                    <a:cubicBezTo>
                      <a:pt x="12" y="146"/>
                      <a:pt x="13" y="146"/>
                      <a:pt x="13" y="146"/>
                    </a:cubicBezTo>
                    <a:cubicBezTo>
                      <a:pt x="41" y="146"/>
                      <a:pt x="41" y="146"/>
                      <a:pt x="41" y="146"/>
                    </a:cubicBezTo>
                    <a:cubicBezTo>
                      <a:pt x="41" y="146"/>
                      <a:pt x="42" y="146"/>
                      <a:pt x="42" y="146"/>
                    </a:cubicBezTo>
                    <a:cubicBezTo>
                      <a:pt x="43" y="145"/>
                      <a:pt x="43" y="145"/>
                      <a:pt x="43" y="144"/>
                    </a:cubicBezTo>
                    <a:cubicBezTo>
                      <a:pt x="43" y="136"/>
                      <a:pt x="43" y="136"/>
                      <a:pt x="43" y="136"/>
                    </a:cubicBezTo>
                    <a:cubicBezTo>
                      <a:pt x="43" y="136"/>
                      <a:pt x="43" y="135"/>
                      <a:pt x="42" y="135"/>
                    </a:cubicBezTo>
                    <a:cubicBezTo>
                      <a:pt x="42" y="134"/>
                      <a:pt x="41" y="134"/>
                      <a:pt x="41" y="134"/>
                    </a:cubicBezTo>
                    <a:cubicBezTo>
                      <a:pt x="13" y="134"/>
                      <a:pt x="13" y="134"/>
                      <a:pt x="13" y="134"/>
                    </a:cubicBezTo>
                    <a:cubicBezTo>
                      <a:pt x="13" y="134"/>
                      <a:pt x="12" y="134"/>
                      <a:pt x="12" y="1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61"/>
              <p:cNvSpPr>
                <a:spLocks/>
              </p:cNvSpPr>
              <p:nvPr/>
            </p:nvSpPr>
            <p:spPr bwMode="auto">
              <a:xfrm>
                <a:off x="2068" y="2430"/>
                <a:ext cx="972" cy="171"/>
              </a:xfrm>
              <a:custGeom>
                <a:avLst/>
                <a:gdLst>
                  <a:gd name="T0" fmla="*/ 137 w 137"/>
                  <a:gd name="T1" fmla="*/ 7 h 24"/>
                  <a:gd name="T2" fmla="*/ 137 w 137"/>
                  <a:gd name="T3" fmla="*/ 24 h 24"/>
                  <a:gd name="T4" fmla="*/ 1 w 137"/>
                  <a:gd name="T5" fmla="*/ 24 h 24"/>
                  <a:gd name="T6" fmla="*/ 8 w 137"/>
                  <a:gd name="T7" fmla="*/ 5 h 24"/>
                  <a:gd name="T8" fmla="*/ 13 w 137"/>
                  <a:gd name="T9" fmla="*/ 1 h 24"/>
                  <a:gd name="T10" fmla="*/ 16 w 137"/>
                  <a:gd name="T11" fmla="*/ 0 h 24"/>
                  <a:gd name="T12" fmla="*/ 131 w 137"/>
                  <a:gd name="T13" fmla="*/ 1 h 24"/>
                  <a:gd name="T14" fmla="*/ 136 w 137"/>
                  <a:gd name="T15" fmla="*/ 2 h 24"/>
                  <a:gd name="T16" fmla="*/ 137 w 137"/>
                  <a:gd name="T17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7" h="24">
                    <a:moveTo>
                      <a:pt x="137" y="7"/>
                    </a:moveTo>
                    <a:cubicBezTo>
                      <a:pt x="137" y="24"/>
                      <a:pt x="137" y="24"/>
                      <a:pt x="137" y="24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0" y="16"/>
                      <a:pt x="3" y="10"/>
                      <a:pt x="8" y="5"/>
                    </a:cubicBezTo>
                    <a:cubicBezTo>
                      <a:pt x="9" y="3"/>
                      <a:pt x="11" y="2"/>
                      <a:pt x="13" y="1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31" y="1"/>
                      <a:pt x="131" y="1"/>
                      <a:pt x="131" y="1"/>
                    </a:cubicBezTo>
                    <a:cubicBezTo>
                      <a:pt x="133" y="1"/>
                      <a:pt x="134" y="1"/>
                      <a:pt x="136" y="2"/>
                    </a:cubicBezTo>
                    <a:cubicBezTo>
                      <a:pt x="137" y="4"/>
                      <a:pt x="137" y="5"/>
                      <a:pt x="137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62"/>
              <p:cNvSpPr>
                <a:spLocks noEditPoints="1"/>
              </p:cNvSpPr>
              <p:nvPr/>
            </p:nvSpPr>
            <p:spPr bwMode="auto">
              <a:xfrm>
                <a:off x="3736" y="2132"/>
                <a:ext cx="617" cy="731"/>
              </a:xfrm>
              <a:custGeom>
                <a:avLst/>
                <a:gdLst>
                  <a:gd name="T0" fmla="*/ 79 w 87"/>
                  <a:gd name="T1" fmla="*/ 39 h 103"/>
                  <a:gd name="T2" fmla="*/ 87 w 87"/>
                  <a:gd name="T3" fmla="*/ 35 h 103"/>
                  <a:gd name="T4" fmla="*/ 75 w 87"/>
                  <a:gd name="T5" fmla="*/ 31 h 103"/>
                  <a:gd name="T6" fmla="*/ 79 w 87"/>
                  <a:gd name="T7" fmla="*/ 28 h 103"/>
                  <a:gd name="T8" fmla="*/ 83 w 87"/>
                  <a:gd name="T9" fmla="*/ 16 h 103"/>
                  <a:gd name="T10" fmla="*/ 83 w 87"/>
                  <a:gd name="T11" fmla="*/ 8 h 103"/>
                  <a:gd name="T12" fmla="*/ 1 w 87"/>
                  <a:gd name="T13" fmla="*/ 9 h 103"/>
                  <a:gd name="T14" fmla="*/ 4 w 87"/>
                  <a:gd name="T15" fmla="*/ 16 h 103"/>
                  <a:gd name="T16" fmla="*/ 8 w 87"/>
                  <a:gd name="T17" fmla="*/ 28 h 103"/>
                  <a:gd name="T18" fmla="*/ 12 w 87"/>
                  <a:gd name="T19" fmla="*/ 16 h 103"/>
                  <a:gd name="T20" fmla="*/ 24 w 87"/>
                  <a:gd name="T21" fmla="*/ 31 h 103"/>
                  <a:gd name="T22" fmla="*/ 1 w 87"/>
                  <a:gd name="T23" fmla="*/ 33 h 103"/>
                  <a:gd name="T24" fmla="*/ 4 w 87"/>
                  <a:gd name="T25" fmla="*/ 39 h 103"/>
                  <a:gd name="T26" fmla="*/ 8 w 87"/>
                  <a:gd name="T27" fmla="*/ 67 h 103"/>
                  <a:gd name="T28" fmla="*/ 12 w 87"/>
                  <a:gd name="T29" fmla="*/ 39 h 103"/>
                  <a:gd name="T30" fmla="*/ 24 w 87"/>
                  <a:gd name="T31" fmla="*/ 71 h 103"/>
                  <a:gd name="T32" fmla="*/ 1 w 87"/>
                  <a:gd name="T33" fmla="*/ 72 h 103"/>
                  <a:gd name="T34" fmla="*/ 4 w 87"/>
                  <a:gd name="T35" fmla="*/ 79 h 103"/>
                  <a:gd name="T36" fmla="*/ 8 w 87"/>
                  <a:gd name="T37" fmla="*/ 91 h 103"/>
                  <a:gd name="T38" fmla="*/ 12 w 87"/>
                  <a:gd name="T39" fmla="*/ 79 h 103"/>
                  <a:gd name="T40" fmla="*/ 24 w 87"/>
                  <a:gd name="T41" fmla="*/ 95 h 103"/>
                  <a:gd name="T42" fmla="*/ 1 w 87"/>
                  <a:gd name="T43" fmla="*/ 96 h 103"/>
                  <a:gd name="T44" fmla="*/ 4 w 87"/>
                  <a:gd name="T45" fmla="*/ 103 h 103"/>
                  <a:gd name="T46" fmla="*/ 87 w 87"/>
                  <a:gd name="T47" fmla="*/ 99 h 103"/>
                  <a:gd name="T48" fmla="*/ 75 w 87"/>
                  <a:gd name="T49" fmla="*/ 95 h 103"/>
                  <a:gd name="T50" fmla="*/ 79 w 87"/>
                  <a:gd name="T51" fmla="*/ 91 h 103"/>
                  <a:gd name="T52" fmla="*/ 83 w 87"/>
                  <a:gd name="T53" fmla="*/ 79 h 103"/>
                  <a:gd name="T54" fmla="*/ 83 w 87"/>
                  <a:gd name="T55" fmla="*/ 71 h 103"/>
                  <a:gd name="T56" fmla="*/ 75 w 87"/>
                  <a:gd name="T57" fmla="*/ 67 h 103"/>
                  <a:gd name="T58" fmla="*/ 67 w 87"/>
                  <a:gd name="T59" fmla="*/ 0 h 103"/>
                  <a:gd name="T60" fmla="*/ 43 w 87"/>
                  <a:gd name="T61" fmla="*/ 4 h 103"/>
                  <a:gd name="T62" fmla="*/ 67 w 87"/>
                  <a:gd name="T6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7" h="103">
                    <a:moveTo>
                      <a:pt x="79" y="67"/>
                    </a:moveTo>
                    <a:cubicBezTo>
                      <a:pt x="79" y="39"/>
                      <a:pt x="79" y="39"/>
                      <a:pt x="79" y="39"/>
                    </a:cubicBezTo>
                    <a:cubicBezTo>
                      <a:pt x="83" y="39"/>
                      <a:pt x="83" y="39"/>
                      <a:pt x="83" y="39"/>
                    </a:cubicBezTo>
                    <a:cubicBezTo>
                      <a:pt x="85" y="39"/>
                      <a:pt x="87" y="38"/>
                      <a:pt x="87" y="35"/>
                    </a:cubicBezTo>
                    <a:cubicBezTo>
                      <a:pt x="87" y="33"/>
                      <a:pt x="85" y="31"/>
                      <a:pt x="83" y="31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5" y="28"/>
                      <a:pt x="75" y="28"/>
                      <a:pt x="75" y="28"/>
                    </a:cubicBezTo>
                    <a:cubicBezTo>
                      <a:pt x="79" y="28"/>
                      <a:pt x="79" y="28"/>
                      <a:pt x="79" y="28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85" y="16"/>
                      <a:pt x="87" y="14"/>
                      <a:pt x="87" y="12"/>
                    </a:cubicBezTo>
                    <a:cubicBezTo>
                      <a:pt x="87" y="10"/>
                      <a:pt x="85" y="8"/>
                      <a:pt x="8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3" y="8"/>
                      <a:pt x="2" y="8"/>
                      <a:pt x="1" y="9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3" y="31"/>
                      <a:pt x="2" y="32"/>
                      <a:pt x="1" y="33"/>
                    </a:cubicBezTo>
                    <a:cubicBezTo>
                      <a:pt x="0" y="33"/>
                      <a:pt x="0" y="34"/>
                      <a:pt x="0" y="35"/>
                    </a:cubicBezTo>
                    <a:cubicBezTo>
                      <a:pt x="0" y="38"/>
                      <a:pt x="2" y="39"/>
                      <a:pt x="4" y="39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3" y="71"/>
                      <a:pt x="2" y="71"/>
                      <a:pt x="1" y="72"/>
                    </a:cubicBezTo>
                    <a:cubicBezTo>
                      <a:pt x="0" y="73"/>
                      <a:pt x="0" y="74"/>
                      <a:pt x="0" y="75"/>
                    </a:cubicBezTo>
                    <a:cubicBezTo>
                      <a:pt x="0" y="77"/>
                      <a:pt x="2" y="79"/>
                      <a:pt x="4" y="79"/>
                    </a:cubicBezTo>
                    <a:cubicBezTo>
                      <a:pt x="8" y="79"/>
                      <a:pt x="8" y="79"/>
                      <a:pt x="8" y="79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12" y="91"/>
                      <a:pt x="12" y="91"/>
                      <a:pt x="12" y="91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24" y="79"/>
                      <a:pt x="24" y="79"/>
                      <a:pt x="24" y="79"/>
                    </a:cubicBezTo>
                    <a:cubicBezTo>
                      <a:pt x="24" y="95"/>
                      <a:pt x="24" y="95"/>
                      <a:pt x="24" y="95"/>
                    </a:cubicBezTo>
                    <a:cubicBezTo>
                      <a:pt x="4" y="95"/>
                      <a:pt x="4" y="95"/>
                      <a:pt x="4" y="95"/>
                    </a:cubicBezTo>
                    <a:cubicBezTo>
                      <a:pt x="3" y="95"/>
                      <a:pt x="2" y="95"/>
                      <a:pt x="1" y="96"/>
                    </a:cubicBezTo>
                    <a:cubicBezTo>
                      <a:pt x="0" y="96"/>
                      <a:pt x="0" y="97"/>
                      <a:pt x="0" y="99"/>
                    </a:cubicBezTo>
                    <a:cubicBezTo>
                      <a:pt x="0" y="101"/>
                      <a:pt x="2" y="103"/>
                      <a:pt x="4" y="103"/>
                    </a:cubicBezTo>
                    <a:cubicBezTo>
                      <a:pt x="83" y="103"/>
                      <a:pt x="83" y="103"/>
                      <a:pt x="83" y="103"/>
                    </a:cubicBezTo>
                    <a:cubicBezTo>
                      <a:pt x="85" y="103"/>
                      <a:pt x="87" y="101"/>
                      <a:pt x="87" y="99"/>
                    </a:cubicBezTo>
                    <a:cubicBezTo>
                      <a:pt x="87" y="96"/>
                      <a:pt x="85" y="95"/>
                      <a:pt x="83" y="95"/>
                    </a:cubicBezTo>
                    <a:cubicBezTo>
                      <a:pt x="75" y="95"/>
                      <a:pt x="75" y="95"/>
                      <a:pt x="75" y="95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1"/>
                      <a:pt x="79" y="91"/>
                      <a:pt x="79" y="91"/>
                    </a:cubicBezTo>
                    <a:cubicBezTo>
                      <a:pt x="79" y="79"/>
                      <a:pt x="79" y="79"/>
                      <a:pt x="79" y="79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5" y="79"/>
                      <a:pt x="87" y="77"/>
                      <a:pt x="87" y="75"/>
                    </a:cubicBezTo>
                    <a:cubicBezTo>
                      <a:pt x="87" y="73"/>
                      <a:pt x="85" y="71"/>
                      <a:pt x="83" y="71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5" y="67"/>
                      <a:pt x="75" y="67"/>
                      <a:pt x="75" y="67"/>
                    </a:cubicBezTo>
                    <a:lnTo>
                      <a:pt x="79" y="67"/>
                    </a:lnTo>
                    <a:close/>
                    <a:moveTo>
                      <a:pt x="67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67" y="4"/>
                      <a:pt x="67" y="4"/>
                      <a:pt x="67" y="4"/>
                    </a:cubicBezTo>
                    <a:lnTo>
                      <a:pt x="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63"/>
              <p:cNvSpPr>
                <a:spLocks noEditPoints="1"/>
              </p:cNvSpPr>
              <p:nvPr/>
            </p:nvSpPr>
            <p:spPr bwMode="auto">
              <a:xfrm>
                <a:off x="4481" y="2125"/>
                <a:ext cx="617" cy="731"/>
              </a:xfrm>
              <a:custGeom>
                <a:avLst/>
                <a:gdLst>
                  <a:gd name="T0" fmla="*/ 79 w 87"/>
                  <a:gd name="T1" fmla="*/ 40 h 103"/>
                  <a:gd name="T2" fmla="*/ 87 w 87"/>
                  <a:gd name="T3" fmla="*/ 36 h 103"/>
                  <a:gd name="T4" fmla="*/ 75 w 87"/>
                  <a:gd name="T5" fmla="*/ 32 h 103"/>
                  <a:gd name="T6" fmla="*/ 79 w 87"/>
                  <a:gd name="T7" fmla="*/ 28 h 103"/>
                  <a:gd name="T8" fmla="*/ 83 w 87"/>
                  <a:gd name="T9" fmla="*/ 16 h 103"/>
                  <a:gd name="T10" fmla="*/ 83 w 87"/>
                  <a:gd name="T11" fmla="*/ 8 h 103"/>
                  <a:gd name="T12" fmla="*/ 2 w 87"/>
                  <a:gd name="T13" fmla="*/ 9 h 103"/>
                  <a:gd name="T14" fmla="*/ 4 w 87"/>
                  <a:gd name="T15" fmla="*/ 16 h 103"/>
                  <a:gd name="T16" fmla="*/ 8 w 87"/>
                  <a:gd name="T17" fmla="*/ 28 h 103"/>
                  <a:gd name="T18" fmla="*/ 12 w 87"/>
                  <a:gd name="T19" fmla="*/ 16 h 103"/>
                  <a:gd name="T20" fmla="*/ 24 w 87"/>
                  <a:gd name="T21" fmla="*/ 32 h 103"/>
                  <a:gd name="T22" fmla="*/ 2 w 87"/>
                  <a:gd name="T23" fmla="*/ 33 h 103"/>
                  <a:gd name="T24" fmla="*/ 4 w 87"/>
                  <a:gd name="T25" fmla="*/ 40 h 103"/>
                  <a:gd name="T26" fmla="*/ 8 w 87"/>
                  <a:gd name="T27" fmla="*/ 67 h 103"/>
                  <a:gd name="T28" fmla="*/ 12 w 87"/>
                  <a:gd name="T29" fmla="*/ 40 h 103"/>
                  <a:gd name="T30" fmla="*/ 24 w 87"/>
                  <a:gd name="T31" fmla="*/ 71 h 103"/>
                  <a:gd name="T32" fmla="*/ 2 w 87"/>
                  <a:gd name="T33" fmla="*/ 72 h 103"/>
                  <a:gd name="T34" fmla="*/ 4 w 87"/>
                  <a:gd name="T35" fmla="*/ 79 h 103"/>
                  <a:gd name="T36" fmla="*/ 8 w 87"/>
                  <a:gd name="T37" fmla="*/ 91 h 103"/>
                  <a:gd name="T38" fmla="*/ 12 w 87"/>
                  <a:gd name="T39" fmla="*/ 79 h 103"/>
                  <a:gd name="T40" fmla="*/ 24 w 87"/>
                  <a:gd name="T41" fmla="*/ 95 h 103"/>
                  <a:gd name="T42" fmla="*/ 2 w 87"/>
                  <a:gd name="T43" fmla="*/ 96 h 103"/>
                  <a:gd name="T44" fmla="*/ 4 w 87"/>
                  <a:gd name="T45" fmla="*/ 103 h 103"/>
                  <a:gd name="T46" fmla="*/ 87 w 87"/>
                  <a:gd name="T47" fmla="*/ 99 h 103"/>
                  <a:gd name="T48" fmla="*/ 75 w 87"/>
                  <a:gd name="T49" fmla="*/ 95 h 103"/>
                  <a:gd name="T50" fmla="*/ 79 w 87"/>
                  <a:gd name="T51" fmla="*/ 91 h 103"/>
                  <a:gd name="T52" fmla="*/ 83 w 87"/>
                  <a:gd name="T53" fmla="*/ 79 h 103"/>
                  <a:gd name="T54" fmla="*/ 83 w 87"/>
                  <a:gd name="T55" fmla="*/ 71 h 103"/>
                  <a:gd name="T56" fmla="*/ 75 w 87"/>
                  <a:gd name="T57" fmla="*/ 67 h 103"/>
                  <a:gd name="T58" fmla="*/ 67 w 87"/>
                  <a:gd name="T59" fmla="*/ 0 h 103"/>
                  <a:gd name="T60" fmla="*/ 44 w 87"/>
                  <a:gd name="T61" fmla="*/ 4 h 103"/>
                  <a:gd name="T62" fmla="*/ 67 w 87"/>
                  <a:gd name="T6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7" h="103">
                    <a:moveTo>
                      <a:pt x="79" y="67"/>
                    </a:moveTo>
                    <a:cubicBezTo>
                      <a:pt x="79" y="40"/>
                      <a:pt x="79" y="40"/>
                      <a:pt x="79" y="40"/>
                    </a:cubicBezTo>
                    <a:cubicBezTo>
                      <a:pt x="83" y="40"/>
                      <a:pt x="83" y="40"/>
                      <a:pt x="83" y="40"/>
                    </a:cubicBezTo>
                    <a:cubicBezTo>
                      <a:pt x="85" y="40"/>
                      <a:pt x="87" y="38"/>
                      <a:pt x="87" y="36"/>
                    </a:cubicBezTo>
                    <a:cubicBezTo>
                      <a:pt x="87" y="33"/>
                      <a:pt x="85" y="32"/>
                      <a:pt x="83" y="32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5" y="28"/>
                      <a:pt x="75" y="28"/>
                      <a:pt x="75" y="28"/>
                    </a:cubicBezTo>
                    <a:cubicBezTo>
                      <a:pt x="79" y="28"/>
                      <a:pt x="79" y="28"/>
                      <a:pt x="79" y="28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85" y="16"/>
                      <a:pt x="87" y="14"/>
                      <a:pt x="87" y="12"/>
                    </a:cubicBezTo>
                    <a:cubicBezTo>
                      <a:pt x="87" y="10"/>
                      <a:pt x="85" y="8"/>
                      <a:pt x="8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3" y="8"/>
                      <a:pt x="2" y="8"/>
                      <a:pt x="2" y="9"/>
                    </a:cubicBezTo>
                    <a:cubicBezTo>
                      <a:pt x="1" y="10"/>
                      <a:pt x="0" y="11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3" y="32"/>
                      <a:pt x="2" y="32"/>
                      <a:pt x="2" y="33"/>
                    </a:cubicBezTo>
                    <a:cubicBezTo>
                      <a:pt x="1" y="34"/>
                      <a:pt x="0" y="34"/>
                      <a:pt x="0" y="36"/>
                    </a:cubicBezTo>
                    <a:cubicBezTo>
                      <a:pt x="0" y="38"/>
                      <a:pt x="2" y="40"/>
                      <a:pt x="4" y="40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3" y="71"/>
                      <a:pt x="2" y="72"/>
                      <a:pt x="2" y="72"/>
                    </a:cubicBezTo>
                    <a:cubicBezTo>
                      <a:pt x="1" y="73"/>
                      <a:pt x="0" y="74"/>
                      <a:pt x="0" y="75"/>
                    </a:cubicBezTo>
                    <a:cubicBezTo>
                      <a:pt x="0" y="77"/>
                      <a:pt x="2" y="79"/>
                      <a:pt x="4" y="79"/>
                    </a:cubicBezTo>
                    <a:cubicBezTo>
                      <a:pt x="8" y="79"/>
                      <a:pt x="8" y="79"/>
                      <a:pt x="8" y="79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12" y="91"/>
                      <a:pt x="12" y="91"/>
                      <a:pt x="12" y="91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24" y="79"/>
                      <a:pt x="24" y="79"/>
                      <a:pt x="24" y="79"/>
                    </a:cubicBezTo>
                    <a:cubicBezTo>
                      <a:pt x="24" y="95"/>
                      <a:pt x="24" y="95"/>
                      <a:pt x="24" y="95"/>
                    </a:cubicBezTo>
                    <a:cubicBezTo>
                      <a:pt x="4" y="95"/>
                      <a:pt x="4" y="95"/>
                      <a:pt x="4" y="95"/>
                    </a:cubicBezTo>
                    <a:cubicBezTo>
                      <a:pt x="3" y="95"/>
                      <a:pt x="2" y="95"/>
                      <a:pt x="2" y="96"/>
                    </a:cubicBezTo>
                    <a:cubicBezTo>
                      <a:pt x="1" y="97"/>
                      <a:pt x="0" y="98"/>
                      <a:pt x="0" y="99"/>
                    </a:cubicBezTo>
                    <a:cubicBezTo>
                      <a:pt x="0" y="101"/>
                      <a:pt x="2" y="103"/>
                      <a:pt x="4" y="103"/>
                    </a:cubicBezTo>
                    <a:cubicBezTo>
                      <a:pt x="83" y="103"/>
                      <a:pt x="83" y="103"/>
                      <a:pt x="83" y="103"/>
                    </a:cubicBezTo>
                    <a:cubicBezTo>
                      <a:pt x="85" y="103"/>
                      <a:pt x="87" y="101"/>
                      <a:pt x="87" y="99"/>
                    </a:cubicBezTo>
                    <a:cubicBezTo>
                      <a:pt x="87" y="97"/>
                      <a:pt x="85" y="95"/>
                      <a:pt x="83" y="95"/>
                    </a:cubicBezTo>
                    <a:cubicBezTo>
                      <a:pt x="75" y="95"/>
                      <a:pt x="75" y="95"/>
                      <a:pt x="75" y="95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1"/>
                      <a:pt x="79" y="91"/>
                      <a:pt x="79" y="91"/>
                    </a:cubicBezTo>
                    <a:cubicBezTo>
                      <a:pt x="79" y="79"/>
                      <a:pt x="79" y="79"/>
                      <a:pt x="79" y="79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5" y="79"/>
                      <a:pt x="87" y="77"/>
                      <a:pt x="87" y="75"/>
                    </a:cubicBezTo>
                    <a:cubicBezTo>
                      <a:pt x="87" y="73"/>
                      <a:pt x="85" y="71"/>
                      <a:pt x="83" y="71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5" y="67"/>
                      <a:pt x="75" y="67"/>
                      <a:pt x="75" y="67"/>
                    </a:cubicBezTo>
                    <a:lnTo>
                      <a:pt x="79" y="67"/>
                    </a:lnTo>
                    <a:close/>
                    <a:moveTo>
                      <a:pt x="67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67" y="4"/>
                      <a:pt x="67" y="4"/>
                      <a:pt x="67" y="4"/>
                    </a:cubicBezTo>
                    <a:lnTo>
                      <a:pt x="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64"/>
              <p:cNvSpPr>
                <a:spLocks noEditPoints="1"/>
              </p:cNvSpPr>
              <p:nvPr/>
            </p:nvSpPr>
            <p:spPr bwMode="auto">
              <a:xfrm>
                <a:off x="5240" y="2125"/>
                <a:ext cx="610" cy="731"/>
              </a:xfrm>
              <a:custGeom>
                <a:avLst/>
                <a:gdLst>
                  <a:gd name="T0" fmla="*/ 78 w 86"/>
                  <a:gd name="T1" fmla="*/ 40 h 103"/>
                  <a:gd name="T2" fmla="*/ 86 w 86"/>
                  <a:gd name="T3" fmla="*/ 36 h 103"/>
                  <a:gd name="T4" fmla="*/ 74 w 86"/>
                  <a:gd name="T5" fmla="*/ 32 h 103"/>
                  <a:gd name="T6" fmla="*/ 78 w 86"/>
                  <a:gd name="T7" fmla="*/ 28 h 103"/>
                  <a:gd name="T8" fmla="*/ 82 w 86"/>
                  <a:gd name="T9" fmla="*/ 16 h 103"/>
                  <a:gd name="T10" fmla="*/ 82 w 86"/>
                  <a:gd name="T11" fmla="*/ 8 h 103"/>
                  <a:gd name="T12" fmla="*/ 1 w 86"/>
                  <a:gd name="T13" fmla="*/ 9 h 103"/>
                  <a:gd name="T14" fmla="*/ 4 w 86"/>
                  <a:gd name="T15" fmla="*/ 16 h 103"/>
                  <a:gd name="T16" fmla="*/ 7 w 86"/>
                  <a:gd name="T17" fmla="*/ 28 h 103"/>
                  <a:gd name="T18" fmla="*/ 11 w 86"/>
                  <a:gd name="T19" fmla="*/ 16 h 103"/>
                  <a:gd name="T20" fmla="*/ 23 w 86"/>
                  <a:gd name="T21" fmla="*/ 32 h 103"/>
                  <a:gd name="T22" fmla="*/ 1 w 86"/>
                  <a:gd name="T23" fmla="*/ 33 h 103"/>
                  <a:gd name="T24" fmla="*/ 4 w 86"/>
                  <a:gd name="T25" fmla="*/ 40 h 103"/>
                  <a:gd name="T26" fmla="*/ 7 w 86"/>
                  <a:gd name="T27" fmla="*/ 67 h 103"/>
                  <a:gd name="T28" fmla="*/ 11 w 86"/>
                  <a:gd name="T29" fmla="*/ 40 h 103"/>
                  <a:gd name="T30" fmla="*/ 23 w 86"/>
                  <a:gd name="T31" fmla="*/ 71 h 103"/>
                  <a:gd name="T32" fmla="*/ 1 w 86"/>
                  <a:gd name="T33" fmla="*/ 72 h 103"/>
                  <a:gd name="T34" fmla="*/ 4 w 86"/>
                  <a:gd name="T35" fmla="*/ 79 h 103"/>
                  <a:gd name="T36" fmla="*/ 7 w 86"/>
                  <a:gd name="T37" fmla="*/ 91 h 103"/>
                  <a:gd name="T38" fmla="*/ 11 w 86"/>
                  <a:gd name="T39" fmla="*/ 79 h 103"/>
                  <a:gd name="T40" fmla="*/ 23 w 86"/>
                  <a:gd name="T41" fmla="*/ 95 h 103"/>
                  <a:gd name="T42" fmla="*/ 1 w 86"/>
                  <a:gd name="T43" fmla="*/ 96 h 103"/>
                  <a:gd name="T44" fmla="*/ 4 w 86"/>
                  <a:gd name="T45" fmla="*/ 103 h 103"/>
                  <a:gd name="T46" fmla="*/ 86 w 86"/>
                  <a:gd name="T47" fmla="*/ 99 h 103"/>
                  <a:gd name="T48" fmla="*/ 74 w 86"/>
                  <a:gd name="T49" fmla="*/ 95 h 103"/>
                  <a:gd name="T50" fmla="*/ 78 w 86"/>
                  <a:gd name="T51" fmla="*/ 91 h 103"/>
                  <a:gd name="T52" fmla="*/ 82 w 86"/>
                  <a:gd name="T53" fmla="*/ 79 h 103"/>
                  <a:gd name="T54" fmla="*/ 82 w 86"/>
                  <a:gd name="T55" fmla="*/ 71 h 103"/>
                  <a:gd name="T56" fmla="*/ 74 w 86"/>
                  <a:gd name="T57" fmla="*/ 67 h 103"/>
                  <a:gd name="T58" fmla="*/ 67 w 86"/>
                  <a:gd name="T59" fmla="*/ 0 h 103"/>
                  <a:gd name="T60" fmla="*/ 43 w 86"/>
                  <a:gd name="T61" fmla="*/ 4 h 103"/>
                  <a:gd name="T62" fmla="*/ 67 w 86"/>
                  <a:gd name="T6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6" h="103">
                    <a:moveTo>
                      <a:pt x="78" y="67"/>
                    </a:moveTo>
                    <a:cubicBezTo>
                      <a:pt x="78" y="40"/>
                      <a:pt x="78" y="40"/>
                      <a:pt x="78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4" y="40"/>
                      <a:pt x="86" y="38"/>
                      <a:pt x="86" y="36"/>
                    </a:cubicBezTo>
                    <a:cubicBezTo>
                      <a:pt x="86" y="33"/>
                      <a:pt x="84" y="32"/>
                      <a:pt x="82" y="32"/>
                    </a:cubicBezTo>
                    <a:cubicBezTo>
                      <a:pt x="74" y="32"/>
                      <a:pt x="74" y="32"/>
                      <a:pt x="74" y="32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8" y="28"/>
                      <a:pt x="78" y="28"/>
                      <a:pt x="78" y="28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2" y="16"/>
                      <a:pt x="82" y="16"/>
                      <a:pt x="82" y="16"/>
                    </a:cubicBezTo>
                    <a:cubicBezTo>
                      <a:pt x="84" y="16"/>
                      <a:pt x="86" y="14"/>
                      <a:pt x="86" y="12"/>
                    </a:cubicBezTo>
                    <a:cubicBezTo>
                      <a:pt x="86" y="10"/>
                      <a:pt x="84" y="8"/>
                      <a:pt x="8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1" y="8"/>
                      <a:pt x="1" y="9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4"/>
                      <a:pt x="1" y="16"/>
                      <a:pt x="4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2" y="32"/>
                      <a:pt x="1" y="32"/>
                      <a:pt x="1" y="33"/>
                    </a:cubicBezTo>
                    <a:cubicBezTo>
                      <a:pt x="0" y="34"/>
                      <a:pt x="0" y="34"/>
                      <a:pt x="0" y="36"/>
                    </a:cubicBezTo>
                    <a:cubicBezTo>
                      <a:pt x="0" y="38"/>
                      <a:pt x="1" y="40"/>
                      <a:pt x="4" y="40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7" y="67"/>
                      <a:pt x="7" y="67"/>
                      <a:pt x="7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3" y="71"/>
                      <a:pt x="23" y="71"/>
                      <a:pt x="23" y="71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2" y="71"/>
                      <a:pt x="1" y="72"/>
                      <a:pt x="1" y="72"/>
                    </a:cubicBezTo>
                    <a:cubicBezTo>
                      <a:pt x="0" y="73"/>
                      <a:pt x="0" y="74"/>
                      <a:pt x="0" y="75"/>
                    </a:cubicBezTo>
                    <a:cubicBezTo>
                      <a:pt x="0" y="77"/>
                      <a:pt x="1" y="79"/>
                      <a:pt x="4" y="79"/>
                    </a:cubicBezTo>
                    <a:cubicBezTo>
                      <a:pt x="7" y="79"/>
                      <a:pt x="7" y="79"/>
                      <a:pt x="7" y="79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11" y="91"/>
                      <a:pt x="11" y="91"/>
                      <a:pt x="11" y="91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23" y="79"/>
                      <a:pt x="23" y="79"/>
                      <a:pt x="23" y="79"/>
                    </a:cubicBezTo>
                    <a:cubicBezTo>
                      <a:pt x="23" y="95"/>
                      <a:pt x="23" y="95"/>
                      <a:pt x="23" y="95"/>
                    </a:cubicBezTo>
                    <a:cubicBezTo>
                      <a:pt x="4" y="95"/>
                      <a:pt x="4" y="95"/>
                      <a:pt x="4" y="95"/>
                    </a:cubicBezTo>
                    <a:cubicBezTo>
                      <a:pt x="2" y="95"/>
                      <a:pt x="1" y="95"/>
                      <a:pt x="1" y="96"/>
                    </a:cubicBezTo>
                    <a:cubicBezTo>
                      <a:pt x="0" y="97"/>
                      <a:pt x="0" y="98"/>
                      <a:pt x="0" y="99"/>
                    </a:cubicBezTo>
                    <a:cubicBezTo>
                      <a:pt x="0" y="101"/>
                      <a:pt x="1" y="103"/>
                      <a:pt x="4" y="103"/>
                    </a:cubicBezTo>
                    <a:cubicBezTo>
                      <a:pt x="82" y="103"/>
                      <a:pt x="82" y="103"/>
                      <a:pt x="82" y="103"/>
                    </a:cubicBezTo>
                    <a:cubicBezTo>
                      <a:pt x="84" y="103"/>
                      <a:pt x="86" y="101"/>
                      <a:pt x="86" y="99"/>
                    </a:cubicBezTo>
                    <a:cubicBezTo>
                      <a:pt x="86" y="97"/>
                      <a:pt x="84" y="95"/>
                      <a:pt x="82" y="95"/>
                    </a:cubicBezTo>
                    <a:cubicBezTo>
                      <a:pt x="74" y="95"/>
                      <a:pt x="74" y="95"/>
                      <a:pt x="74" y="95"/>
                    </a:cubicBezTo>
                    <a:cubicBezTo>
                      <a:pt x="74" y="91"/>
                      <a:pt x="74" y="91"/>
                      <a:pt x="74" y="91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8" y="79"/>
                      <a:pt x="78" y="79"/>
                      <a:pt x="78" y="79"/>
                    </a:cubicBezTo>
                    <a:cubicBezTo>
                      <a:pt x="82" y="79"/>
                      <a:pt x="82" y="79"/>
                      <a:pt x="82" y="79"/>
                    </a:cubicBezTo>
                    <a:cubicBezTo>
                      <a:pt x="84" y="79"/>
                      <a:pt x="86" y="77"/>
                      <a:pt x="86" y="75"/>
                    </a:cubicBezTo>
                    <a:cubicBezTo>
                      <a:pt x="86" y="73"/>
                      <a:pt x="84" y="71"/>
                      <a:pt x="82" y="71"/>
                    </a:cubicBezTo>
                    <a:cubicBezTo>
                      <a:pt x="74" y="71"/>
                      <a:pt x="74" y="71"/>
                      <a:pt x="74" y="71"/>
                    </a:cubicBezTo>
                    <a:cubicBezTo>
                      <a:pt x="74" y="67"/>
                      <a:pt x="74" y="67"/>
                      <a:pt x="74" y="67"/>
                    </a:cubicBezTo>
                    <a:lnTo>
                      <a:pt x="78" y="67"/>
                    </a:lnTo>
                    <a:close/>
                    <a:moveTo>
                      <a:pt x="67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67" y="4"/>
                      <a:pt x="67" y="4"/>
                      <a:pt x="67" y="4"/>
                    </a:cubicBezTo>
                    <a:lnTo>
                      <a:pt x="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65"/>
              <p:cNvSpPr>
                <a:spLocks noEditPoints="1"/>
              </p:cNvSpPr>
              <p:nvPr/>
            </p:nvSpPr>
            <p:spPr bwMode="auto">
              <a:xfrm>
                <a:off x="4481" y="1435"/>
                <a:ext cx="617" cy="725"/>
              </a:xfrm>
              <a:custGeom>
                <a:avLst/>
                <a:gdLst>
                  <a:gd name="T0" fmla="*/ 79 w 87"/>
                  <a:gd name="T1" fmla="*/ 39 h 102"/>
                  <a:gd name="T2" fmla="*/ 87 w 87"/>
                  <a:gd name="T3" fmla="*/ 35 h 102"/>
                  <a:gd name="T4" fmla="*/ 75 w 87"/>
                  <a:gd name="T5" fmla="*/ 31 h 102"/>
                  <a:gd name="T6" fmla="*/ 79 w 87"/>
                  <a:gd name="T7" fmla="*/ 27 h 102"/>
                  <a:gd name="T8" fmla="*/ 83 w 87"/>
                  <a:gd name="T9" fmla="*/ 16 h 102"/>
                  <a:gd name="T10" fmla="*/ 83 w 87"/>
                  <a:gd name="T11" fmla="*/ 8 h 102"/>
                  <a:gd name="T12" fmla="*/ 2 w 87"/>
                  <a:gd name="T13" fmla="*/ 9 h 102"/>
                  <a:gd name="T14" fmla="*/ 4 w 87"/>
                  <a:gd name="T15" fmla="*/ 16 h 102"/>
                  <a:gd name="T16" fmla="*/ 8 w 87"/>
                  <a:gd name="T17" fmla="*/ 27 h 102"/>
                  <a:gd name="T18" fmla="*/ 12 w 87"/>
                  <a:gd name="T19" fmla="*/ 16 h 102"/>
                  <a:gd name="T20" fmla="*/ 24 w 87"/>
                  <a:gd name="T21" fmla="*/ 31 h 102"/>
                  <a:gd name="T22" fmla="*/ 2 w 87"/>
                  <a:gd name="T23" fmla="*/ 32 h 102"/>
                  <a:gd name="T24" fmla="*/ 4 w 87"/>
                  <a:gd name="T25" fmla="*/ 39 h 102"/>
                  <a:gd name="T26" fmla="*/ 8 w 87"/>
                  <a:gd name="T27" fmla="*/ 67 h 102"/>
                  <a:gd name="T28" fmla="*/ 12 w 87"/>
                  <a:gd name="T29" fmla="*/ 39 h 102"/>
                  <a:gd name="T30" fmla="*/ 24 w 87"/>
                  <a:gd name="T31" fmla="*/ 71 h 102"/>
                  <a:gd name="T32" fmla="*/ 2 w 87"/>
                  <a:gd name="T33" fmla="*/ 72 h 102"/>
                  <a:gd name="T34" fmla="*/ 4 w 87"/>
                  <a:gd name="T35" fmla="*/ 79 h 102"/>
                  <a:gd name="T36" fmla="*/ 8 w 87"/>
                  <a:gd name="T37" fmla="*/ 91 h 102"/>
                  <a:gd name="T38" fmla="*/ 12 w 87"/>
                  <a:gd name="T39" fmla="*/ 79 h 102"/>
                  <a:gd name="T40" fmla="*/ 24 w 87"/>
                  <a:gd name="T41" fmla="*/ 94 h 102"/>
                  <a:gd name="T42" fmla="*/ 2 w 87"/>
                  <a:gd name="T43" fmla="*/ 96 h 102"/>
                  <a:gd name="T44" fmla="*/ 4 w 87"/>
                  <a:gd name="T45" fmla="*/ 102 h 102"/>
                  <a:gd name="T46" fmla="*/ 87 w 87"/>
                  <a:gd name="T47" fmla="*/ 98 h 102"/>
                  <a:gd name="T48" fmla="*/ 75 w 87"/>
                  <a:gd name="T49" fmla="*/ 94 h 102"/>
                  <a:gd name="T50" fmla="*/ 79 w 87"/>
                  <a:gd name="T51" fmla="*/ 91 h 102"/>
                  <a:gd name="T52" fmla="*/ 83 w 87"/>
                  <a:gd name="T53" fmla="*/ 79 h 102"/>
                  <a:gd name="T54" fmla="*/ 83 w 87"/>
                  <a:gd name="T55" fmla="*/ 71 h 102"/>
                  <a:gd name="T56" fmla="*/ 75 w 87"/>
                  <a:gd name="T57" fmla="*/ 67 h 102"/>
                  <a:gd name="T58" fmla="*/ 67 w 87"/>
                  <a:gd name="T59" fmla="*/ 0 h 102"/>
                  <a:gd name="T60" fmla="*/ 44 w 87"/>
                  <a:gd name="T61" fmla="*/ 4 h 102"/>
                  <a:gd name="T62" fmla="*/ 67 w 87"/>
                  <a:gd name="T63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7" h="102">
                    <a:moveTo>
                      <a:pt x="79" y="67"/>
                    </a:moveTo>
                    <a:cubicBezTo>
                      <a:pt x="79" y="39"/>
                      <a:pt x="79" y="39"/>
                      <a:pt x="79" y="39"/>
                    </a:cubicBezTo>
                    <a:cubicBezTo>
                      <a:pt x="83" y="39"/>
                      <a:pt x="83" y="39"/>
                      <a:pt x="83" y="39"/>
                    </a:cubicBezTo>
                    <a:cubicBezTo>
                      <a:pt x="85" y="39"/>
                      <a:pt x="87" y="37"/>
                      <a:pt x="87" y="35"/>
                    </a:cubicBezTo>
                    <a:cubicBezTo>
                      <a:pt x="87" y="33"/>
                      <a:pt x="85" y="31"/>
                      <a:pt x="83" y="31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9" y="27"/>
                      <a:pt x="79" y="27"/>
                      <a:pt x="79" y="27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85" y="16"/>
                      <a:pt x="87" y="14"/>
                      <a:pt x="87" y="12"/>
                    </a:cubicBezTo>
                    <a:cubicBezTo>
                      <a:pt x="87" y="9"/>
                      <a:pt x="85" y="8"/>
                      <a:pt x="8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3" y="8"/>
                      <a:pt x="2" y="8"/>
                      <a:pt x="2" y="9"/>
                    </a:cubicBezTo>
                    <a:cubicBezTo>
                      <a:pt x="1" y="10"/>
                      <a:pt x="0" y="11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3" y="31"/>
                      <a:pt x="2" y="32"/>
                      <a:pt x="2" y="32"/>
                    </a:cubicBezTo>
                    <a:cubicBezTo>
                      <a:pt x="1" y="33"/>
                      <a:pt x="0" y="34"/>
                      <a:pt x="0" y="35"/>
                    </a:cubicBezTo>
                    <a:cubicBezTo>
                      <a:pt x="0" y="37"/>
                      <a:pt x="2" y="39"/>
                      <a:pt x="4" y="39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8" y="67"/>
                      <a:pt x="8" y="67"/>
                      <a:pt x="8" y="67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24" y="71"/>
                      <a:pt x="24" y="71"/>
                      <a:pt x="24" y="71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3" y="71"/>
                      <a:pt x="2" y="71"/>
                      <a:pt x="2" y="72"/>
                    </a:cubicBezTo>
                    <a:cubicBezTo>
                      <a:pt x="1" y="73"/>
                      <a:pt x="0" y="74"/>
                      <a:pt x="0" y="75"/>
                    </a:cubicBezTo>
                    <a:cubicBezTo>
                      <a:pt x="0" y="77"/>
                      <a:pt x="2" y="79"/>
                      <a:pt x="4" y="79"/>
                    </a:cubicBezTo>
                    <a:cubicBezTo>
                      <a:pt x="8" y="79"/>
                      <a:pt x="8" y="79"/>
                      <a:pt x="8" y="79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12" y="91"/>
                      <a:pt x="12" y="91"/>
                      <a:pt x="12" y="91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24" y="79"/>
                      <a:pt x="24" y="79"/>
                      <a:pt x="24" y="79"/>
                    </a:cubicBezTo>
                    <a:cubicBezTo>
                      <a:pt x="24" y="94"/>
                      <a:pt x="24" y="94"/>
                      <a:pt x="24" y="94"/>
                    </a:cubicBezTo>
                    <a:cubicBezTo>
                      <a:pt x="4" y="94"/>
                      <a:pt x="4" y="94"/>
                      <a:pt x="4" y="94"/>
                    </a:cubicBezTo>
                    <a:cubicBezTo>
                      <a:pt x="3" y="94"/>
                      <a:pt x="2" y="95"/>
                      <a:pt x="2" y="96"/>
                    </a:cubicBezTo>
                    <a:cubicBezTo>
                      <a:pt x="1" y="96"/>
                      <a:pt x="0" y="97"/>
                      <a:pt x="0" y="98"/>
                    </a:cubicBezTo>
                    <a:cubicBezTo>
                      <a:pt x="0" y="101"/>
                      <a:pt x="2" y="102"/>
                      <a:pt x="4" y="102"/>
                    </a:cubicBezTo>
                    <a:cubicBezTo>
                      <a:pt x="83" y="102"/>
                      <a:pt x="83" y="102"/>
                      <a:pt x="83" y="102"/>
                    </a:cubicBezTo>
                    <a:cubicBezTo>
                      <a:pt x="85" y="102"/>
                      <a:pt x="87" y="101"/>
                      <a:pt x="87" y="98"/>
                    </a:cubicBezTo>
                    <a:cubicBezTo>
                      <a:pt x="87" y="96"/>
                      <a:pt x="85" y="94"/>
                      <a:pt x="83" y="94"/>
                    </a:cubicBezTo>
                    <a:cubicBezTo>
                      <a:pt x="75" y="94"/>
                      <a:pt x="75" y="94"/>
                      <a:pt x="75" y="94"/>
                    </a:cubicBezTo>
                    <a:cubicBezTo>
                      <a:pt x="75" y="91"/>
                      <a:pt x="75" y="91"/>
                      <a:pt x="75" y="91"/>
                    </a:cubicBezTo>
                    <a:cubicBezTo>
                      <a:pt x="79" y="91"/>
                      <a:pt x="79" y="91"/>
                      <a:pt x="79" y="91"/>
                    </a:cubicBezTo>
                    <a:cubicBezTo>
                      <a:pt x="79" y="79"/>
                      <a:pt x="79" y="79"/>
                      <a:pt x="79" y="79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5" y="79"/>
                      <a:pt x="87" y="77"/>
                      <a:pt x="87" y="75"/>
                    </a:cubicBezTo>
                    <a:cubicBezTo>
                      <a:pt x="87" y="73"/>
                      <a:pt x="85" y="71"/>
                      <a:pt x="83" y="71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5" y="67"/>
                      <a:pt x="75" y="67"/>
                      <a:pt x="75" y="67"/>
                    </a:cubicBezTo>
                    <a:lnTo>
                      <a:pt x="79" y="67"/>
                    </a:lnTo>
                    <a:close/>
                    <a:moveTo>
                      <a:pt x="67" y="0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67" y="4"/>
                      <a:pt x="67" y="4"/>
                      <a:pt x="67" y="4"/>
                    </a:cubicBezTo>
                    <a:lnTo>
                      <a:pt x="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66"/>
              <p:cNvSpPr>
                <a:spLocks noEditPoints="1"/>
              </p:cNvSpPr>
              <p:nvPr/>
            </p:nvSpPr>
            <p:spPr bwMode="auto">
              <a:xfrm>
                <a:off x="5240" y="1435"/>
                <a:ext cx="610" cy="725"/>
              </a:xfrm>
              <a:custGeom>
                <a:avLst/>
                <a:gdLst>
                  <a:gd name="T0" fmla="*/ 78 w 86"/>
                  <a:gd name="T1" fmla="*/ 39 h 102"/>
                  <a:gd name="T2" fmla="*/ 86 w 86"/>
                  <a:gd name="T3" fmla="*/ 35 h 102"/>
                  <a:gd name="T4" fmla="*/ 74 w 86"/>
                  <a:gd name="T5" fmla="*/ 31 h 102"/>
                  <a:gd name="T6" fmla="*/ 78 w 86"/>
                  <a:gd name="T7" fmla="*/ 27 h 102"/>
                  <a:gd name="T8" fmla="*/ 82 w 86"/>
                  <a:gd name="T9" fmla="*/ 16 h 102"/>
                  <a:gd name="T10" fmla="*/ 82 w 86"/>
                  <a:gd name="T11" fmla="*/ 8 h 102"/>
                  <a:gd name="T12" fmla="*/ 1 w 86"/>
                  <a:gd name="T13" fmla="*/ 9 h 102"/>
                  <a:gd name="T14" fmla="*/ 4 w 86"/>
                  <a:gd name="T15" fmla="*/ 16 h 102"/>
                  <a:gd name="T16" fmla="*/ 7 w 86"/>
                  <a:gd name="T17" fmla="*/ 27 h 102"/>
                  <a:gd name="T18" fmla="*/ 11 w 86"/>
                  <a:gd name="T19" fmla="*/ 16 h 102"/>
                  <a:gd name="T20" fmla="*/ 23 w 86"/>
                  <a:gd name="T21" fmla="*/ 31 h 102"/>
                  <a:gd name="T22" fmla="*/ 1 w 86"/>
                  <a:gd name="T23" fmla="*/ 32 h 102"/>
                  <a:gd name="T24" fmla="*/ 4 w 86"/>
                  <a:gd name="T25" fmla="*/ 39 h 102"/>
                  <a:gd name="T26" fmla="*/ 7 w 86"/>
                  <a:gd name="T27" fmla="*/ 67 h 102"/>
                  <a:gd name="T28" fmla="*/ 11 w 86"/>
                  <a:gd name="T29" fmla="*/ 39 h 102"/>
                  <a:gd name="T30" fmla="*/ 23 w 86"/>
                  <a:gd name="T31" fmla="*/ 71 h 102"/>
                  <a:gd name="T32" fmla="*/ 1 w 86"/>
                  <a:gd name="T33" fmla="*/ 72 h 102"/>
                  <a:gd name="T34" fmla="*/ 4 w 86"/>
                  <a:gd name="T35" fmla="*/ 79 h 102"/>
                  <a:gd name="T36" fmla="*/ 7 w 86"/>
                  <a:gd name="T37" fmla="*/ 91 h 102"/>
                  <a:gd name="T38" fmla="*/ 11 w 86"/>
                  <a:gd name="T39" fmla="*/ 79 h 102"/>
                  <a:gd name="T40" fmla="*/ 23 w 86"/>
                  <a:gd name="T41" fmla="*/ 94 h 102"/>
                  <a:gd name="T42" fmla="*/ 1 w 86"/>
                  <a:gd name="T43" fmla="*/ 96 h 102"/>
                  <a:gd name="T44" fmla="*/ 4 w 86"/>
                  <a:gd name="T45" fmla="*/ 102 h 102"/>
                  <a:gd name="T46" fmla="*/ 86 w 86"/>
                  <a:gd name="T47" fmla="*/ 98 h 102"/>
                  <a:gd name="T48" fmla="*/ 74 w 86"/>
                  <a:gd name="T49" fmla="*/ 94 h 102"/>
                  <a:gd name="T50" fmla="*/ 78 w 86"/>
                  <a:gd name="T51" fmla="*/ 91 h 102"/>
                  <a:gd name="T52" fmla="*/ 82 w 86"/>
                  <a:gd name="T53" fmla="*/ 79 h 102"/>
                  <a:gd name="T54" fmla="*/ 82 w 86"/>
                  <a:gd name="T55" fmla="*/ 71 h 102"/>
                  <a:gd name="T56" fmla="*/ 74 w 86"/>
                  <a:gd name="T57" fmla="*/ 67 h 102"/>
                  <a:gd name="T58" fmla="*/ 67 w 86"/>
                  <a:gd name="T59" fmla="*/ 0 h 102"/>
                  <a:gd name="T60" fmla="*/ 43 w 86"/>
                  <a:gd name="T61" fmla="*/ 4 h 102"/>
                  <a:gd name="T62" fmla="*/ 67 w 86"/>
                  <a:gd name="T63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6" h="102">
                    <a:moveTo>
                      <a:pt x="78" y="67"/>
                    </a:moveTo>
                    <a:cubicBezTo>
                      <a:pt x="78" y="39"/>
                      <a:pt x="78" y="39"/>
                      <a:pt x="78" y="39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4" y="39"/>
                      <a:pt x="86" y="37"/>
                      <a:pt x="86" y="35"/>
                    </a:cubicBezTo>
                    <a:cubicBezTo>
                      <a:pt x="86" y="33"/>
                      <a:pt x="84" y="31"/>
                      <a:pt x="82" y="31"/>
                    </a:cubicBezTo>
                    <a:cubicBezTo>
                      <a:pt x="74" y="31"/>
                      <a:pt x="74" y="31"/>
                      <a:pt x="74" y="31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2" y="16"/>
                      <a:pt x="82" y="16"/>
                      <a:pt x="82" y="16"/>
                    </a:cubicBezTo>
                    <a:cubicBezTo>
                      <a:pt x="84" y="16"/>
                      <a:pt x="86" y="14"/>
                      <a:pt x="86" y="12"/>
                    </a:cubicBezTo>
                    <a:cubicBezTo>
                      <a:pt x="86" y="9"/>
                      <a:pt x="84" y="8"/>
                      <a:pt x="8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1" y="8"/>
                      <a:pt x="1" y="9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4"/>
                      <a:pt x="1" y="16"/>
                      <a:pt x="4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2" y="31"/>
                      <a:pt x="1" y="32"/>
                      <a:pt x="1" y="32"/>
                    </a:cubicBezTo>
                    <a:cubicBezTo>
                      <a:pt x="0" y="33"/>
                      <a:pt x="0" y="34"/>
                      <a:pt x="0" y="35"/>
                    </a:cubicBezTo>
                    <a:cubicBezTo>
                      <a:pt x="0" y="37"/>
                      <a:pt x="1" y="39"/>
                      <a:pt x="4" y="39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7" y="67"/>
                      <a:pt x="7" y="67"/>
                      <a:pt x="7" y="67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23" y="71"/>
                      <a:pt x="23" y="71"/>
                      <a:pt x="23" y="71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2" y="71"/>
                      <a:pt x="1" y="71"/>
                      <a:pt x="1" y="72"/>
                    </a:cubicBezTo>
                    <a:cubicBezTo>
                      <a:pt x="0" y="73"/>
                      <a:pt x="0" y="74"/>
                      <a:pt x="0" y="75"/>
                    </a:cubicBezTo>
                    <a:cubicBezTo>
                      <a:pt x="0" y="77"/>
                      <a:pt x="1" y="79"/>
                      <a:pt x="4" y="79"/>
                    </a:cubicBezTo>
                    <a:cubicBezTo>
                      <a:pt x="7" y="79"/>
                      <a:pt x="7" y="79"/>
                      <a:pt x="7" y="79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11" y="91"/>
                      <a:pt x="11" y="91"/>
                      <a:pt x="11" y="91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23" y="79"/>
                      <a:pt x="23" y="79"/>
                      <a:pt x="23" y="79"/>
                    </a:cubicBezTo>
                    <a:cubicBezTo>
                      <a:pt x="23" y="94"/>
                      <a:pt x="23" y="94"/>
                      <a:pt x="23" y="94"/>
                    </a:cubicBezTo>
                    <a:cubicBezTo>
                      <a:pt x="4" y="94"/>
                      <a:pt x="4" y="94"/>
                      <a:pt x="4" y="94"/>
                    </a:cubicBezTo>
                    <a:cubicBezTo>
                      <a:pt x="2" y="94"/>
                      <a:pt x="1" y="95"/>
                      <a:pt x="1" y="96"/>
                    </a:cubicBezTo>
                    <a:cubicBezTo>
                      <a:pt x="0" y="96"/>
                      <a:pt x="0" y="97"/>
                      <a:pt x="0" y="98"/>
                    </a:cubicBezTo>
                    <a:cubicBezTo>
                      <a:pt x="0" y="101"/>
                      <a:pt x="1" y="102"/>
                      <a:pt x="4" y="102"/>
                    </a:cubicBezTo>
                    <a:cubicBezTo>
                      <a:pt x="82" y="102"/>
                      <a:pt x="82" y="102"/>
                      <a:pt x="82" y="102"/>
                    </a:cubicBezTo>
                    <a:cubicBezTo>
                      <a:pt x="84" y="102"/>
                      <a:pt x="86" y="101"/>
                      <a:pt x="86" y="98"/>
                    </a:cubicBezTo>
                    <a:cubicBezTo>
                      <a:pt x="86" y="96"/>
                      <a:pt x="84" y="94"/>
                      <a:pt x="82" y="94"/>
                    </a:cubicBezTo>
                    <a:cubicBezTo>
                      <a:pt x="74" y="94"/>
                      <a:pt x="74" y="94"/>
                      <a:pt x="74" y="94"/>
                    </a:cubicBezTo>
                    <a:cubicBezTo>
                      <a:pt x="74" y="91"/>
                      <a:pt x="74" y="91"/>
                      <a:pt x="74" y="91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8" y="79"/>
                      <a:pt x="78" y="79"/>
                      <a:pt x="78" y="79"/>
                    </a:cubicBezTo>
                    <a:cubicBezTo>
                      <a:pt x="82" y="79"/>
                      <a:pt x="82" y="79"/>
                      <a:pt x="82" y="79"/>
                    </a:cubicBezTo>
                    <a:cubicBezTo>
                      <a:pt x="84" y="79"/>
                      <a:pt x="86" y="77"/>
                      <a:pt x="86" y="75"/>
                    </a:cubicBezTo>
                    <a:cubicBezTo>
                      <a:pt x="86" y="73"/>
                      <a:pt x="84" y="71"/>
                      <a:pt x="82" y="71"/>
                    </a:cubicBezTo>
                    <a:cubicBezTo>
                      <a:pt x="74" y="71"/>
                      <a:pt x="74" y="71"/>
                      <a:pt x="74" y="71"/>
                    </a:cubicBezTo>
                    <a:cubicBezTo>
                      <a:pt x="74" y="67"/>
                      <a:pt x="74" y="67"/>
                      <a:pt x="74" y="67"/>
                    </a:cubicBezTo>
                    <a:lnTo>
                      <a:pt x="78" y="67"/>
                    </a:lnTo>
                    <a:close/>
                    <a:moveTo>
                      <a:pt x="67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67" y="4"/>
                      <a:pt x="67" y="4"/>
                      <a:pt x="67" y="4"/>
                    </a:cubicBezTo>
                    <a:lnTo>
                      <a:pt x="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67"/>
              <p:cNvSpPr>
                <a:spLocks noEditPoints="1"/>
              </p:cNvSpPr>
              <p:nvPr/>
            </p:nvSpPr>
            <p:spPr bwMode="auto">
              <a:xfrm>
                <a:off x="5240" y="739"/>
                <a:ext cx="610" cy="732"/>
              </a:xfrm>
              <a:custGeom>
                <a:avLst/>
                <a:gdLst>
                  <a:gd name="T0" fmla="*/ 78 w 86"/>
                  <a:gd name="T1" fmla="*/ 40 h 103"/>
                  <a:gd name="T2" fmla="*/ 86 w 86"/>
                  <a:gd name="T3" fmla="*/ 36 h 103"/>
                  <a:gd name="T4" fmla="*/ 74 w 86"/>
                  <a:gd name="T5" fmla="*/ 32 h 103"/>
                  <a:gd name="T6" fmla="*/ 78 w 86"/>
                  <a:gd name="T7" fmla="*/ 28 h 103"/>
                  <a:gd name="T8" fmla="*/ 82 w 86"/>
                  <a:gd name="T9" fmla="*/ 16 h 103"/>
                  <a:gd name="T10" fmla="*/ 82 w 86"/>
                  <a:gd name="T11" fmla="*/ 8 h 103"/>
                  <a:gd name="T12" fmla="*/ 1 w 86"/>
                  <a:gd name="T13" fmla="*/ 10 h 103"/>
                  <a:gd name="T14" fmla="*/ 4 w 86"/>
                  <a:gd name="T15" fmla="*/ 16 h 103"/>
                  <a:gd name="T16" fmla="*/ 7 w 86"/>
                  <a:gd name="T17" fmla="*/ 28 h 103"/>
                  <a:gd name="T18" fmla="*/ 11 w 86"/>
                  <a:gd name="T19" fmla="*/ 16 h 103"/>
                  <a:gd name="T20" fmla="*/ 23 w 86"/>
                  <a:gd name="T21" fmla="*/ 32 h 103"/>
                  <a:gd name="T22" fmla="*/ 1 w 86"/>
                  <a:gd name="T23" fmla="*/ 33 h 103"/>
                  <a:gd name="T24" fmla="*/ 4 w 86"/>
                  <a:gd name="T25" fmla="*/ 40 h 103"/>
                  <a:gd name="T26" fmla="*/ 7 w 86"/>
                  <a:gd name="T27" fmla="*/ 68 h 103"/>
                  <a:gd name="T28" fmla="*/ 11 w 86"/>
                  <a:gd name="T29" fmla="*/ 40 h 103"/>
                  <a:gd name="T30" fmla="*/ 23 w 86"/>
                  <a:gd name="T31" fmla="*/ 71 h 103"/>
                  <a:gd name="T32" fmla="*/ 1 w 86"/>
                  <a:gd name="T33" fmla="*/ 73 h 103"/>
                  <a:gd name="T34" fmla="*/ 4 w 86"/>
                  <a:gd name="T35" fmla="*/ 79 h 103"/>
                  <a:gd name="T36" fmla="*/ 7 w 86"/>
                  <a:gd name="T37" fmla="*/ 91 h 103"/>
                  <a:gd name="T38" fmla="*/ 11 w 86"/>
                  <a:gd name="T39" fmla="*/ 79 h 103"/>
                  <a:gd name="T40" fmla="*/ 23 w 86"/>
                  <a:gd name="T41" fmla="*/ 95 h 103"/>
                  <a:gd name="T42" fmla="*/ 1 w 86"/>
                  <a:gd name="T43" fmla="*/ 96 h 103"/>
                  <a:gd name="T44" fmla="*/ 4 w 86"/>
                  <a:gd name="T45" fmla="*/ 103 h 103"/>
                  <a:gd name="T46" fmla="*/ 86 w 86"/>
                  <a:gd name="T47" fmla="*/ 99 h 103"/>
                  <a:gd name="T48" fmla="*/ 74 w 86"/>
                  <a:gd name="T49" fmla="*/ 95 h 103"/>
                  <a:gd name="T50" fmla="*/ 78 w 86"/>
                  <a:gd name="T51" fmla="*/ 91 h 103"/>
                  <a:gd name="T52" fmla="*/ 82 w 86"/>
                  <a:gd name="T53" fmla="*/ 79 h 103"/>
                  <a:gd name="T54" fmla="*/ 82 w 86"/>
                  <a:gd name="T55" fmla="*/ 71 h 103"/>
                  <a:gd name="T56" fmla="*/ 74 w 86"/>
                  <a:gd name="T57" fmla="*/ 68 h 103"/>
                  <a:gd name="T58" fmla="*/ 67 w 86"/>
                  <a:gd name="T59" fmla="*/ 0 h 103"/>
                  <a:gd name="T60" fmla="*/ 43 w 86"/>
                  <a:gd name="T61" fmla="*/ 4 h 103"/>
                  <a:gd name="T62" fmla="*/ 67 w 86"/>
                  <a:gd name="T6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6" h="103">
                    <a:moveTo>
                      <a:pt x="78" y="68"/>
                    </a:moveTo>
                    <a:cubicBezTo>
                      <a:pt x="78" y="40"/>
                      <a:pt x="78" y="40"/>
                      <a:pt x="78" y="40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4" y="40"/>
                      <a:pt x="86" y="38"/>
                      <a:pt x="86" y="36"/>
                    </a:cubicBezTo>
                    <a:cubicBezTo>
                      <a:pt x="86" y="34"/>
                      <a:pt x="84" y="32"/>
                      <a:pt x="82" y="32"/>
                    </a:cubicBezTo>
                    <a:cubicBezTo>
                      <a:pt x="74" y="32"/>
                      <a:pt x="74" y="32"/>
                      <a:pt x="74" y="32"/>
                    </a:cubicBezTo>
                    <a:cubicBezTo>
                      <a:pt x="74" y="28"/>
                      <a:pt x="74" y="28"/>
                      <a:pt x="74" y="28"/>
                    </a:cubicBezTo>
                    <a:cubicBezTo>
                      <a:pt x="78" y="28"/>
                      <a:pt x="78" y="28"/>
                      <a:pt x="78" y="28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2" y="16"/>
                      <a:pt x="82" y="16"/>
                      <a:pt x="82" y="16"/>
                    </a:cubicBezTo>
                    <a:cubicBezTo>
                      <a:pt x="84" y="16"/>
                      <a:pt x="86" y="14"/>
                      <a:pt x="86" y="12"/>
                    </a:cubicBezTo>
                    <a:cubicBezTo>
                      <a:pt x="86" y="10"/>
                      <a:pt x="84" y="8"/>
                      <a:pt x="8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1" y="9"/>
                      <a:pt x="1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4"/>
                      <a:pt x="1" y="16"/>
                      <a:pt x="4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2" y="32"/>
                      <a:pt x="1" y="32"/>
                      <a:pt x="1" y="33"/>
                    </a:cubicBezTo>
                    <a:cubicBezTo>
                      <a:pt x="0" y="34"/>
                      <a:pt x="0" y="35"/>
                      <a:pt x="0" y="36"/>
                    </a:cubicBezTo>
                    <a:cubicBezTo>
                      <a:pt x="0" y="38"/>
                      <a:pt x="1" y="40"/>
                      <a:pt x="4" y="40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3" y="71"/>
                      <a:pt x="23" y="71"/>
                      <a:pt x="23" y="71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2" y="71"/>
                      <a:pt x="1" y="72"/>
                      <a:pt x="1" y="73"/>
                    </a:cubicBezTo>
                    <a:cubicBezTo>
                      <a:pt x="0" y="73"/>
                      <a:pt x="0" y="74"/>
                      <a:pt x="0" y="75"/>
                    </a:cubicBezTo>
                    <a:cubicBezTo>
                      <a:pt x="0" y="78"/>
                      <a:pt x="1" y="79"/>
                      <a:pt x="4" y="79"/>
                    </a:cubicBezTo>
                    <a:cubicBezTo>
                      <a:pt x="7" y="79"/>
                      <a:pt x="7" y="79"/>
                      <a:pt x="7" y="79"/>
                    </a:cubicBezTo>
                    <a:cubicBezTo>
                      <a:pt x="7" y="91"/>
                      <a:pt x="7" y="91"/>
                      <a:pt x="7" y="91"/>
                    </a:cubicBezTo>
                    <a:cubicBezTo>
                      <a:pt x="11" y="91"/>
                      <a:pt x="11" y="91"/>
                      <a:pt x="11" y="91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23" y="79"/>
                      <a:pt x="23" y="79"/>
                      <a:pt x="23" y="79"/>
                    </a:cubicBezTo>
                    <a:cubicBezTo>
                      <a:pt x="23" y="95"/>
                      <a:pt x="23" y="95"/>
                      <a:pt x="23" y="95"/>
                    </a:cubicBezTo>
                    <a:cubicBezTo>
                      <a:pt x="4" y="95"/>
                      <a:pt x="4" y="95"/>
                      <a:pt x="4" y="95"/>
                    </a:cubicBezTo>
                    <a:cubicBezTo>
                      <a:pt x="2" y="95"/>
                      <a:pt x="1" y="96"/>
                      <a:pt x="1" y="96"/>
                    </a:cubicBezTo>
                    <a:cubicBezTo>
                      <a:pt x="0" y="97"/>
                      <a:pt x="0" y="98"/>
                      <a:pt x="0" y="99"/>
                    </a:cubicBezTo>
                    <a:cubicBezTo>
                      <a:pt x="0" y="101"/>
                      <a:pt x="1" y="103"/>
                      <a:pt x="4" y="103"/>
                    </a:cubicBezTo>
                    <a:cubicBezTo>
                      <a:pt x="82" y="103"/>
                      <a:pt x="82" y="103"/>
                      <a:pt x="82" y="103"/>
                    </a:cubicBezTo>
                    <a:cubicBezTo>
                      <a:pt x="84" y="103"/>
                      <a:pt x="86" y="101"/>
                      <a:pt x="86" y="99"/>
                    </a:cubicBezTo>
                    <a:cubicBezTo>
                      <a:pt x="86" y="97"/>
                      <a:pt x="84" y="95"/>
                      <a:pt x="82" y="95"/>
                    </a:cubicBezTo>
                    <a:cubicBezTo>
                      <a:pt x="74" y="95"/>
                      <a:pt x="74" y="95"/>
                      <a:pt x="74" y="95"/>
                    </a:cubicBezTo>
                    <a:cubicBezTo>
                      <a:pt x="74" y="91"/>
                      <a:pt x="74" y="91"/>
                      <a:pt x="74" y="91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78" y="79"/>
                      <a:pt x="78" y="79"/>
                      <a:pt x="78" y="79"/>
                    </a:cubicBezTo>
                    <a:cubicBezTo>
                      <a:pt x="82" y="79"/>
                      <a:pt x="82" y="79"/>
                      <a:pt x="82" y="79"/>
                    </a:cubicBezTo>
                    <a:cubicBezTo>
                      <a:pt x="84" y="79"/>
                      <a:pt x="86" y="78"/>
                      <a:pt x="86" y="75"/>
                    </a:cubicBezTo>
                    <a:cubicBezTo>
                      <a:pt x="86" y="73"/>
                      <a:pt x="84" y="71"/>
                      <a:pt x="82" y="71"/>
                    </a:cubicBezTo>
                    <a:cubicBezTo>
                      <a:pt x="74" y="71"/>
                      <a:pt x="74" y="71"/>
                      <a:pt x="74" y="71"/>
                    </a:cubicBezTo>
                    <a:cubicBezTo>
                      <a:pt x="74" y="68"/>
                      <a:pt x="74" y="68"/>
                      <a:pt x="74" y="68"/>
                    </a:cubicBezTo>
                    <a:lnTo>
                      <a:pt x="78" y="68"/>
                    </a:lnTo>
                    <a:close/>
                    <a:moveTo>
                      <a:pt x="67" y="0"/>
                    </a:moveTo>
                    <a:cubicBezTo>
                      <a:pt x="43" y="0"/>
                      <a:pt x="43" y="0"/>
                      <a:pt x="43" y="0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67" y="4"/>
                      <a:pt x="67" y="4"/>
                      <a:pt x="67" y="4"/>
                    </a:cubicBezTo>
                    <a:lnTo>
                      <a:pt x="6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="" xmlns:p14="http://schemas.microsoft.com/office/powerpoint/2010/main" val="227282801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err="1" smtClean="0"/>
              <a:t>Kostenoptimierung</a:t>
            </a:r>
            <a:r>
              <a:rPr lang="en-US" altLang="en-US" dirty="0" smtClean="0"/>
              <a:t> und </a:t>
            </a:r>
            <a:r>
              <a:rPr lang="en-US" altLang="en-US" dirty="0" err="1" smtClean="0"/>
              <a:t>Stabilität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durch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querverbundoptimiert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Microgrids</a:t>
            </a:r>
            <a:endParaRPr lang="en-US" dirty="0"/>
          </a:p>
        </p:txBody>
      </p:sp>
      <p:grpSp>
        <p:nvGrpSpPr>
          <p:cNvPr id="32" name="Gruppieren 31"/>
          <p:cNvGrpSpPr/>
          <p:nvPr/>
        </p:nvGrpSpPr>
        <p:grpSpPr>
          <a:xfrm>
            <a:off x="338138" y="1560415"/>
            <a:ext cx="8497887" cy="3761495"/>
            <a:chOff x="628782" y="1461334"/>
            <a:chExt cx="10610465" cy="4571347"/>
          </a:xfrm>
        </p:grpSpPr>
        <p:cxnSp>
          <p:nvCxnSpPr>
            <p:cNvPr id="53" name="Gerade Verbindung 52"/>
            <p:cNvCxnSpPr/>
            <p:nvPr/>
          </p:nvCxnSpPr>
          <p:spPr bwMode="auto">
            <a:xfrm flipH="1">
              <a:off x="2836233" y="3832200"/>
              <a:ext cx="6161593" cy="2092"/>
            </a:xfrm>
            <a:prstGeom prst="line">
              <a:avLst/>
            </a:prstGeom>
            <a:solidFill>
              <a:schemeClr val="tx2"/>
            </a:solidFill>
            <a:ln w="120650" cap="flat" cmpd="sng" algn="ctr">
              <a:solidFill>
                <a:srgbClr val="D7D7CD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" name="Gruppieren 7"/>
            <p:cNvGrpSpPr/>
            <p:nvPr/>
          </p:nvGrpSpPr>
          <p:grpSpPr>
            <a:xfrm>
              <a:off x="5335225" y="1980971"/>
              <a:ext cx="3711962" cy="3711960"/>
              <a:chOff x="6344128" y="2243579"/>
              <a:chExt cx="3186743" cy="3186743"/>
            </a:xfrm>
          </p:grpSpPr>
          <p:cxnSp>
            <p:nvCxnSpPr>
              <p:cNvPr id="30" name="Gerade Verbindung 29"/>
              <p:cNvCxnSpPr/>
              <p:nvPr/>
            </p:nvCxnSpPr>
            <p:spPr bwMode="auto">
              <a:xfrm flipH="1">
                <a:off x="6564920" y="2900390"/>
                <a:ext cx="2661647" cy="1933799"/>
              </a:xfrm>
              <a:prstGeom prst="line">
                <a:avLst/>
              </a:prstGeom>
              <a:solidFill>
                <a:schemeClr val="tx2"/>
              </a:solidFill>
              <a:ln w="120650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7" name="Gerade Verbindung 26"/>
              <p:cNvCxnSpPr/>
              <p:nvPr/>
            </p:nvCxnSpPr>
            <p:spPr bwMode="auto">
              <a:xfrm rot="-1080000">
                <a:off x="7937500" y="2243579"/>
                <a:ext cx="0" cy="3186743"/>
              </a:xfrm>
              <a:prstGeom prst="line">
                <a:avLst/>
              </a:prstGeom>
              <a:solidFill>
                <a:schemeClr val="tx2"/>
              </a:solidFill>
              <a:ln w="120650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8" name="Gerade Verbindung 27"/>
              <p:cNvCxnSpPr/>
              <p:nvPr/>
            </p:nvCxnSpPr>
            <p:spPr bwMode="auto">
              <a:xfrm rot="-3240000">
                <a:off x="7937500" y="2243579"/>
                <a:ext cx="0" cy="3186743"/>
              </a:xfrm>
              <a:prstGeom prst="line">
                <a:avLst/>
              </a:prstGeom>
              <a:solidFill>
                <a:schemeClr val="tx2"/>
              </a:solidFill>
              <a:ln w="120650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6" name="Gerade Verbindung 55"/>
              <p:cNvCxnSpPr/>
              <p:nvPr/>
            </p:nvCxnSpPr>
            <p:spPr bwMode="auto">
              <a:xfrm rot="1080000">
                <a:off x="7937500" y="2243579"/>
                <a:ext cx="0" cy="3186743"/>
              </a:xfrm>
              <a:prstGeom prst="line">
                <a:avLst/>
              </a:prstGeom>
              <a:solidFill>
                <a:schemeClr val="tx2"/>
              </a:solidFill>
              <a:ln w="120650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44" name="Ellipse 43"/>
            <p:cNvSpPr/>
            <p:nvPr/>
          </p:nvSpPr>
          <p:spPr bwMode="auto">
            <a:xfrm>
              <a:off x="5908506" y="2554250"/>
              <a:ext cx="2565400" cy="2565400"/>
            </a:xfrm>
            <a:prstGeom prst="ellipse">
              <a:avLst/>
            </a:prstGeom>
            <a:solidFill>
              <a:schemeClr val="bg1"/>
            </a:solidFill>
            <a:ln w="120650">
              <a:solidFill>
                <a:srgbClr val="D7D7CD"/>
              </a:solidFill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7" name="Rechteck 66"/>
            <p:cNvSpPr/>
            <p:nvPr/>
          </p:nvSpPr>
          <p:spPr>
            <a:xfrm>
              <a:off x="628782" y="4355783"/>
              <a:ext cx="3598732" cy="11969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3200" b="1" dirty="0" err="1" smtClean="0">
                  <a:solidFill>
                    <a:srgbClr val="55A0B9"/>
                  </a:solidFill>
                  <a:latin typeface="Siemens Slab" pitchFamily="2" charset="0"/>
                </a:rPr>
                <a:t>Übertragungs-netz</a:t>
              </a:r>
              <a:r>
                <a:rPr lang="en-US" sz="2400" dirty="0" smtClean="0">
                  <a:solidFill>
                    <a:schemeClr val="accent1"/>
                  </a:solidFill>
                  <a:latin typeface="+mn-lt"/>
                </a:rPr>
                <a:t>(</a:t>
              </a:r>
              <a:r>
                <a:rPr lang="en-US" sz="2400" dirty="0" err="1" smtClean="0">
                  <a:solidFill>
                    <a:schemeClr val="accent1"/>
                  </a:solidFill>
                  <a:latin typeface="+mn-lt"/>
                </a:rPr>
                <a:t>Supergrid</a:t>
              </a:r>
              <a:r>
                <a:rPr lang="en-US" sz="2400" dirty="0">
                  <a:solidFill>
                    <a:schemeClr val="accent1"/>
                  </a:solidFill>
                  <a:latin typeface="+mn-lt"/>
                </a:rPr>
                <a:t>)</a:t>
              </a:r>
            </a:p>
          </p:txBody>
        </p:sp>
        <p:sp>
          <p:nvSpPr>
            <p:cNvPr id="24" name="Textfeld 10"/>
            <p:cNvSpPr txBox="1">
              <a:spLocks noChangeArrowheads="1"/>
            </p:cNvSpPr>
            <p:nvPr/>
          </p:nvSpPr>
          <p:spPr bwMode="auto">
            <a:xfrm>
              <a:off x="9545961" y="4862551"/>
              <a:ext cx="1693286" cy="108487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>
                <a:defRPr sz="1600" b="1">
                  <a:solidFill>
                    <a:srgbClr val="55A0B9"/>
                  </a:solidFill>
                  <a:latin typeface="Siemens Slab" pitchFamily="2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ea typeface="MS PGothic" pitchFamily="34" charset="-128"/>
                  <a:cs typeface="Arial" pitchFamily="34" charset="0"/>
                </a:defRPr>
              </a:lvl9pPr>
            </a:lstStyle>
            <a:p>
              <a:pPr algn="ctr"/>
              <a:r>
                <a:rPr lang="de-DE" altLang="en-US" sz="2800" dirty="0" smtClean="0">
                  <a:solidFill>
                    <a:srgbClr val="AAB414"/>
                  </a:solidFill>
                </a:rPr>
                <a:t>Nano-</a:t>
              </a:r>
              <a:r>
                <a:rPr lang="de-DE" altLang="en-US" sz="2800" dirty="0" err="1" smtClean="0">
                  <a:solidFill>
                    <a:srgbClr val="AAB414"/>
                  </a:solidFill>
                </a:rPr>
                <a:t>grid</a:t>
              </a:r>
              <a:r>
                <a:rPr lang="de-DE" altLang="en-US" sz="2800" dirty="0" smtClean="0">
                  <a:solidFill>
                    <a:srgbClr val="AAB414"/>
                  </a:solidFill>
                </a:rPr>
                <a:t> </a:t>
              </a:r>
              <a:endParaRPr lang="de-DE" altLang="en-US" sz="2800" dirty="0">
                <a:solidFill>
                  <a:srgbClr val="AAB414"/>
                </a:solidFill>
              </a:endParaRPr>
            </a:p>
          </p:txBody>
        </p:sp>
        <p:grpSp>
          <p:nvGrpSpPr>
            <p:cNvPr id="34" name="Gruppieren 33"/>
            <p:cNvGrpSpPr/>
            <p:nvPr/>
          </p:nvGrpSpPr>
          <p:grpSpPr>
            <a:xfrm>
              <a:off x="5335225" y="1980971"/>
              <a:ext cx="3711962" cy="3711960"/>
              <a:chOff x="6344128" y="2243579"/>
              <a:chExt cx="3186743" cy="3186743"/>
            </a:xfrm>
          </p:grpSpPr>
          <p:cxnSp>
            <p:nvCxnSpPr>
              <p:cNvPr id="36" name="Gerade Verbindung 35"/>
              <p:cNvCxnSpPr/>
              <p:nvPr/>
            </p:nvCxnSpPr>
            <p:spPr bwMode="auto">
              <a:xfrm flipH="1">
                <a:off x="6564920" y="2900390"/>
                <a:ext cx="2661647" cy="1933799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5A0B9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Gerade Verbindung 36"/>
              <p:cNvCxnSpPr/>
              <p:nvPr/>
            </p:nvCxnSpPr>
            <p:spPr bwMode="auto">
              <a:xfrm rot="-1080000">
                <a:off x="7937500" y="2243579"/>
                <a:ext cx="0" cy="318674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5A0B9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9" name="Gerade Verbindung 38"/>
              <p:cNvCxnSpPr/>
              <p:nvPr/>
            </p:nvCxnSpPr>
            <p:spPr bwMode="auto">
              <a:xfrm rot="-3240000">
                <a:off x="7937500" y="2243579"/>
                <a:ext cx="0" cy="318674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5A0B9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0" name="Gerade Verbindung 39"/>
              <p:cNvCxnSpPr/>
              <p:nvPr/>
            </p:nvCxnSpPr>
            <p:spPr bwMode="auto">
              <a:xfrm rot="1080000">
                <a:off x="7937500" y="2243579"/>
                <a:ext cx="0" cy="318674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5A0B9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45" name="Ellipse 44"/>
            <p:cNvSpPr/>
            <p:nvPr/>
          </p:nvSpPr>
          <p:spPr bwMode="auto">
            <a:xfrm>
              <a:off x="6179931" y="2825675"/>
              <a:ext cx="2022550" cy="2022550"/>
            </a:xfrm>
            <a:prstGeom prst="ellipse">
              <a:avLst/>
            </a:prstGeom>
            <a:solidFill>
              <a:schemeClr val="bg1"/>
            </a:solidFill>
            <a:ln w="76200">
              <a:noFill/>
              <a:miter lim="800000"/>
              <a:headEnd/>
              <a:tailEnd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6664085" y="3090064"/>
              <a:ext cx="1100652" cy="825488"/>
            </a:xfrm>
            <a:custGeom>
              <a:avLst/>
              <a:gdLst>
                <a:gd name="T0" fmla="*/ 0 w 800"/>
                <a:gd name="T1" fmla="*/ 573 h 600"/>
                <a:gd name="T2" fmla="*/ 800 w 800"/>
                <a:gd name="T3" fmla="*/ 573 h 600"/>
                <a:gd name="T4" fmla="*/ 773 w 800"/>
                <a:gd name="T5" fmla="*/ 600 h 600"/>
                <a:gd name="T6" fmla="*/ 27 w 800"/>
                <a:gd name="T7" fmla="*/ 600 h 600"/>
                <a:gd name="T8" fmla="*/ 0 w 800"/>
                <a:gd name="T9" fmla="*/ 573 h 600"/>
                <a:gd name="T10" fmla="*/ 320 w 800"/>
                <a:gd name="T11" fmla="*/ 413 h 600"/>
                <a:gd name="T12" fmla="*/ 480 w 800"/>
                <a:gd name="T13" fmla="*/ 413 h 600"/>
                <a:gd name="T14" fmla="*/ 480 w 800"/>
                <a:gd name="T15" fmla="*/ 460 h 600"/>
                <a:gd name="T16" fmla="*/ 320 w 800"/>
                <a:gd name="T17" fmla="*/ 460 h 600"/>
                <a:gd name="T18" fmla="*/ 320 w 800"/>
                <a:gd name="T19" fmla="*/ 413 h 600"/>
                <a:gd name="T20" fmla="*/ 90 w 800"/>
                <a:gd name="T21" fmla="*/ 473 h 600"/>
                <a:gd name="T22" fmla="*/ 710 w 800"/>
                <a:gd name="T23" fmla="*/ 473 h 600"/>
                <a:gd name="T24" fmla="*/ 800 w 800"/>
                <a:gd name="T25" fmla="*/ 560 h 600"/>
                <a:gd name="T26" fmla="*/ 0 w 800"/>
                <a:gd name="T27" fmla="*/ 560 h 600"/>
                <a:gd name="T28" fmla="*/ 90 w 800"/>
                <a:gd name="T29" fmla="*/ 473 h 600"/>
                <a:gd name="T30" fmla="*/ 80 w 800"/>
                <a:gd name="T31" fmla="*/ 27 h 600"/>
                <a:gd name="T32" fmla="*/ 720 w 800"/>
                <a:gd name="T33" fmla="*/ 27 h 600"/>
                <a:gd name="T34" fmla="*/ 720 w 800"/>
                <a:gd name="T35" fmla="*/ 373 h 600"/>
                <a:gd name="T36" fmla="*/ 80 w 800"/>
                <a:gd name="T37" fmla="*/ 373 h 600"/>
                <a:gd name="T38" fmla="*/ 80 w 800"/>
                <a:gd name="T39" fmla="*/ 27 h 600"/>
                <a:gd name="T40" fmla="*/ 53 w 800"/>
                <a:gd name="T41" fmla="*/ 20 h 600"/>
                <a:gd name="T42" fmla="*/ 73 w 800"/>
                <a:gd name="T43" fmla="*/ 0 h 600"/>
                <a:gd name="T44" fmla="*/ 727 w 800"/>
                <a:gd name="T45" fmla="*/ 0 h 600"/>
                <a:gd name="T46" fmla="*/ 747 w 800"/>
                <a:gd name="T47" fmla="*/ 20 h 600"/>
                <a:gd name="T48" fmla="*/ 747 w 800"/>
                <a:gd name="T49" fmla="*/ 380 h 600"/>
                <a:gd name="T50" fmla="*/ 727 w 800"/>
                <a:gd name="T51" fmla="*/ 400 h 600"/>
                <a:gd name="T52" fmla="*/ 73 w 800"/>
                <a:gd name="T53" fmla="*/ 400 h 600"/>
                <a:gd name="T54" fmla="*/ 53 w 800"/>
                <a:gd name="T55" fmla="*/ 380 h 600"/>
                <a:gd name="T56" fmla="*/ 53 w 800"/>
                <a:gd name="T57" fmla="*/ 2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0" h="600">
                  <a:moveTo>
                    <a:pt x="0" y="573"/>
                  </a:moveTo>
                  <a:cubicBezTo>
                    <a:pt x="800" y="573"/>
                    <a:pt x="800" y="573"/>
                    <a:pt x="800" y="573"/>
                  </a:cubicBezTo>
                  <a:cubicBezTo>
                    <a:pt x="800" y="588"/>
                    <a:pt x="788" y="600"/>
                    <a:pt x="773" y="600"/>
                  </a:cubicBezTo>
                  <a:cubicBezTo>
                    <a:pt x="27" y="600"/>
                    <a:pt x="27" y="600"/>
                    <a:pt x="27" y="600"/>
                  </a:cubicBezTo>
                  <a:cubicBezTo>
                    <a:pt x="12" y="600"/>
                    <a:pt x="0" y="588"/>
                    <a:pt x="0" y="573"/>
                  </a:cubicBezTo>
                  <a:close/>
                  <a:moveTo>
                    <a:pt x="320" y="413"/>
                  </a:moveTo>
                  <a:cubicBezTo>
                    <a:pt x="480" y="413"/>
                    <a:pt x="480" y="413"/>
                    <a:pt x="480" y="413"/>
                  </a:cubicBezTo>
                  <a:cubicBezTo>
                    <a:pt x="480" y="460"/>
                    <a:pt x="480" y="460"/>
                    <a:pt x="480" y="460"/>
                  </a:cubicBezTo>
                  <a:cubicBezTo>
                    <a:pt x="320" y="460"/>
                    <a:pt x="320" y="460"/>
                    <a:pt x="320" y="460"/>
                  </a:cubicBezTo>
                  <a:lnTo>
                    <a:pt x="320" y="413"/>
                  </a:lnTo>
                  <a:close/>
                  <a:moveTo>
                    <a:pt x="90" y="473"/>
                  </a:moveTo>
                  <a:cubicBezTo>
                    <a:pt x="710" y="473"/>
                    <a:pt x="710" y="473"/>
                    <a:pt x="710" y="473"/>
                  </a:cubicBezTo>
                  <a:cubicBezTo>
                    <a:pt x="800" y="560"/>
                    <a:pt x="800" y="560"/>
                    <a:pt x="800" y="560"/>
                  </a:cubicBezTo>
                  <a:cubicBezTo>
                    <a:pt x="0" y="560"/>
                    <a:pt x="0" y="560"/>
                    <a:pt x="0" y="560"/>
                  </a:cubicBezTo>
                  <a:lnTo>
                    <a:pt x="90" y="473"/>
                  </a:lnTo>
                  <a:close/>
                  <a:moveTo>
                    <a:pt x="80" y="27"/>
                  </a:moveTo>
                  <a:cubicBezTo>
                    <a:pt x="720" y="27"/>
                    <a:pt x="720" y="27"/>
                    <a:pt x="720" y="27"/>
                  </a:cubicBezTo>
                  <a:cubicBezTo>
                    <a:pt x="720" y="373"/>
                    <a:pt x="720" y="373"/>
                    <a:pt x="720" y="373"/>
                  </a:cubicBezTo>
                  <a:cubicBezTo>
                    <a:pt x="80" y="373"/>
                    <a:pt x="80" y="373"/>
                    <a:pt x="80" y="373"/>
                  </a:cubicBezTo>
                  <a:lnTo>
                    <a:pt x="80" y="27"/>
                  </a:lnTo>
                  <a:close/>
                  <a:moveTo>
                    <a:pt x="53" y="20"/>
                  </a:moveTo>
                  <a:cubicBezTo>
                    <a:pt x="53" y="9"/>
                    <a:pt x="62" y="0"/>
                    <a:pt x="73" y="0"/>
                  </a:cubicBezTo>
                  <a:cubicBezTo>
                    <a:pt x="727" y="0"/>
                    <a:pt x="727" y="0"/>
                    <a:pt x="727" y="0"/>
                  </a:cubicBezTo>
                  <a:cubicBezTo>
                    <a:pt x="738" y="0"/>
                    <a:pt x="747" y="9"/>
                    <a:pt x="747" y="20"/>
                  </a:cubicBezTo>
                  <a:cubicBezTo>
                    <a:pt x="747" y="380"/>
                    <a:pt x="747" y="380"/>
                    <a:pt x="747" y="380"/>
                  </a:cubicBezTo>
                  <a:cubicBezTo>
                    <a:pt x="747" y="391"/>
                    <a:pt x="738" y="400"/>
                    <a:pt x="727" y="400"/>
                  </a:cubicBezTo>
                  <a:cubicBezTo>
                    <a:pt x="73" y="400"/>
                    <a:pt x="73" y="400"/>
                    <a:pt x="73" y="400"/>
                  </a:cubicBezTo>
                  <a:cubicBezTo>
                    <a:pt x="62" y="400"/>
                    <a:pt x="53" y="391"/>
                    <a:pt x="53" y="380"/>
                  </a:cubicBezTo>
                  <a:lnTo>
                    <a:pt x="53" y="2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Textfeld 11"/>
            <p:cNvSpPr txBox="1">
              <a:spLocks noChangeArrowheads="1"/>
            </p:cNvSpPr>
            <p:nvPr/>
          </p:nvSpPr>
          <p:spPr bwMode="auto">
            <a:xfrm>
              <a:off x="6283406" y="3806247"/>
              <a:ext cx="1815600" cy="104731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2800" b="1" dirty="0" err="1" smtClean="0">
                  <a:solidFill>
                    <a:srgbClr val="55A0B9"/>
                  </a:solidFill>
                  <a:latin typeface="Siemens Slab" pitchFamily="2" charset="0"/>
                </a:rPr>
                <a:t>Micro-grid</a:t>
              </a:r>
              <a:endParaRPr lang="de-DE" altLang="en-US" sz="2800" b="1" dirty="0">
                <a:solidFill>
                  <a:srgbClr val="55A0B9"/>
                </a:solidFill>
                <a:latin typeface="Siemens Slab" pitchFamily="2" charset="0"/>
              </a:endParaRPr>
            </a:p>
          </p:txBody>
        </p:sp>
        <p:sp>
          <p:nvSpPr>
            <p:cNvPr id="5" name="Freeform 5"/>
            <p:cNvSpPr>
              <a:spLocks noEditPoints="1"/>
            </p:cNvSpPr>
            <p:nvPr/>
          </p:nvSpPr>
          <p:spPr bwMode="auto">
            <a:xfrm>
              <a:off x="4915128" y="4092772"/>
              <a:ext cx="1078931" cy="1129221"/>
            </a:xfrm>
            <a:custGeom>
              <a:avLst/>
              <a:gdLst>
                <a:gd name="T0" fmla="*/ 0 w 232"/>
                <a:gd name="T1" fmla="*/ 193 h 243"/>
                <a:gd name="T2" fmla="*/ 35 w 232"/>
                <a:gd name="T3" fmla="*/ 176 h 243"/>
                <a:gd name="T4" fmla="*/ 75 w 232"/>
                <a:gd name="T5" fmla="*/ 193 h 243"/>
                <a:gd name="T6" fmla="*/ 109 w 232"/>
                <a:gd name="T7" fmla="*/ 177 h 243"/>
                <a:gd name="T8" fmla="*/ 112 w 232"/>
                <a:gd name="T9" fmla="*/ 103 h 243"/>
                <a:gd name="T10" fmla="*/ 71 w 232"/>
                <a:gd name="T11" fmla="*/ 143 h 243"/>
                <a:gd name="T12" fmla="*/ 67 w 232"/>
                <a:gd name="T13" fmla="*/ 143 h 243"/>
                <a:gd name="T14" fmla="*/ 110 w 232"/>
                <a:gd name="T15" fmla="*/ 81 h 243"/>
                <a:gd name="T16" fmla="*/ 108 w 232"/>
                <a:gd name="T17" fmla="*/ 76 h 243"/>
                <a:gd name="T18" fmla="*/ 108 w 232"/>
                <a:gd name="T19" fmla="*/ 72 h 243"/>
                <a:gd name="T20" fmla="*/ 95 w 232"/>
                <a:gd name="T21" fmla="*/ 62 h 243"/>
                <a:gd name="T22" fmla="*/ 80 w 232"/>
                <a:gd name="T23" fmla="*/ 3 h 243"/>
                <a:gd name="T24" fmla="*/ 82 w 232"/>
                <a:gd name="T25" fmla="*/ 0 h 243"/>
                <a:gd name="T26" fmla="*/ 114 w 232"/>
                <a:gd name="T27" fmla="*/ 68 h 243"/>
                <a:gd name="T28" fmla="*/ 116 w 232"/>
                <a:gd name="T29" fmla="*/ 68 h 243"/>
                <a:gd name="T30" fmla="*/ 122 w 232"/>
                <a:gd name="T31" fmla="*/ 71 h 243"/>
                <a:gd name="T32" fmla="*/ 138 w 232"/>
                <a:gd name="T33" fmla="*/ 64 h 243"/>
                <a:gd name="T34" fmla="*/ 197 w 232"/>
                <a:gd name="T35" fmla="*/ 81 h 243"/>
                <a:gd name="T36" fmla="*/ 199 w 232"/>
                <a:gd name="T37" fmla="*/ 84 h 243"/>
                <a:gd name="T38" fmla="*/ 124 w 232"/>
                <a:gd name="T39" fmla="*/ 78 h 243"/>
                <a:gd name="T40" fmla="*/ 119 w 232"/>
                <a:gd name="T41" fmla="*/ 83 h 243"/>
                <a:gd name="T42" fmla="*/ 123 w 232"/>
                <a:gd name="T43" fmla="*/ 177 h 243"/>
                <a:gd name="T44" fmla="*/ 156 w 232"/>
                <a:gd name="T45" fmla="*/ 193 h 243"/>
                <a:gd name="T46" fmla="*/ 197 w 232"/>
                <a:gd name="T47" fmla="*/ 176 h 243"/>
                <a:gd name="T48" fmla="*/ 232 w 232"/>
                <a:gd name="T49" fmla="*/ 193 h 243"/>
                <a:gd name="T50" fmla="*/ 223 w 232"/>
                <a:gd name="T51" fmla="*/ 204 h 243"/>
                <a:gd name="T52" fmla="*/ 197 w 232"/>
                <a:gd name="T53" fmla="*/ 190 h 243"/>
                <a:gd name="T54" fmla="*/ 156 w 232"/>
                <a:gd name="T55" fmla="*/ 208 h 243"/>
                <a:gd name="T56" fmla="*/ 116 w 232"/>
                <a:gd name="T57" fmla="*/ 190 h 243"/>
                <a:gd name="T58" fmla="*/ 75 w 232"/>
                <a:gd name="T59" fmla="*/ 208 h 243"/>
                <a:gd name="T60" fmla="*/ 35 w 232"/>
                <a:gd name="T61" fmla="*/ 190 h 243"/>
                <a:gd name="T62" fmla="*/ 8 w 232"/>
                <a:gd name="T63" fmla="*/ 204 h 243"/>
                <a:gd name="T64" fmla="*/ 0 w 232"/>
                <a:gd name="T65" fmla="*/ 193 h 243"/>
                <a:gd name="T66" fmla="*/ 110 w 232"/>
                <a:gd name="T67" fmla="*/ 76 h 243"/>
                <a:gd name="T68" fmla="*/ 116 w 232"/>
                <a:gd name="T69" fmla="*/ 81 h 243"/>
                <a:gd name="T70" fmla="*/ 121 w 232"/>
                <a:gd name="T71" fmla="*/ 76 h 243"/>
                <a:gd name="T72" fmla="*/ 116 w 232"/>
                <a:gd name="T73" fmla="*/ 70 h 243"/>
                <a:gd name="T74" fmla="*/ 110 w 232"/>
                <a:gd name="T75" fmla="*/ 76 h 243"/>
                <a:gd name="T76" fmla="*/ 0 w 232"/>
                <a:gd name="T77" fmla="*/ 228 h 243"/>
                <a:gd name="T78" fmla="*/ 35 w 232"/>
                <a:gd name="T79" fmla="*/ 211 h 243"/>
                <a:gd name="T80" fmla="*/ 75 w 232"/>
                <a:gd name="T81" fmla="*/ 229 h 243"/>
                <a:gd name="T82" fmla="*/ 116 w 232"/>
                <a:gd name="T83" fmla="*/ 211 h 243"/>
                <a:gd name="T84" fmla="*/ 156 w 232"/>
                <a:gd name="T85" fmla="*/ 229 h 243"/>
                <a:gd name="T86" fmla="*/ 197 w 232"/>
                <a:gd name="T87" fmla="*/ 211 h 243"/>
                <a:gd name="T88" fmla="*/ 232 w 232"/>
                <a:gd name="T89" fmla="*/ 228 h 243"/>
                <a:gd name="T90" fmla="*/ 223 w 232"/>
                <a:gd name="T91" fmla="*/ 240 h 243"/>
                <a:gd name="T92" fmla="*/ 197 w 232"/>
                <a:gd name="T93" fmla="*/ 226 h 243"/>
                <a:gd name="T94" fmla="*/ 156 w 232"/>
                <a:gd name="T95" fmla="*/ 243 h 243"/>
                <a:gd name="T96" fmla="*/ 116 w 232"/>
                <a:gd name="T97" fmla="*/ 226 h 243"/>
                <a:gd name="T98" fmla="*/ 75 w 232"/>
                <a:gd name="T99" fmla="*/ 243 h 243"/>
                <a:gd name="T100" fmla="*/ 35 w 232"/>
                <a:gd name="T101" fmla="*/ 226 h 243"/>
                <a:gd name="T102" fmla="*/ 8 w 232"/>
                <a:gd name="T103" fmla="*/ 240 h 243"/>
                <a:gd name="T104" fmla="*/ 0 w 232"/>
                <a:gd name="T105" fmla="*/ 228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2" h="243">
                  <a:moveTo>
                    <a:pt x="0" y="193"/>
                  </a:moveTo>
                  <a:cubicBezTo>
                    <a:pt x="10" y="185"/>
                    <a:pt x="21" y="176"/>
                    <a:pt x="35" y="176"/>
                  </a:cubicBezTo>
                  <a:cubicBezTo>
                    <a:pt x="55" y="176"/>
                    <a:pt x="62" y="193"/>
                    <a:pt x="75" y="193"/>
                  </a:cubicBezTo>
                  <a:cubicBezTo>
                    <a:pt x="87" y="193"/>
                    <a:pt x="94" y="180"/>
                    <a:pt x="109" y="177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71" y="143"/>
                    <a:pt x="71" y="143"/>
                    <a:pt x="71" y="143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110" y="81"/>
                    <a:pt x="110" y="81"/>
                    <a:pt x="110" y="81"/>
                  </a:cubicBezTo>
                  <a:cubicBezTo>
                    <a:pt x="109" y="80"/>
                    <a:pt x="108" y="78"/>
                    <a:pt x="108" y="76"/>
                  </a:cubicBezTo>
                  <a:cubicBezTo>
                    <a:pt x="108" y="75"/>
                    <a:pt x="108" y="73"/>
                    <a:pt x="108" y="7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114" y="68"/>
                    <a:pt x="114" y="68"/>
                    <a:pt x="114" y="68"/>
                  </a:cubicBezTo>
                  <a:cubicBezTo>
                    <a:pt x="115" y="68"/>
                    <a:pt x="115" y="68"/>
                    <a:pt x="116" y="68"/>
                  </a:cubicBezTo>
                  <a:cubicBezTo>
                    <a:pt x="119" y="68"/>
                    <a:pt x="121" y="69"/>
                    <a:pt x="122" y="71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97" y="81"/>
                    <a:pt x="197" y="81"/>
                    <a:pt x="197" y="81"/>
                  </a:cubicBezTo>
                  <a:cubicBezTo>
                    <a:pt x="199" y="84"/>
                    <a:pt x="199" y="84"/>
                    <a:pt x="199" y="84"/>
                  </a:cubicBezTo>
                  <a:cubicBezTo>
                    <a:pt x="124" y="78"/>
                    <a:pt x="124" y="78"/>
                    <a:pt x="124" y="78"/>
                  </a:cubicBezTo>
                  <a:cubicBezTo>
                    <a:pt x="123" y="81"/>
                    <a:pt x="121" y="82"/>
                    <a:pt x="119" y="83"/>
                  </a:cubicBezTo>
                  <a:cubicBezTo>
                    <a:pt x="123" y="177"/>
                    <a:pt x="123" y="177"/>
                    <a:pt x="123" y="177"/>
                  </a:cubicBezTo>
                  <a:cubicBezTo>
                    <a:pt x="138" y="180"/>
                    <a:pt x="145" y="193"/>
                    <a:pt x="156" y="193"/>
                  </a:cubicBezTo>
                  <a:cubicBezTo>
                    <a:pt x="170" y="193"/>
                    <a:pt x="177" y="176"/>
                    <a:pt x="197" y="176"/>
                  </a:cubicBezTo>
                  <a:cubicBezTo>
                    <a:pt x="211" y="176"/>
                    <a:pt x="222" y="185"/>
                    <a:pt x="232" y="193"/>
                  </a:cubicBezTo>
                  <a:cubicBezTo>
                    <a:pt x="223" y="204"/>
                    <a:pt x="223" y="204"/>
                    <a:pt x="223" y="204"/>
                  </a:cubicBezTo>
                  <a:cubicBezTo>
                    <a:pt x="216" y="198"/>
                    <a:pt x="207" y="190"/>
                    <a:pt x="197" y="190"/>
                  </a:cubicBezTo>
                  <a:cubicBezTo>
                    <a:pt x="183" y="190"/>
                    <a:pt x="176" y="208"/>
                    <a:pt x="156" y="208"/>
                  </a:cubicBezTo>
                  <a:cubicBezTo>
                    <a:pt x="136" y="208"/>
                    <a:pt x="130" y="190"/>
                    <a:pt x="116" y="190"/>
                  </a:cubicBezTo>
                  <a:cubicBezTo>
                    <a:pt x="102" y="190"/>
                    <a:pt x="96" y="208"/>
                    <a:pt x="75" y="208"/>
                  </a:cubicBezTo>
                  <a:cubicBezTo>
                    <a:pt x="55" y="208"/>
                    <a:pt x="49" y="190"/>
                    <a:pt x="35" y="190"/>
                  </a:cubicBezTo>
                  <a:cubicBezTo>
                    <a:pt x="25" y="190"/>
                    <a:pt x="16" y="198"/>
                    <a:pt x="8" y="204"/>
                  </a:cubicBezTo>
                  <a:lnTo>
                    <a:pt x="0" y="193"/>
                  </a:lnTo>
                  <a:close/>
                  <a:moveTo>
                    <a:pt x="110" y="76"/>
                  </a:moveTo>
                  <a:cubicBezTo>
                    <a:pt x="110" y="79"/>
                    <a:pt x="113" y="81"/>
                    <a:pt x="116" y="81"/>
                  </a:cubicBezTo>
                  <a:cubicBezTo>
                    <a:pt x="119" y="81"/>
                    <a:pt x="121" y="79"/>
                    <a:pt x="121" y="76"/>
                  </a:cubicBezTo>
                  <a:cubicBezTo>
                    <a:pt x="121" y="73"/>
                    <a:pt x="119" y="70"/>
                    <a:pt x="116" y="70"/>
                  </a:cubicBezTo>
                  <a:cubicBezTo>
                    <a:pt x="113" y="70"/>
                    <a:pt x="110" y="73"/>
                    <a:pt x="110" y="76"/>
                  </a:cubicBezTo>
                  <a:close/>
                  <a:moveTo>
                    <a:pt x="0" y="228"/>
                  </a:moveTo>
                  <a:cubicBezTo>
                    <a:pt x="10" y="220"/>
                    <a:pt x="21" y="211"/>
                    <a:pt x="35" y="211"/>
                  </a:cubicBezTo>
                  <a:cubicBezTo>
                    <a:pt x="55" y="211"/>
                    <a:pt x="62" y="229"/>
                    <a:pt x="75" y="229"/>
                  </a:cubicBezTo>
                  <a:cubicBezTo>
                    <a:pt x="89" y="229"/>
                    <a:pt x="96" y="211"/>
                    <a:pt x="116" y="211"/>
                  </a:cubicBezTo>
                  <a:cubicBezTo>
                    <a:pt x="136" y="211"/>
                    <a:pt x="143" y="229"/>
                    <a:pt x="156" y="229"/>
                  </a:cubicBezTo>
                  <a:cubicBezTo>
                    <a:pt x="170" y="229"/>
                    <a:pt x="177" y="211"/>
                    <a:pt x="197" y="211"/>
                  </a:cubicBezTo>
                  <a:cubicBezTo>
                    <a:pt x="211" y="211"/>
                    <a:pt x="222" y="220"/>
                    <a:pt x="232" y="228"/>
                  </a:cubicBezTo>
                  <a:cubicBezTo>
                    <a:pt x="223" y="240"/>
                    <a:pt x="223" y="240"/>
                    <a:pt x="223" y="240"/>
                  </a:cubicBezTo>
                  <a:cubicBezTo>
                    <a:pt x="216" y="234"/>
                    <a:pt x="207" y="226"/>
                    <a:pt x="197" y="226"/>
                  </a:cubicBezTo>
                  <a:cubicBezTo>
                    <a:pt x="183" y="226"/>
                    <a:pt x="176" y="243"/>
                    <a:pt x="156" y="243"/>
                  </a:cubicBezTo>
                  <a:cubicBezTo>
                    <a:pt x="136" y="243"/>
                    <a:pt x="130" y="226"/>
                    <a:pt x="116" y="226"/>
                  </a:cubicBezTo>
                  <a:cubicBezTo>
                    <a:pt x="102" y="226"/>
                    <a:pt x="96" y="243"/>
                    <a:pt x="75" y="243"/>
                  </a:cubicBezTo>
                  <a:cubicBezTo>
                    <a:pt x="55" y="243"/>
                    <a:pt x="49" y="226"/>
                    <a:pt x="35" y="226"/>
                  </a:cubicBezTo>
                  <a:cubicBezTo>
                    <a:pt x="25" y="226"/>
                    <a:pt x="16" y="234"/>
                    <a:pt x="8" y="240"/>
                  </a:cubicBezTo>
                  <a:lnTo>
                    <a:pt x="0" y="228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3"/>
            <p:cNvSpPr>
              <a:spLocks noEditPoints="1"/>
            </p:cNvSpPr>
            <p:nvPr/>
          </p:nvSpPr>
          <p:spPr bwMode="auto">
            <a:xfrm>
              <a:off x="8968231" y="3639805"/>
              <a:ext cx="1253964" cy="365739"/>
            </a:xfrm>
            <a:custGeom>
              <a:avLst/>
              <a:gdLst>
                <a:gd name="T0" fmla="*/ 57 w 1920"/>
                <a:gd name="T1" fmla="*/ 86 h 560"/>
                <a:gd name="T2" fmla="*/ 57 w 1920"/>
                <a:gd name="T3" fmla="*/ 560 h 560"/>
                <a:gd name="T4" fmla="*/ 0 w 1920"/>
                <a:gd name="T5" fmla="*/ 560 h 560"/>
                <a:gd name="T6" fmla="*/ 0 w 1920"/>
                <a:gd name="T7" fmla="*/ 0 h 560"/>
                <a:gd name="T8" fmla="*/ 462 w 1920"/>
                <a:gd name="T9" fmla="*/ 0 h 560"/>
                <a:gd name="T10" fmla="*/ 654 w 1920"/>
                <a:gd name="T11" fmla="*/ 258 h 560"/>
                <a:gd name="T12" fmla="*/ 185 w 1920"/>
                <a:gd name="T13" fmla="*/ 258 h 560"/>
                <a:gd name="T14" fmla="*/ 57 w 1920"/>
                <a:gd name="T15" fmla="*/ 86 h 560"/>
                <a:gd name="T16" fmla="*/ 690 w 1920"/>
                <a:gd name="T17" fmla="*/ 302 h 560"/>
                <a:gd name="T18" fmla="*/ 875 w 1920"/>
                <a:gd name="T19" fmla="*/ 560 h 560"/>
                <a:gd name="T20" fmla="*/ 412 w 1920"/>
                <a:gd name="T21" fmla="*/ 560 h 560"/>
                <a:gd name="T22" fmla="*/ 220 w 1920"/>
                <a:gd name="T23" fmla="*/ 302 h 560"/>
                <a:gd name="T24" fmla="*/ 690 w 1920"/>
                <a:gd name="T25" fmla="*/ 302 h 560"/>
                <a:gd name="T26" fmla="*/ 1209 w 1920"/>
                <a:gd name="T27" fmla="*/ 302 h 560"/>
                <a:gd name="T28" fmla="*/ 1401 w 1920"/>
                <a:gd name="T29" fmla="*/ 560 h 560"/>
                <a:gd name="T30" fmla="*/ 939 w 1920"/>
                <a:gd name="T31" fmla="*/ 560 h 560"/>
                <a:gd name="T32" fmla="*/ 747 w 1920"/>
                <a:gd name="T33" fmla="*/ 302 h 560"/>
                <a:gd name="T34" fmla="*/ 1209 w 1920"/>
                <a:gd name="T35" fmla="*/ 302 h 560"/>
                <a:gd name="T36" fmla="*/ 519 w 1920"/>
                <a:gd name="T37" fmla="*/ 0 h 560"/>
                <a:gd name="T38" fmla="*/ 981 w 1920"/>
                <a:gd name="T39" fmla="*/ 0 h 560"/>
                <a:gd name="T40" fmla="*/ 1173 w 1920"/>
                <a:gd name="T41" fmla="*/ 258 h 560"/>
                <a:gd name="T42" fmla="*/ 711 w 1920"/>
                <a:gd name="T43" fmla="*/ 258 h 560"/>
                <a:gd name="T44" fmla="*/ 519 w 1920"/>
                <a:gd name="T45" fmla="*/ 0 h 560"/>
                <a:gd name="T46" fmla="*/ 1728 w 1920"/>
                <a:gd name="T47" fmla="*/ 302 h 560"/>
                <a:gd name="T48" fmla="*/ 1920 w 1920"/>
                <a:gd name="T49" fmla="*/ 560 h 560"/>
                <a:gd name="T50" fmla="*/ 1458 w 1920"/>
                <a:gd name="T51" fmla="*/ 560 h 560"/>
                <a:gd name="T52" fmla="*/ 1266 w 1920"/>
                <a:gd name="T53" fmla="*/ 302 h 560"/>
                <a:gd name="T54" fmla="*/ 1728 w 1920"/>
                <a:gd name="T55" fmla="*/ 302 h 560"/>
                <a:gd name="T56" fmla="*/ 1038 w 1920"/>
                <a:gd name="T57" fmla="*/ 0 h 560"/>
                <a:gd name="T58" fmla="*/ 1508 w 1920"/>
                <a:gd name="T59" fmla="*/ 0 h 560"/>
                <a:gd name="T60" fmla="*/ 1692 w 1920"/>
                <a:gd name="T61" fmla="*/ 258 h 560"/>
                <a:gd name="T62" fmla="*/ 1230 w 1920"/>
                <a:gd name="T63" fmla="*/ 258 h 560"/>
                <a:gd name="T64" fmla="*/ 1038 w 1920"/>
                <a:gd name="T65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20" h="560">
                  <a:moveTo>
                    <a:pt x="57" y="86"/>
                  </a:moveTo>
                  <a:lnTo>
                    <a:pt x="57" y="560"/>
                  </a:lnTo>
                  <a:lnTo>
                    <a:pt x="0" y="560"/>
                  </a:lnTo>
                  <a:lnTo>
                    <a:pt x="0" y="0"/>
                  </a:lnTo>
                  <a:lnTo>
                    <a:pt x="462" y="0"/>
                  </a:lnTo>
                  <a:lnTo>
                    <a:pt x="654" y="258"/>
                  </a:lnTo>
                  <a:lnTo>
                    <a:pt x="185" y="258"/>
                  </a:lnTo>
                  <a:lnTo>
                    <a:pt x="57" y="86"/>
                  </a:lnTo>
                  <a:close/>
                  <a:moveTo>
                    <a:pt x="690" y="302"/>
                  </a:moveTo>
                  <a:lnTo>
                    <a:pt x="875" y="560"/>
                  </a:lnTo>
                  <a:lnTo>
                    <a:pt x="412" y="560"/>
                  </a:lnTo>
                  <a:lnTo>
                    <a:pt x="220" y="302"/>
                  </a:lnTo>
                  <a:lnTo>
                    <a:pt x="690" y="302"/>
                  </a:lnTo>
                  <a:close/>
                  <a:moveTo>
                    <a:pt x="1209" y="302"/>
                  </a:moveTo>
                  <a:lnTo>
                    <a:pt x="1401" y="560"/>
                  </a:lnTo>
                  <a:lnTo>
                    <a:pt x="939" y="560"/>
                  </a:lnTo>
                  <a:lnTo>
                    <a:pt x="747" y="302"/>
                  </a:lnTo>
                  <a:lnTo>
                    <a:pt x="1209" y="302"/>
                  </a:lnTo>
                  <a:close/>
                  <a:moveTo>
                    <a:pt x="519" y="0"/>
                  </a:moveTo>
                  <a:lnTo>
                    <a:pt x="981" y="0"/>
                  </a:lnTo>
                  <a:lnTo>
                    <a:pt x="1173" y="258"/>
                  </a:lnTo>
                  <a:lnTo>
                    <a:pt x="711" y="258"/>
                  </a:lnTo>
                  <a:lnTo>
                    <a:pt x="519" y="0"/>
                  </a:lnTo>
                  <a:close/>
                  <a:moveTo>
                    <a:pt x="1728" y="302"/>
                  </a:moveTo>
                  <a:lnTo>
                    <a:pt x="1920" y="560"/>
                  </a:lnTo>
                  <a:lnTo>
                    <a:pt x="1458" y="560"/>
                  </a:lnTo>
                  <a:lnTo>
                    <a:pt x="1266" y="302"/>
                  </a:lnTo>
                  <a:lnTo>
                    <a:pt x="1728" y="302"/>
                  </a:lnTo>
                  <a:close/>
                  <a:moveTo>
                    <a:pt x="1038" y="0"/>
                  </a:moveTo>
                  <a:lnTo>
                    <a:pt x="1508" y="0"/>
                  </a:lnTo>
                  <a:lnTo>
                    <a:pt x="1692" y="258"/>
                  </a:lnTo>
                  <a:lnTo>
                    <a:pt x="1230" y="258"/>
                  </a:lnTo>
                  <a:lnTo>
                    <a:pt x="1038" y="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7"/>
            <p:cNvSpPr>
              <a:spLocks noEditPoints="1"/>
            </p:cNvSpPr>
            <p:nvPr/>
          </p:nvSpPr>
          <p:spPr bwMode="auto">
            <a:xfrm>
              <a:off x="6113980" y="1461334"/>
              <a:ext cx="643310" cy="809852"/>
            </a:xfrm>
            <a:custGeom>
              <a:avLst/>
              <a:gdLst>
                <a:gd name="T0" fmla="*/ 314 w 985"/>
                <a:gd name="T1" fmla="*/ 392 h 1240"/>
                <a:gd name="T2" fmla="*/ 450 w 985"/>
                <a:gd name="T3" fmla="*/ 606 h 1240"/>
                <a:gd name="T4" fmla="*/ 528 w 985"/>
                <a:gd name="T5" fmla="*/ 606 h 1240"/>
                <a:gd name="T6" fmla="*/ 664 w 985"/>
                <a:gd name="T7" fmla="*/ 392 h 1240"/>
                <a:gd name="T8" fmla="*/ 528 w 985"/>
                <a:gd name="T9" fmla="*/ 606 h 1240"/>
                <a:gd name="T10" fmla="*/ 107 w 985"/>
                <a:gd name="T11" fmla="*/ 328 h 1240"/>
                <a:gd name="T12" fmla="*/ 235 w 985"/>
                <a:gd name="T13" fmla="*/ 114 h 1240"/>
                <a:gd name="T14" fmla="*/ 314 w 985"/>
                <a:gd name="T15" fmla="*/ 328 h 1240"/>
                <a:gd name="T16" fmla="*/ 450 w 985"/>
                <a:gd name="T17" fmla="*/ 114 h 1240"/>
                <a:gd name="T18" fmla="*/ 314 w 985"/>
                <a:gd name="T19" fmla="*/ 328 h 1240"/>
                <a:gd name="T20" fmla="*/ 528 w 985"/>
                <a:gd name="T21" fmla="*/ 114 h 1240"/>
                <a:gd name="T22" fmla="*/ 664 w 985"/>
                <a:gd name="T23" fmla="*/ 328 h 1240"/>
                <a:gd name="T24" fmla="*/ 878 w 985"/>
                <a:gd name="T25" fmla="*/ 328 h 1240"/>
                <a:gd name="T26" fmla="*/ 742 w 985"/>
                <a:gd name="T27" fmla="*/ 114 h 1240"/>
                <a:gd name="T28" fmla="*/ 878 w 985"/>
                <a:gd name="T29" fmla="*/ 328 h 1240"/>
                <a:gd name="T30" fmla="*/ 742 w 985"/>
                <a:gd name="T31" fmla="*/ 606 h 1240"/>
                <a:gd name="T32" fmla="*/ 878 w 985"/>
                <a:gd name="T33" fmla="*/ 392 h 1240"/>
                <a:gd name="T34" fmla="*/ 878 w 985"/>
                <a:gd name="T35" fmla="*/ 891 h 1240"/>
                <a:gd name="T36" fmla="*/ 742 w 985"/>
                <a:gd name="T37" fmla="*/ 670 h 1240"/>
                <a:gd name="T38" fmla="*/ 878 w 985"/>
                <a:gd name="T39" fmla="*/ 891 h 1240"/>
                <a:gd name="T40" fmla="*/ 271 w 985"/>
                <a:gd name="T41" fmla="*/ 1140 h 1240"/>
                <a:gd name="T42" fmla="*/ 707 w 985"/>
                <a:gd name="T43" fmla="*/ 1097 h 1240"/>
                <a:gd name="T44" fmla="*/ 235 w 985"/>
                <a:gd name="T45" fmla="*/ 606 h 1240"/>
                <a:gd name="T46" fmla="*/ 107 w 985"/>
                <a:gd name="T47" fmla="*/ 392 h 1240"/>
                <a:gd name="T48" fmla="*/ 235 w 985"/>
                <a:gd name="T49" fmla="*/ 606 h 1240"/>
                <a:gd name="T50" fmla="*/ 107 w 985"/>
                <a:gd name="T51" fmla="*/ 891 h 1240"/>
                <a:gd name="T52" fmla="*/ 235 w 985"/>
                <a:gd name="T53" fmla="*/ 670 h 1240"/>
                <a:gd name="T54" fmla="*/ 314 w 985"/>
                <a:gd name="T55" fmla="*/ 670 h 1240"/>
                <a:gd name="T56" fmla="*/ 664 w 985"/>
                <a:gd name="T57" fmla="*/ 1019 h 1240"/>
                <a:gd name="T58" fmla="*/ 314 w 985"/>
                <a:gd name="T59" fmla="*/ 670 h 1240"/>
                <a:gd name="T60" fmla="*/ 0 w 985"/>
                <a:gd name="T61" fmla="*/ 1240 h 1240"/>
                <a:gd name="T62" fmla="*/ 985 w 985"/>
                <a:gd name="T63" fmla="*/ 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85" h="1240">
                  <a:moveTo>
                    <a:pt x="314" y="606"/>
                  </a:moveTo>
                  <a:lnTo>
                    <a:pt x="314" y="392"/>
                  </a:lnTo>
                  <a:lnTo>
                    <a:pt x="450" y="392"/>
                  </a:lnTo>
                  <a:lnTo>
                    <a:pt x="450" y="606"/>
                  </a:lnTo>
                  <a:lnTo>
                    <a:pt x="314" y="606"/>
                  </a:lnTo>
                  <a:close/>
                  <a:moveTo>
                    <a:pt x="528" y="606"/>
                  </a:moveTo>
                  <a:lnTo>
                    <a:pt x="528" y="392"/>
                  </a:lnTo>
                  <a:lnTo>
                    <a:pt x="664" y="392"/>
                  </a:lnTo>
                  <a:lnTo>
                    <a:pt x="664" y="606"/>
                  </a:lnTo>
                  <a:lnTo>
                    <a:pt x="528" y="606"/>
                  </a:lnTo>
                  <a:close/>
                  <a:moveTo>
                    <a:pt x="235" y="328"/>
                  </a:moveTo>
                  <a:lnTo>
                    <a:pt x="107" y="328"/>
                  </a:lnTo>
                  <a:lnTo>
                    <a:pt x="107" y="114"/>
                  </a:lnTo>
                  <a:lnTo>
                    <a:pt x="235" y="114"/>
                  </a:lnTo>
                  <a:lnTo>
                    <a:pt x="235" y="328"/>
                  </a:lnTo>
                  <a:close/>
                  <a:moveTo>
                    <a:pt x="314" y="328"/>
                  </a:moveTo>
                  <a:lnTo>
                    <a:pt x="314" y="114"/>
                  </a:lnTo>
                  <a:lnTo>
                    <a:pt x="450" y="114"/>
                  </a:lnTo>
                  <a:lnTo>
                    <a:pt x="450" y="328"/>
                  </a:lnTo>
                  <a:lnTo>
                    <a:pt x="314" y="328"/>
                  </a:lnTo>
                  <a:close/>
                  <a:moveTo>
                    <a:pt x="528" y="328"/>
                  </a:moveTo>
                  <a:lnTo>
                    <a:pt x="528" y="114"/>
                  </a:lnTo>
                  <a:lnTo>
                    <a:pt x="664" y="114"/>
                  </a:lnTo>
                  <a:lnTo>
                    <a:pt x="664" y="328"/>
                  </a:lnTo>
                  <a:lnTo>
                    <a:pt x="528" y="328"/>
                  </a:lnTo>
                  <a:close/>
                  <a:moveTo>
                    <a:pt x="878" y="328"/>
                  </a:moveTo>
                  <a:lnTo>
                    <a:pt x="742" y="328"/>
                  </a:lnTo>
                  <a:lnTo>
                    <a:pt x="742" y="114"/>
                  </a:lnTo>
                  <a:lnTo>
                    <a:pt x="878" y="114"/>
                  </a:lnTo>
                  <a:lnTo>
                    <a:pt x="878" y="328"/>
                  </a:lnTo>
                  <a:close/>
                  <a:moveTo>
                    <a:pt x="878" y="606"/>
                  </a:moveTo>
                  <a:lnTo>
                    <a:pt x="742" y="606"/>
                  </a:lnTo>
                  <a:lnTo>
                    <a:pt x="742" y="392"/>
                  </a:lnTo>
                  <a:lnTo>
                    <a:pt x="878" y="392"/>
                  </a:lnTo>
                  <a:lnTo>
                    <a:pt x="878" y="606"/>
                  </a:lnTo>
                  <a:close/>
                  <a:moveTo>
                    <a:pt x="878" y="891"/>
                  </a:moveTo>
                  <a:lnTo>
                    <a:pt x="742" y="891"/>
                  </a:lnTo>
                  <a:lnTo>
                    <a:pt x="742" y="670"/>
                  </a:lnTo>
                  <a:lnTo>
                    <a:pt x="878" y="670"/>
                  </a:lnTo>
                  <a:lnTo>
                    <a:pt x="878" y="891"/>
                  </a:lnTo>
                  <a:close/>
                  <a:moveTo>
                    <a:pt x="707" y="1140"/>
                  </a:moveTo>
                  <a:lnTo>
                    <a:pt x="271" y="1140"/>
                  </a:lnTo>
                  <a:lnTo>
                    <a:pt x="271" y="1097"/>
                  </a:lnTo>
                  <a:lnTo>
                    <a:pt x="707" y="1097"/>
                  </a:lnTo>
                  <a:lnTo>
                    <a:pt x="707" y="1140"/>
                  </a:lnTo>
                  <a:close/>
                  <a:moveTo>
                    <a:pt x="235" y="606"/>
                  </a:moveTo>
                  <a:lnTo>
                    <a:pt x="107" y="606"/>
                  </a:lnTo>
                  <a:lnTo>
                    <a:pt x="107" y="392"/>
                  </a:lnTo>
                  <a:lnTo>
                    <a:pt x="235" y="392"/>
                  </a:lnTo>
                  <a:lnTo>
                    <a:pt x="235" y="606"/>
                  </a:lnTo>
                  <a:close/>
                  <a:moveTo>
                    <a:pt x="235" y="891"/>
                  </a:moveTo>
                  <a:lnTo>
                    <a:pt x="107" y="891"/>
                  </a:lnTo>
                  <a:lnTo>
                    <a:pt x="107" y="670"/>
                  </a:lnTo>
                  <a:lnTo>
                    <a:pt x="235" y="670"/>
                  </a:lnTo>
                  <a:lnTo>
                    <a:pt x="235" y="891"/>
                  </a:lnTo>
                  <a:close/>
                  <a:moveTo>
                    <a:pt x="314" y="670"/>
                  </a:moveTo>
                  <a:lnTo>
                    <a:pt x="664" y="670"/>
                  </a:lnTo>
                  <a:lnTo>
                    <a:pt x="664" y="1019"/>
                  </a:lnTo>
                  <a:lnTo>
                    <a:pt x="314" y="1019"/>
                  </a:lnTo>
                  <a:lnTo>
                    <a:pt x="314" y="670"/>
                  </a:lnTo>
                  <a:close/>
                  <a:moveTo>
                    <a:pt x="0" y="0"/>
                  </a:moveTo>
                  <a:lnTo>
                    <a:pt x="0" y="1240"/>
                  </a:lnTo>
                  <a:lnTo>
                    <a:pt x="985" y="1240"/>
                  </a:lnTo>
                  <a:lnTo>
                    <a:pt x="9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5"/>
            <p:cNvSpPr>
              <a:spLocks noEditPoints="1"/>
            </p:cNvSpPr>
            <p:nvPr/>
          </p:nvSpPr>
          <p:spPr bwMode="auto">
            <a:xfrm>
              <a:off x="7266035" y="5517034"/>
              <a:ext cx="1244821" cy="430396"/>
            </a:xfrm>
            <a:custGeom>
              <a:avLst/>
              <a:gdLst>
                <a:gd name="T0" fmla="*/ 28 w 268"/>
                <a:gd name="T1" fmla="*/ 25 h 92"/>
                <a:gd name="T2" fmla="*/ 21 w 268"/>
                <a:gd name="T3" fmla="*/ 25 h 92"/>
                <a:gd name="T4" fmla="*/ 21 w 268"/>
                <a:gd name="T5" fmla="*/ 92 h 92"/>
                <a:gd name="T6" fmla="*/ 0 w 268"/>
                <a:gd name="T7" fmla="*/ 92 h 92"/>
                <a:gd name="T8" fmla="*/ 0 w 268"/>
                <a:gd name="T9" fmla="*/ 0 h 92"/>
                <a:gd name="T10" fmla="*/ 31 w 268"/>
                <a:gd name="T11" fmla="*/ 0 h 92"/>
                <a:gd name="T12" fmla="*/ 54 w 268"/>
                <a:gd name="T13" fmla="*/ 51 h 92"/>
                <a:gd name="T14" fmla="*/ 75 w 268"/>
                <a:gd name="T15" fmla="*/ 41 h 92"/>
                <a:gd name="T16" fmla="*/ 76 w 268"/>
                <a:gd name="T17" fmla="*/ 35 h 92"/>
                <a:gd name="T18" fmla="*/ 101 w 268"/>
                <a:gd name="T19" fmla="*/ 12 h 92"/>
                <a:gd name="T20" fmla="*/ 167 w 268"/>
                <a:gd name="T21" fmla="*/ 8 h 92"/>
                <a:gd name="T22" fmla="*/ 189 w 268"/>
                <a:gd name="T23" fmla="*/ 12 h 92"/>
                <a:gd name="T24" fmla="*/ 232 w 268"/>
                <a:gd name="T25" fmla="*/ 35 h 92"/>
                <a:gd name="T26" fmla="*/ 264 w 268"/>
                <a:gd name="T27" fmla="*/ 48 h 92"/>
                <a:gd name="T28" fmla="*/ 263 w 268"/>
                <a:gd name="T29" fmla="*/ 57 h 92"/>
                <a:gd name="T30" fmla="*/ 268 w 268"/>
                <a:gd name="T31" fmla="*/ 60 h 92"/>
                <a:gd name="T32" fmla="*/ 268 w 268"/>
                <a:gd name="T33" fmla="*/ 73 h 92"/>
                <a:gd name="T34" fmla="*/ 256 w 268"/>
                <a:gd name="T35" fmla="*/ 82 h 92"/>
                <a:gd name="T36" fmla="*/ 255 w 268"/>
                <a:gd name="T37" fmla="*/ 81 h 92"/>
                <a:gd name="T38" fmla="*/ 256 w 268"/>
                <a:gd name="T39" fmla="*/ 75 h 92"/>
                <a:gd name="T40" fmla="*/ 233 w 268"/>
                <a:gd name="T41" fmla="*/ 51 h 92"/>
                <a:gd name="T42" fmla="*/ 210 w 268"/>
                <a:gd name="T43" fmla="*/ 75 h 92"/>
                <a:gd name="T44" fmla="*/ 211 w 268"/>
                <a:gd name="T45" fmla="*/ 84 h 92"/>
                <a:gd name="T46" fmla="*/ 123 w 268"/>
                <a:gd name="T47" fmla="*/ 84 h 92"/>
                <a:gd name="T48" fmla="*/ 125 w 268"/>
                <a:gd name="T49" fmla="*/ 75 h 92"/>
                <a:gd name="T50" fmla="*/ 101 w 268"/>
                <a:gd name="T51" fmla="*/ 51 h 92"/>
                <a:gd name="T52" fmla="*/ 78 w 268"/>
                <a:gd name="T53" fmla="*/ 75 h 92"/>
                <a:gd name="T54" fmla="*/ 78 w 268"/>
                <a:gd name="T55" fmla="*/ 76 h 92"/>
                <a:gd name="T56" fmla="*/ 72 w 268"/>
                <a:gd name="T57" fmla="*/ 69 h 92"/>
                <a:gd name="T58" fmla="*/ 75 w 268"/>
                <a:gd name="T59" fmla="*/ 49 h 92"/>
                <a:gd name="T60" fmla="*/ 54 w 268"/>
                <a:gd name="T61" fmla="*/ 57 h 92"/>
                <a:gd name="T62" fmla="*/ 28 w 268"/>
                <a:gd name="T63" fmla="*/ 25 h 92"/>
                <a:gd name="T64" fmla="*/ 156 w 268"/>
                <a:gd name="T65" fmla="*/ 38 h 92"/>
                <a:gd name="T66" fmla="*/ 112 w 268"/>
                <a:gd name="T67" fmla="*/ 38 h 92"/>
                <a:gd name="T68" fmla="*/ 129 w 268"/>
                <a:gd name="T69" fmla="*/ 18 h 92"/>
                <a:gd name="T70" fmla="*/ 156 w 268"/>
                <a:gd name="T71" fmla="*/ 15 h 92"/>
                <a:gd name="T72" fmla="*/ 156 w 268"/>
                <a:gd name="T73" fmla="*/ 38 h 92"/>
                <a:gd name="T74" fmla="*/ 213 w 268"/>
                <a:gd name="T75" fmla="*/ 38 h 92"/>
                <a:gd name="T76" fmla="*/ 167 w 268"/>
                <a:gd name="T77" fmla="*/ 38 h 92"/>
                <a:gd name="T78" fmla="*/ 167 w 268"/>
                <a:gd name="T79" fmla="*/ 16 h 92"/>
                <a:gd name="T80" fmla="*/ 191 w 268"/>
                <a:gd name="T81" fmla="*/ 22 h 92"/>
                <a:gd name="T82" fmla="*/ 213 w 268"/>
                <a:gd name="T83" fmla="*/ 34 h 92"/>
                <a:gd name="T84" fmla="*/ 213 w 268"/>
                <a:gd name="T85" fmla="*/ 38 h 92"/>
                <a:gd name="T86" fmla="*/ 233 w 268"/>
                <a:gd name="T87" fmla="*/ 57 h 92"/>
                <a:gd name="T88" fmla="*/ 215 w 268"/>
                <a:gd name="T89" fmla="*/ 75 h 92"/>
                <a:gd name="T90" fmla="*/ 233 w 268"/>
                <a:gd name="T91" fmla="*/ 92 h 92"/>
                <a:gd name="T92" fmla="*/ 251 w 268"/>
                <a:gd name="T93" fmla="*/ 75 h 92"/>
                <a:gd name="T94" fmla="*/ 233 w 268"/>
                <a:gd name="T95" fmla="*/ 57 h 92"/>
                <a:gd name="T96" fmla="*/ 101 w 268"/>
                <a:gd name="T97" fmla="*/ 57 h 92"/>
                <a:gd name="T98" fmla="*/ 84 w 268"/>
                <a:gd name="T99" fmla="*/ 75 h 92"/>
                <a:gd name="T100" fmla="*/ 101 w 268"/>
                <a:gd name="T101" fmla="*/ 92 h 92"/>
                <a:gd name="T102" fmla="*/ 119 w 268"/>
                <a:gd name="T103" fmla="*/ 75 h 92"/>
                <a:gd name="T104" fmla="*/ 101 w 268"/>
                <a:gd name="T105" fmla="*/ 5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8" h="92">
                  <a:moveTo>
                    <a:pt x="28" y="25"/>
                  </a:moveTo>
                  <a:cubicBezTo>
                    <a:pt x="21" y="25"/>
                    <a:pt x="21" y="25"/>
                    <a:pt x="21" y="25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7"/>
                    <a:pt x="41" y="51"/>
                    <a:pt x="54" y="51"/>
                  </a:cubicBezTo>
                  <a:cubicBezTo>
                    <a:pt x="63" y="51"/>
                    <a:pt x="71" y="46"/>
                    <a:pt x="75" y="41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1" y="12"/>
                    <a:pt x="132" y="7"/>
                    <a:pt x="167" y="8"/>
                  </a:cubicBezTo>
                  <a:cubicBezTo>
                    <a:pt x="176" y="8"/>
                    <a:pt x="183" y="10"/>
                    <a:pt x="189" y="12"/>
                  </a:cubicBezTo>
                  <a:cubicBezTo>
                    <a:pt x="200" y="16"/>
                    <a:pt x="227" y="32"/>
                    <a:pt x="232" y="35"/>
                  </a:cubicBezTo>
                  <a:cubicBezTo>
                    <a:pt x="237" y="38"/>
                    <a:pt x="264" y="48"/>
                    <a:pt x="264" y="48"/>
                  </a:cubicBezTo>
                  <a:cubicBezTo>
                    <a:pt x="263" y="57"/>
                    <a:pt x="263" y="57"/>
                    <a:pt x="263" y="57"/>
                  </a:cubicBezTo>
                  <a:cubicBezTo>
                    <a:pt x="263" y="57"/>
                    <a:pt x="268" y="60"/>
                    <a:pt x="268" y="60"/>
                  </a:cubicBezTo>
                  <a:cubicBezTo>
                    <a:pt x="268" y="61"/>
                    <a:pt x="268" y="72"/>
                    <a:pt x="268" y="73"/>
                  </a:cubicBezTo>
                  <a:cubicBezTo>
                    <a:pt x="268" y="74"/>
                    <a:pt x="258" y="81"/>
                    <a:pt x="256" y="82"/>
                  </a:cubicBezTo>
                  <a:cubicBezTo>
                    <a:pt x="256" y="82"/>
                    <a:pt x="255" y="82"/>
                    <a:pt x="255" y="81"/>
                  </a:cubicBezTo>
                  <a:cubicBezTo>
                    <a:pt x="256" y="79"/>
                    <a:pt x="256" y="77"/>
                    <a:pt x="256" y="75"/>
                  </a:cubicBezTo>
                  <a:cubicBezTo>
                    <a:pt x="256" y="62"/>
                    <a:pt x="246" y="51"/>
                    <a:pt x="233" y="51"/>
                  </a:cubicBezTo>
                  <a:cubicBezTo>
                    <a:pt x="220" y="51"/>
                    <a:pt x="210" y="62"/>
                    <a:pt x="210" y="75"/>
                  </a:cubicBezTo>
                  <a:cubicBezTo>
                    <a:pt x="210" y="78"/>
                    <a:pt x="210" y="81"/>
                    <a:pt x="211" y="84"/>
                  </a:cubicBezTo>
                  <a:cubicBezTo>
                    <a:pt x="123" y="84"/>
                    <a:pt x="123" y="84"/>
                    <a:pt x="123" y="84"/>
                  </a:cubicBezTo>
                  <a:cubicBezTo>
                    <a:pt x="124" y="81"/>
                    <a:pt x="125" y="78"/>
                    <a:pt x="125" y="75"/>
                  </a:cubicBezTo>
                  <a:cubicBezTo>
                    <a:pt x="125" y="62"/>
                    <a:pt x="114" y="51"/>
                    <a:pt x="101" y="51"/>
                  </a:cubicBezTo>
                  <a:cubicBezTo>
                    <a:pt x="88" y="51"/>
                    <a:pt x="78" y="62"/>
                    <a:pt x="78" y="75"/>
                  </a:cubicBezTo>
                  <a:cubicBezTo>
                    <a:pt x="78" y="76"/>
                    <a:pt x="78" y="76"/>
                    <a:pt x="78" y="76"/>
                  </a:cubicBezTo>
                  <a:cubicBezTo>
                    <a:pt x="76" y="74"/>
                    <a:pt x="72" y="69"/>
                    <a:pt x="72" y="6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69" y="53"/>
                    <a:pt x="62" y="57"/>
                    <a:pt x="54" y="57"/>
                  </a:cubicBezTo>
                  <a:cubicBezTo>
                    <a:pt x="40" y="57"/>
                    <a:pt x="31" y="46"/>
                    <a:pt x="28" y="25"/>
                  </a:cubicBezTo>
                  <a:close/>
                  <a:moveTo>
                    <a:pt x="156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9" y="21"/>
                    <a:pt x="129" y="18"/>
                  </a:cubicBezTo>
                  <a:cubicBezTo>
                    <a:pt x="139" y="15"/>
                    <a:pt x="156" y="15"/>
                    <a:pt x="156" y="15"/>
                  </a:cubicBezTo>
                  <a:lnTo>
                    <a:pt x="156" y="38"/>
                  </a:lnTo>
                  <a:close/>
                  <a:moveTo>
                    <a:pt x="213" y="38"/>
                  </a:moveTo>
                  <a:cubicBezTo>
                    <a:pt x="167" y="38"/>
                    <a:pt x="167" y="38"/>
                    <a:pt x="167" y="38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67" y="16"/>
                    <a:pt x="178" y="16"/>
                    <a:pt x="191" y="22"/>
                  </a:cubicBezTo>
                  <a:cubicBezTo>
                    <a:pt x="198" y="25"/>
                    <a:pt x="213" y="34"/>
                    <a:pt x="213" y="34"/>
                  </a:cubicBezTo>
                  <a:lnTo>
                    <a:pt x="213" y="38"/>
                  </a:lnTo>
                  <a:close/>
                  <a:moveTo>
                    <a:pt x="233" y="57"/>
                  </a:moveTo>
                  <a:cubicBezTo>
                    <a:pt x="223" y="57"/>
                    <a:pt x="215" y="65"/>
                    <a:pt x="215" y="75"/>
                  </a:cubicBezTo>
                  <a:cubicBezTo>
                    <a:pt x="215" y="85"/>
                    <a:pt x="223" y="92"/>
                    <a:pt x="233" y="92"/>
                  </a:cubicBezTo>
                  <a:cubicBezTo>
                    <a:pt x="243" y="92"/>
                    <a:pt x="251" y="85"/>
                    <a:pt x="251" y="75"/>
                  </a:cubicBezTo>
                  <a:cubicBezTo>
                    <a:pt x="251" y="65"/>
                    <a:pt x="243" y="57"/>
                    <a:pt x="233" y="57"/>
                  </a:cubicBezTo>
                  <a:close/>
                  <a:moveTo>
                    <a:pt x="101" y="57"/>
                  </a:moveTo>
                  <a:cubicBezTo>
                    <a:pt x="92" y="57"/>
                    <a:pt x="84" y="65"/>
                    <a:pt x="84" y="75"/>
                  </a:cubicBezTo>
                  <a:cubicBezTo>
                    <a:pt x="84" y="85"/>
                    <a:pt x="92" y="92"/>
                    <a:pt x="101" y="92"/>
                  </a:cubicBezTo>
                  <a:cubicBezTo>
                    <a:pt x="111" y="92"/>
                    <a:pt x="119" y="85"/>
                    <a:pt x="119" y="75"/>
                  </a:cubicBezTo>
                  <a:cubicBezTo>
                    <a:pt x="119" y="65"/>
                    <a:pt x="111" y="57"/>
                    <a:pt x="101" y="57"/>
                  </a:cubicBez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3"/>
            <p:cNvSpPr>
              <a:spLocks noEditPoints="1"/>
            </p:cNvSpPr>
            <p:nvPr/>
          </p:nvSpPr>
          <p:spPr bwMode="auto">
            <a:xfrm>
              <a:off x="4791371" y="2517469"/>
              <a:ext cx="1253964" cy="365739"/>
            </a:xfrm>
            <a:custGeom>
              <a:avLst/>
              <a:gdLst>
                <a:gd name="T0" fmla="*/ 57 w 1920"/>
                <a:gd name="T1" fmla="*/ 86 h 560"/>
                <a:gd name="T2" fmla="*/ 57 w 1920"/>
                <a:gd name="T3" fmla="*/ 560 h 560"/>
                <a:gd name="T4" fmla="*/ 0 w 1920"/>
                <a:gd name="T5" fmla="*/ 560 h 560"/>
                <a:gd name="T6" fmla="*/ 0 w 1920"/>
                <a:gd name="T7" fmla="*/ 0 h 560"/>
                <a:gd name="T8" fmla="*/ 462 w 1920"/>
                <a:gd name="T9" fmla="*/ 0 h 560"/>
                <a:gd name="T10" fmla="*/ 654 w 1920"/>
                <a:gd name="T11" fmla="*/ 258 h 560"/>
                <a:gd name="T12" fmla="*/ 185 w 1920"/>
                <a:gd name="T13" fmla="*/ 258 h 560"/>
                <a:gd name="T14" fmla="*/ 57 w 1920"/>
                <a:gd name="T15" fmla="*/ 86 h 560"/>
                <a:gd name="T16" fmla="*/ 690 w 1920"/>
                <a:gd name="T17" fmla="*/ 302 h 560"/>
                <a:gd name="T18" fmla="*/ 875 w 1920"/>
                <a:gd name="T19" fmla="*/ 560 h 560"/>
                <a:gd name="T20" fmla="*/ 412 w 1920"/>
                <a:gd name="T21" fmla="*/ 560 h 560"/>
                <a:gd name="T22" fmla="*/ 220 w 1920"/>
                <a:gd name="T23" fmla="*/ 302 h 560"/>
                <a:gd name="T24" fmla="*/ 690 w 1920"/>
                <a:gd name="T25" fmla="*/ 302 h 560"/>
                <a:gd name="T26" fmla="*/ 1209 w 1920"/>
                <a:gd name="T27" fmla="*/ 302 h 560"/>
                <a:gd name="T28" fmla="*/ 1401 w 1920"/>
                <a:gd name="T29" fmla="*/ 560 h 560"/>
                <a:gd name="T30" fmla="*/ 939 w 1920"/>
                <a:gd name="T31" fmla="*/ 560 h 560"/>
                <a:gd name="T32" fmla="*/ 747 w 1920"/>
                <a:gd name="T33" fmla="*/ 302 h 560"/>
                <a:gd name="T34" fmla="*/ 1209 w 1920"/>
                <a:gd name="T35" fmla="*/ 302 h 560"/>
                <a:gd name="T36" fmla="*/ 519 w 1920"/>
                <a:gd name="T37" fmla="*/ 0 h 560"/>
                <a:gd name="T38" fmla="*/ 981 w 1920"/>
                <a:gd name="T39" fmla="*/ 0 h 560"/>
                <a:gd name="T40" fmla="*/ 1173 w 1920"/>
                <a:gd name="T41" fmla="*/ 258 h 560"/>
                <a:gd name="T42" fmla="*/ 711 w 1920"/>
                <a:gd name="T43" fmla="*/ 258 h 560"/>
                <a:gd name="T44" fmla="*/ 519 w 1920"/>
                <a:gd name="T45" fmla="*/ 0 h 560"/>
                <a:gd name="T46" fmla="*/ 1728 w 1920"/>
                <a:gd name="T47" fmla="*/ 302 h 560"/>
                <a:gd name="T48" fmla="*/ 1920 w 1920"/>
                <a:gd name="T49" fmla="*/ 560 h 560"/>
                <a:gd name="T50" fmla="*/ 1458 w 1920"/>
                <a:gd name="T51" fmla="*/ 560 h 560"/>
                <a:gd name="T52" fmla="*/ 1266 w 1920"/>
                <a:gd name="T53" fmla="*/ 302 h 560"/>
                <a:gd name="T54" fmla="*/ 1728 w 1920"/>
                <a:gd name="T55" fmla="*/ 302 h 560"/>
                <a:gd name="T56" fmla="*/ 1038 w 1920"/>
                <a:gd name="T57" fmla="*/ 0 h 560"/>
                <a:gd name="T58" fmla="*/ 1508 w 1920"/>
                <a:gd name="T59" fmla="*/ 0 h 560"/>
                <a:gd name="T60" fmla="*/ 1692 w 1920"/>
                <a:gd name="T61" fmla="*/ 258 h 560"/>
                <a:gd name="T62" fmla="*/ 1230 w 1920"/>
                <a:gd name="T63" fmla="*/ 258 h 560"/>
                <a:gd name="T64" fmla="*/ 1038 w 1920"/>
                <a:gd name="T65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20" h="560">
                  <a:moveTo>
                    <a:pt x="57" y="86"/>
                  </a:moveTo>
                  <a:lnTo>
                    <a:pt x="57" y="560"/>
                  </a:lnTo>
                  <a:lnTo>
                    <a:pt x="0" y="560"/>
                  </a:lnTo>
                  <a:lnTo>
                    <a:pt x="0" y="0"/>
                  </a:lnTo>
                  <a:lnTo>
                    <a:pt x="462" y="0"/>
                  </a:lnTo>
                  <a:lnTo>
                    <a:pt x="654" y="258"/>
                  </a:lnTo>
                  <a:lnTo>
                    <a:pt x="185" y="258"/>
                  </a:lnTo>
                  <a:lnTo>
                    <a:pt x="57" y="86"/>
                  </a:lnTo>
                  <a:close/>
                  <a:moveTo>
                    <a:pt x="690" y="302"/>
                  </a:moveTo>
                  <a:lnTo>
                    <a:pt x="875" y="560"/>
                  </a:lnTo>
                  <a:lnTo>
                    <a:pt x="412" y="560"/>
                  </a:lnTo>
                  <a:lnTo>
                    <a:pt x="220" y="302"/>
                  </a:lnTo>
                  <a:lnTo>
                    <a:pt x="690" y="302"/>
                  </a:lnTo>
                  <a:close/>
                  <a:moveTo>
                    <a:pt x="1209" y="302"/>
                  </a:moveTo>
                  <a:lnTo>
                    <a:pt x="1401" y="560"/>
                  </a:lnTo>
                  <a:lnTo>
                    <a:pt x="939" y="560"/>
                  </a:lnTo>
                  <a:lnTo>
                    <a:pt x="747" y="302"/>
                  </a:lnTo>
                  <a:lnTo>
                    <a:pt x="1209" y="302"/>
                  </a:lnTo>
                  <a:close/>
                  <a:moveTo>
                    <a:pt x="519" y="0"/>
                  </a:moveTo>
                  <a:lnTo>
                    <a:pt x="981" y="0"/>
                  </a:lnTo>
                  <a:lnTo>
                    <a:pt x="1173" y="258"/>
                  </a:lnTo>
                  <a:lnTo>
                    <a:pt x="711" y="258"/>
                  </a:lnTo>
                  <a:lnTo>
                    <a:pt x="519" y="0"/>
                  </a:lnTo>
                  <a:close/>
                  <a:moveTo>
                    <a:pt x="1728" y="302"/>
                  </a:moveTo>
                  <a:lnTo>
                    <a:pt x="1920" y="560"/>
                  </a:lnTo>
                  <a:lnTo>
                    <a:pt x="1458" y="560"/>
                  </a:lnTo>
                  <a:lnTo>
                    <a:pt x="1266" y="302"/>
                  </a:lnTo>
                  <a:lnTo>
                    <a:pt x="1728" y="302"/>
                  </a:lnTo>
                  <a:close/>
                  <a:moveTo>
                    <a:pt x="1038" y="0"/>
                  </a:moveTo>
                  <a:lnTo>
                    <a:pt x="1508" y="0"/>
                  </a:lnTo>
                  <a:lnTo>
                    <a:pt x="1692" y="258"/>
                  </a:lnTo>
                  <a:lnTo>
                    <a:pt x="1230" y="258"/>
                  </a:lnTo>
                  <a:lnTo>
                    <a:pt x="1038" y="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1"/>
            <p:cNvSpPr>
              <a:spLocks noEditPoints="1"/>
            </p:cNvSpPr>
            <p:nvPr/>
          </p:nvSpPr>
          <p:spPr bwMode="auto">
            <a:xfrm>
              <a:off x="7437110" y="1586939"/>
              <a:ext cx="856222" cy="615879"/>
            </a:xfrm>
            <a:custGeom>
              <a:avLst/>
              <a:gdLst>
                <a:gd name="T0" fmla="*/ 634 w 1311"/>
                <a:gd name="T1" fmla="*/ 707 h 943"/>
                <a:gd name="T2" fmla="*/ 299 w 1311"/>
                <a:gd name="T3" fmla="*/ 707 h 943"/>
                <a:gd name="T4" fmla="*/ 299 w 1311"/>
                <a:gd name="T5" fmla="*/ 557 h 943"/>
                <a:gd name="T6" fmla="*/ 634 w 1311"/>
                <a:gd name="T7" fmla="*/ 557 h 943"/>
                <a:gd name="T8" fmla="*/ 634 w 1311"/>
                <a:gd name="T9" fmla="*/ 707 h 943"/>
                <a:gd name="T10" fmla="*/ 1147 w 1311"/>
                <a:gd name="T11" fmla="*/ 157 h 943"/>
                <a:gd name="T12" fmla="*/ 470 w 1311"/>
                <a:gd name="T13" fmla="*/ 157 h 943"/>
                <a:gd name="T14" fmla="*/ 470 w 1311"/>
                <a:gd name="T15" fmla="*/ 0 h 943"/>
                <a:gd name="T16" fmla="*/ 328 w 1311"/>
                <a:gd name="T17" fmla="*/ 0 h 943"/>
                <a:gd name="T18" fmla="*/ 328 w 1311"/>
                <a:gd name="T19" fmla="*/ 157 h 943"/>
                <a:gd name="T20" fmla="*/ 164 w 1311"/>
                <a:gd name="T21" fmla="*/ 157 h 943"/>
                <a:gd name="T22" fmla="*/ 0 w 1311"/>
                <a:gd name="T23" fmla="*/ 550 h 943"/>
                <a:gd name="T24" fmla="*/ 164 w 1311"/>
                <a:gd name="T25" fmla="*/ 550 h 943"/>
                <a:gd name="T26" fmla="*/ 164 w 1311"/>
                <a:gd name="T27" fmla="*/ 943 h 943"/>
                <a:gd name="T28" fmla="*/ 1147 w 1311"/>
                <a:gd name="T29" fmla="*/ 943 h 943"/>
                <a:gd name="T30" fmla="*/ 1147 w 1311"/>
                <a:gd name="T31" fmla="*/ 550 h 943"/>
                <a:gd name="T32" fmla="*/ 1311 w 1311"/>
                <a:gd name="T33" fmla="*/ 550 h 943"/>
                <a:gd name="T34" fmla="*/ 1147 w 1311"/>
                <a:gd name="T35" fmla="*/ 157 h 943"/>
                <a:gd name="T36" fmla="*/ 784 w 1311"/>
                <a:gd name="T37" fmla="*/ 850 h 943"/>
                <a:gd name="T38" fmla="*/ 784 w 1311"/>
                <a:gd name="T39" fmla="*/ 557 h 943"/>
                <a:gd name="T40" fmla="*/ 983 w 1311"/>
                <a:gd name="T41" fmla="*/ 557 h 943"/>
                <a:gd name="T42" fmla="*/ 983 w 1311"/>
                <a:gd name="T43" fmla="*/ 850 h 943"/>
                <a:gd name="T44" fmla="*/ 784 w 1311"/>
                <a:gd name="T45" fmla="*/ 85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1" h="943">
                  <a:moveTo>
                    <a:pt x="634" y="707"/>
                  </a:moveTo>
                  <a:lnTo>
                    <a:pt x="299" y="707"/>
                  </a:lnTo>
                  <a:lnTo>
                    <a:pt x="299" y="557"/>
                  </a:lnTo>
                  <a:lnTo>
                    <a:pt x="634" y="557"/>
                  </a:lnTo>
                  <a:lnTo>
                    <a:pt x="634" y="707"/>
                  </a:lnTo>
                  <a:close/>
                  <a:moveTo>
                    <a:pt x="1147" y="157"/>
                  </a:moveTo>
                  <a:lnTo>
                    <a:pt x="470" y="157"/>
                  </a:lnTo>
                  <a:lnTo>
                    <a:pt x="470" y="0"/>
                  </a:lnTo>
                  <a:lnTo>
                    <a:pt x="328" y="0"/>
                  </a:lnTo>
                  <a:lnTo>
                    <a:pt x="328" y="157"/>
                  </a:lnTo>
                  <a:lnTo>
                    <a:pt x="164" y="157"/>
                  </a:lnTo>
                  <a:lnTo>
                    <a:pt x="0" y="550"/>
                  </a:lnTo>
                  <a:lnTo>
                    <a:pt x="164" y="550"/>
                  </a:lnTo>
                  <a:lnTo>
                    <a:pt x="164" y="943"/>
                  </a:lnTo>
                  <a:lnTo>
                    <a:pt x="1147" y="943"/>
                  </a:lnTo>
                  <a:lnTo>
                    <a:pt x="1147" y="550"/>
                  </a:lnTo>
                  <a:lnTo>
                    <a:pt x="1311" y="550"/>
                  </a:lnTo>
                  <a:lnTo>
                    <a:pt x="1147" y="157"/>
                  </a:lnTo>
                  <a:close/>
                  <a:moveTo>
                    <a:pt x="784" y="850"/>
                  </a:moveTo>
                  <a:lnTo>
                    <a:pt x="784" y="557"/>
                  </a:lnTo>
                  <a:lnTo>
                    <a:pt x="983" y="557"/>
                  </a:lnTo>
                  <a:lnTo>
                    <a:pt x="983" y="850"/>
                  </a:lnTo>
                  <a:lnTo>
                    <a:pt x="784" y="85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3"/>
            <p:cNvSpPr>
              <a:spLocks noEditPoints="1"/>
            </p:cNvSpPr>
            <p:nvPr/>
          </p:nvSpPr>
          <p:spPr bwMode="auto">
            <a:xfrm>
              <a:off x="1595097" y="2163119"/>
              <a:ext cx="2153036" cy="2075106"/>
            </a:xfrm>
            <a:custGeom>
              <a:avLst/>
              <a:gdLst>
                <a:gd name="T0" fmla="*/ 123 w 272"/>
                <a:gd name="T1" fmla="*/ 136 h 262"/>
                <a:gd name="T2" fmla="*/ 137 w 272"/>
                <a:gd name="T3" fmla="*/ 152 h 262"/>
                <a:gd name="T4" fmla="*/ 136 w 272"/>
                <a:gd name="T5" fmla="*/ 154 h 262"/>
                <a:gd name="T6" fmla="*/ 136 w 272"/>
                <a:gd name="T7" fmla="*/ 189 h 262"/>
                <a:gd name="T8" fmla="*/ 136 w 272"/>
                <a:gd name="T9" fmla="*/ 154 h 262"/>
                <a:gd name="T10" fmla="*/ 114 w 272"/>
                <a:gd name="T11" fmla="*/ 210 h 262"/>
                <a:gd name="T12" fmla="*/ 158 w 272"/>
                <a:gd name="T13" fmla="*/ 211 h 262"/>
                <a:gd name="T14" fmla="*/ 118 w 272"/>
                <a:gd name="T15" fmla="*/ 177 h 262"/>
                <a:gd name="T16" fmla="*/ 137 w 272"/>
                <a:gd name="T17" fmla="*/ 190 h 262"/>
                <a:gd name="T18" fmla="*/ 137 w 272"/>
                <a:gd name="T19" fmla="*/ 190 h 262"/>
                <a:gd name="T20" fmla="*/ 110 w 272"/>
                <a:gd name="T21" fmla="*/ 257 h 262"/>
                <a:gd name="T22" fmla="*/ 113 w 272"/>
                <a:gd name="T23" fmla="*/ 214 h 262"/>
                <a:gd name="T24" fmla="*/ 137 w 272"/>
                <a:gd name="T25" fmla="*/ 233 h 262"/>
                <a:gd name="T26" fmla="*/ 137 w 272"/>
                <a:gd name="T27" fmla="*/ 233 h 262"/>
                <a:gd name="T28" fmla="*/ 149 w 272"/>
                <a:gd name="T29" fmla="*/ 94 h 262"/>
                <a:gd name="T30" fmla="*/ 118 w 272"/>
                <a:gd name="T31" fmla="*/ 85 h 262"/>
                <a:gd name="T32" fmla="*/ 118 w 272"/>
                <a:gd name="T33" fmla="*/ 85 h 262"/>
                <a:gd name="T34" fmla="*/ 153 w 272"/>
                <a:gd name="T35" fmla="*/ 85 h 262"/>
                <a:gd name="T36" fmla="*/ 149 w 272"/>
                <a:gd name="T37" fmla="*/ 79 h 262"/>
                <a:gd name="T38" fmla="*/ 123 w 272"/>
                <a:gd name="T39" fmla="*/ 79 h 262"/>
                <a:gd name="T40" fmla="*/ 202 w 272"/>
                <a:gd name="T41" fmla="*/ 99 h 262"/>
                <a:gd name="T42" fmla="*/ 153 w 272"/>
                <a:gd name="T43" fmla="*/ 116 h 262"/>
                <a:gd name="T44" fmla="*/ 154 w 272"/>
                <a:gd name="T45" fmla="*/ 136 h 262"/>
                <a:gd name="T46" fmla="*/ 118 w 272"/>
                <a:gd name="T47" fmla="*/ 136 h 262"/>
                <a:gd name="T48" fmla="*/ 118 w 272"/>
                <a:gd name="T49" fmla="*/ 116 h 262"/>
                <a:gd name="T50" fmla="*/ 69 w 272"/>
                <a:gd name="T51" fmla="*/ 99 h 262"/>
                <a:gd name="T52" fmla="*/ 118 w 272"/>
                <a:gd name="T53" fmla="*/ 62 h 262"/>
                <a:gd name="T54" fmla="*/ 119 w 272"/>
                <a:gd name="T55" fmla="*/ 44 h 262"/>
                <a:gd name="T56" fmla="*/ 192 w 272"/>
                <a:gd name="T57" fmla="*/ 58 h 262"/>
                <a:gd name="T58" fmla="*/ 153 w 272"/>
                <a:gd name="T59" fmla="*/ 80 h 262"/>
                <a:gd name="T60" fmla="*/ 123 w 272"/>
                <a:gd name="T61" fmla="*/ 114 h 262"/>
                <a:gd name="T62" fmla="*/ 149 w 272"/>
                <a:gd name="T63" fmla="*/ 114 h 262"/>
                <a:gd name="T64" fmla="*/ 123 w 272"/>
                <a:gd name="T65" fmla="*/ 47 h 262"/>
                <a:gd name="T66" fmla="*/ 149 w 272"/>
                <a:gd name="T67" fmla="*/ 47 h 262"/>
                <a:gd name="T68" fmla="*/ 118 w 272"/>
                <a:gd name="T69" fmla="*/ 49 h 262"/>
                <a:gd name="T70" fmla="*/ 118 w 272"/>
                <a:gd name="T71" fmla="*/ 49 h 262"/>
                <a:gd name="T72" fmla="*/ 153 w 272"/>
                <a:gd name="T73" fmla="*/ 49 h 262"/>
                <a:gd name="T74" fmla="*/ 147 w 272"/>
                <a:gd name="T75" fmla="*/ 42 h 262"/>
                <a:gd name="T76" fmla="*/ 118 w 272"/>
                <a:gd name="T77" fmla="*/ 121 h 262"/>
                <a:gd name="T78" fmla="*/ 118 w 272"/>
                <a:gd name="T79" fmla="*/ 121 h 262"/>
                <a:gd name="T80" fmla="*/ 149 w 272"/>
                <a:gd name="T81" fmla="*/ 120 h 262"/>
                <a:gd name="T82" fmla="*/ 153 w 272"/>
                <a:gd name="T83" fmla="*/ 131 h 262"/>
                <a:gd name="T84" fmla="*/ 153 w 272"/>
                <a:gd name="T85" fmla="*/ 131 h 262"/>
                <a:gd name="T86" fmla="*/ 122 w 272"/>
                <a:gd name="T87" fmla="*/ 139 h 262"/>
                <a:gd name="T88" fmla="*/ 38 w 272"/>
                <a:gd name="T89" fmla="*/ 131 h 262"/>
                <a:gd name="T90" fmla="*/ 0 w 272"/>
                <a:gd name="T91" fmla="*/ 131 h 262"/>
                <a:gd name="T92" fmla="*/ 272 w 272"/>
                <a:gd name="T93" fmla="*/ 136 h 262"/>
                <a:gd name="T94" fmla="*/ 0 w 272"/>
                <a:gd name="T95" fmla="*/ 94 h 262"/>
                <a:gd name="T96" fmla="*/ 0 w 272"/>
                <a:gd name="T97" fmla="*/ 99 h 262"/>
                <a:gd name="T98" fmla="*/ 272 w 272"/>
                <a:gd name="T99" fmla="*/ 94 h 262"/>
                <a:gd name="T100" fmla="*/ 222 w 272"/>
                <a:gd name="T101" fmla="*/ 94 h 262"/>
                <a:gd name="T102" fmla="*/ 60 w 272"/>
                <a:gd name="T103" fmla="*/ 62 h 262"/>
                <a:gd name="T104" fmla="*/ 212 w 272"/>
                <a:gd name="T105" fmla="*/ 57 h 262"/>
                <a:gd name="T106" fmla="*/ 212 w 272"/>
                <a:gd name="T107" fmla="*/ 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2" h="262">
                  <a:moveTo>
                    <a:pt x="136" y="150"/>
                  </a:moveTo>
                  <a:cubicBezTo>
                    <a:pt x="149" y="136"/>
                    <a:pt x="149" y="136"/>
                    <a:pt x="149" y="136"/>
                  </a:cubicBezTo>
                  <a:cubicBezTo>
                    <a:pt x="123" y="136"/>
                    <a:pt x="123" y="136"/>
                    <a:pt x="123" y="136"/>
                  </a:cubicBezTo>
                  <a:lnTo>
                    <a:pt x="136" y="150"/>
                  </a:lnTo>
                  <a:close/>
                  <a:moveTo>
                    <a:pt x="149" y="139"/>
                  </a:moveTo>
                  <a:cubicBezTo>
                    <a:pt x="137" y="152"/>
                    <a:pt x="137" y="152"/>
                    <a:pt x="137" y="152"/>
                  </a:cubicBezTo>
                  <a:cubicBezTo>
                    <a:pt x="153" y="168"/>
                    <a:pt x="153" y="168"/>
                    <a:pt x="153" y="168"/>
                  </a:cubicBezTo>
                  <a:lnTo>
                    <a:pt x="149" y="139"/>
                  </a:lnTo>
                  <a:close/>
                  <a:moveTo>
                    <a:pt x="136" y="154"/>
                  </a:moveTo>
                  <a:cubicBezTo>
                    <a:pt x="118" y="172"/>
                    <a:pt x="118" y="172"/>
                    <a:pt x="118" y="172"/>
                  </a:cubicBezTo>
                  <a:cubicBezTo>
                    <a:pt x="118" y="174"/>
                    <a:pt x="118" y="174"/>
                    <a:pt x="118" y="174"/>
                  </a:cubicBezTo>
                  <a:cubicBezTo>
                    <a:pt x="136" y="189"/>
                    <a:pt x="136" y="189"/>
                    <a:pt x="136" y="189"/>
                  </a:cubicBezTo>
                  <a:cubicBezTo>
                    <a:pt x="153" y="174"/>
                    <a:pt x="153" y="174"/>
                    <a:pt x="153" y="174"/>
                  </a:cubicBezTo>
                  <a:cubicBezTo>
                    <a:pt x="153" y="172"/>
                    <a:pt x="153" y="172"/>
                    <a:pt x="153" y="172"/>
                  </a:cubicBezTo>
                  <a:lnTo>
                    <a:pt x="136" y="154"/>
                  </a:lnTo>
                  <a:close/>
                  <a:moveTo>
                    <a:pt x="158" y="210"/>
                  </a:moveTo>
                  <a:cubicBezTo>
                    <a:pt x="136" y="192"/>
                    <a:pt x="136" y="192"/>
                    <a:pt x="136" y="192"/>
                  </a:cubicBezTo>
                  <a:cubicBezTo>
                    <a:pt x="114" y="210"/>
                    <a:pt x="114" y="210"/>
                    <a:pt x="114" y="210"/>
                  </a:cubicBezTo>
                  <a:cubicBezTo>
                    <a:pt x="114" y="211"/>
                    <a:pt x="114" y="211"/>
                    <a:pt x="114" y="211"/>
                  </a:cubicBezTo>
                  <a:cubicBezTo>
                    <a:pt x="136" y="231"/>
                    <a:pt x="136" y="231"/>
                    <a:pt x="136" y="231"/>
                  </a:cubicBezTo>
                  <a:cubicBezTo>
                    <a:pt x="158" y="211"/>
                    <a:pt x="158" y="211"/>
                    <a:pt x="158" y="211"/>
                  </a:cubicBezTo>
                  <a:lnTo>
                    <a:pt x="158" y="210"/>
                  </a:lnTo>
                  <a:close/>
                  <a:moveTo>
                    <a:pt x="134" y="190"/>
                  </a:moveTo>
                  <a:cubicBezTo>
                    <a:pt x="118" y="177"/>
                    <a:pt x="118" y="177"/>
                    <a:pt x="118" y="177"/>
                  </a:cubicBezTo>
                  <a:cubicBezTo>
                    <a:pt x="114" y="207"/>
                    <a:pt x="114" y="207"/>
                    <a:pt x="114" y="207"/>
                  </a:cubicBezTo>
                  <a:lnTo>
                    <a:pt x="134" y="190"/>
                  </a:lnTo>
                  <a:close/>
                  <a:moveTo>
                    <a:pt x="137" y="190"/>
                  </a:moveTo>
                  <a:cubicBezTo>
                    <a:pt x="157" y="207"/>
                    <a:pt x="157" y="207"/>
                    <a:pt x="157" y="207"/>
                  </a:cubicBezTo>
                  <a:cubicBezTo>
                    <a:pt x="154" y="177"/>
                    <a:pt x="154" y="177"/>
                    <a:pt x="154" y="177"/>
                  </a:cubicBezTo>
                  <a:lnTo>
                    <a:pt x="137" y="190"/>
                  </a:lnTo>
                  <a:close/>
                  <a:moveTo>
                    <a:pt x="161" y="257"/>
                  </a:moveTo>
                  <a:cubicBezTo>
                    <a:pt x="136" y="234"/>
                    <a:pt x="136" y="234"/>
                    <a:pt x="136" y="234"/>
                  </a:cubicBezTo>
                  <a:cubicBezTo>
                    <a:pt x="110" y="257"/>
                    <a:pt x="110" y="257"/>
                    <a:pt x="110" y="257"/>
                  </a:cubicBezTo>
                  <a:lnTo>
                    <a:pt x="161" y="257"/>
                  </a:lnTo>
                  <a:close/>
                  <a:moveTo>
                    <a:pt x="134" y="233"/>
                  </a:moveTo>
                  <a:cubicBezTo>
                    <a:pt x="113" y="214"/>
                    <a:pt x="113" y="214"/>
                    <a:pt x="113" y="214"/>
                  </a:cubicBezTo>
                  <a:cubicBezTo>
                    <a:pt x="109" y="255"/>
                    <a:pt x="109" y="255"/>
                    <a:pt x="109" y="255"/>
                  </a:cubicBezTo>
                  <a:lnTo>
                    <a:pt x="134" y="233"/>
                  </a:lnTo>
                  <a:close/>
                  <a:moveTo>
                    <a:pt x="137" y="233"/>
                  </a:moveTo>
                  <a:cubicBezTo>
                    <a:pt x="163" y="255"/>
                    <a:pt x="163" y="255"/>
                    <a:pt x="163" y="255"/>
                  </a:cubicBezTo>
                  <a:cubicBezTo>
                    <a:pt x="158" y="214"/>
                    <a:pt x="158" y="214"/>
                    <a:pt x="158" y="214"/>
                  </a:cubicBezTo>
                  <a:lnTo>
                    <a:pt x="137" y="233"/>
                  </a:lnTo>
                  <a:close/>
                  <a:moveTo>
                    <a:pt x="123" y="83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49" y="94"/>
                    <a:pt x="149" y="94"/>
                    <a:pt x="149" y="94"/>
                  </a:cubicBezTo>
                  <a:cubicBezTo>
                    <a:pt x="149" y="84"/>
                    <a:pt x="149" y="84"/>
                    <a:pt x="149" y="84"/>
                  </a:cubicBezTo>
                  <a:lnTo>
                    <a:pt x="123" y="83"/>
                  </a:lnTo>
                  <a:close/>
                  <a:moveTo>
                    <a:pt x="118" y="85"/>
                  </a:moveTo>
                  <a:cubicBezTo>
                    <a:pt x="86" y="94"/>
                    <a:pt x="86" y="94"/>
                    <a:pt x="86" y="94"/>
                  </a:cubicBezTo>
                  <a:cubicBezTo>
                    <a:pt x="118" y="94"/>
                    <a:pt x="118" y="94"/>
                    <a:pt x="118" y="94"/>
                  </a:cubicBezTo>
                  <a:lnTo>
                    <a:pt x="118" y="85"/>
                  </a:lnTo>
                  <a:close/>
                  <a:moveTo>
                    <a:pt x="153" y="94"/>
                  </a:moveTo>
                  <a:cubicBezTo>
                    <a:pt x="185" y="94"/>
                    <a:pt x="185" y="94"/>
                    <a:pt x="185" y="94"/>
                  </a:cubicBezTo>
                  <a:cubicBezTo>
                    <a:pt x="153" y="85"/>
                    <a:pt x="153" y="85"/>
                    <a:pt x="153" y="85"/>
                  </a:cubicBezTo>
                  <a:lnTo>
                    <a:pt x="153" y="94"/>
                  </a:lnTo>
                  <a:close/>
                  <a:moveTo>
                    <a:pt x="123" y="79"/>
                  </a:moveTo>
                  <a:cubicBezTo>
                    <a:pt x="149" y="79"/>
                    <a:pt x="149" y="79"/>
                    <a:pt x="149" y="79"/>
                  </a:cubicBezTo>
                  <a:cubicBezTo>
                    <a:pt x="149" y="62"/>
                    <a:pt x="149" y="62"/>
                    <a:pt x="149" y="62"/>
                  </a:cubicBezTo>
                  <a:cubicBezTo>
                    <a:pt x="123" y="62"/>
                    <a:pt x="123" y="62"/>
                    <a:pt x="123" y="62"/>
                  </a:cubicBezTo>
                  <a:lnTo>
                    <a:pt x="123" y="79"/>
                  </a:lnTo>
                  <a:close/>
                  <a:moveTo>
                    <a:pt x="153" y="80"/>
                  </a:moveTo>
                  <a:cubicBezTo>
                    <a:pt x="203" y="95"/>
                    <a:pt x="203" y="95"/>
                    <a:pt x="203" y="95"/>
                  </a:cubicBezTo>
                  <a:cubicBezTo>
                    <a:pt x="206" y="95"/>
                    <a:pt x="205" y="99"/>
                    <a:pt x="202" y="99"/>
                  </a:cubicBezTo>
                  <a:cubicBezTo>
                    <a:pt x="153" y="99"/>
                    <a:pt x="153" y="99"/>
                    <a:pt x="153" y="99"/>
                  </a:cubicBezTo>
                  <a:cubicBezTo>
                    <a:pt x="153" y="114"/>
                    <a:pt x="153" y="114"/>
                    <a:pt x="153" y="114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7" y="132"/>
                    <a:pt x="217" y="136"/>
                    <a:pt x="213" y="136"/>
                  </a:cubicBezTo>
                  <a:cubicBezTo>
                    <a:pt x="154" y="136"/>
                    <a:pt x="154" y="136"/>
                    <a:pt x="154" y="136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03" y="262"/>
                    <a:pt x="103" y="262"/>
                    <a:pt x="103" y="262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58" y="136"/>
                    <a:pt x="58" y="136"/>
                    <a:pt x="58" y="136"/>
                  </a:cubicBezTo>
                  <a:cubicBezTo>
                    <a:pt x="55" y="136"/>
                    <a:pt x="54" y="132"/>
                    <a:pt x="58" y="131"/>
                  </a:cubicBezTo>
                  <a:cubicBezTo>
                    <a:pt x="118" y="116"/>
                    <a:pt x="118" y="116"/>
                    <a:pt x="118" y="116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8" y="99"/>
                    <a:pt x="118" y="99"/>
                    <a:pt x="118" y="99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66" y="99"/>
                    <a:pt x="66" y="95"/>
                    <a:pt x="69" y="95"/>
                  </a:cubicBezTo>
                  <a:cubicBezTo>
                    <a:pt x="118" y="80"/>
                    <a:pt x="118" y="80"/>
                    <a:pt x="118" y="80"/>
                  </a:cubicBezTo>
                  <a:cubicBezTo>
                    <a:pt x="118" y="62"/>
                    <a:pt x="118" y="62"/>
                    <a:pt x="118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77" y="62"/>
                    <a:pt x="77" y="59"/>
                    <a:pt x="80" y="58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3" y="44"/>
                    <a:pt x="153" y="44"/>
                    <a:pt x="153" y="44"/>
                  </a:cubicBezTo>
                  <a:cubicBezTo>
                    <a:pt x="192" y="58"/>
                    <a:pt x="192" y="58"/>
                    <a:pt x="192" y="58"/>
                  </a:cubicBezTo>
                  <a:cubicBezTo>
                    <a:pt x="195" y="59"/>
                    <a:pt x="194" y="62"/>
                    <a:pt x="191" y="62"/>
                  </a:cubicBezTo>
                  <a:cubicBezTo>
                    <a:pt x="153" y="62"/>
                    <a:pt x="153" y="62"/>
                    <a:pt x="153" y="62"/>
                  </a:cubicBezTo>
                  <a:lnTo>
                    <a:pt x="153" y="80"/>
                  </a:lnTo>
                  <a:close/>
                  <a:moveTo>
                    <a:pt x="149" y="99"/>
                  </a:moveTo>
                  <a:cubicBezTo>
                    <a:pt x="123" y="99"/>
                    <a:pt x="123" y="99"/>
                    <a:pt x="123" y="99"/>
                  </a:cubicBezTo>
                  <a:cubicBezTo>
                    <a:pt x="123" y="114"/>
                    <a:pt x="123" y="114"/>
                    <a:pt x="123" y="114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49" y="115"/>
                    <a:pt x="149" y="115"/>
                    <a:pt x="149" y="115"/>
                  </a:cubicBezTo>
                  <a:cubicBezTo>
                    <a:pt x="149" y="114"/>
                    <a:pt x="149" y="114"/>
                    <a:pt x="149" y="114"/>
                  </a:cubicBezTo>
                  <a:lnTo>
                    <a:pt x="149" y="99"/>
                  </a:lnTo>
                  <a:close/>
                  <a:moveTo>
                    <a:pt x="125" y="47"/>
                  </a:moveTo>
                  <a:cubicBezTo>
                    <a:pt x="123" y="47"/>
                    <a:pt x="123" y="47"/>
                    <a:pt x="123" y="4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49" y="58"/>
                    <a:pt x="149" y="58"/>
                    <a:pt x="149" y="58"/>
                  </a:cubicBezTo>
                  <a:cubicBezTo>
                    <a:pt x="149" y="47"/>
                    <a:pt x="149" y="47"/>
                    <a:pt x="149" y="47"/>
                  </a:cubicBezTo>
                  <a:cubicBezTo>
                    <a:pt x="147" y="47"/>
                    <a:pt x="147" y="47"/>
                    <a:pt x="147" y="47"/>
                  </a:cubicBezTo>
                  <a:lnTo>
                    <a:pt x="125" y="47"/>
                  </a:lnTo>
                  <a:close/>
                  <a:moveTo>
                    <a:pt x="118" y="49"/>
                  </a:moveTo>
                  <a:cubicBezTo>
                    <a:pt x="94" y="58"/>
                    <a:pt x="94" y="58"/>
                    <a:pt x="94" y="58"/>
                  </a:cubicBezTo>
                  <a:cubicBezTo>
                    <a:pt x="118" y="58"/>
                    <a:pt x="118" y="58"/>
                    <a:pt x="118" y="58"/>
                  </a:cubicBezTo>
                  <a:lnTo>
                    <a:pt x="118" y="49"/>
                  </a:lnTo>
                  <a:close/>
                  <a:moveTo>
                    <a:pt x="153" y="58"/>
                  </a:moveTo>
                  <a:cubicBezTo>
                    <a:pt x="177" y="58"/>
                    <a:pt x="177" y="58"/>
                    <a:pt x="177" y="58"/>
                  </a:cubicBezTo>
                  <a:cubicBezTo>
                    <a:pt x="153" y="49"/>
                    <a:pt x="153" y="49"/>
                    <a:pt x="153" y="49"/>
                  </a:cubicBezTo>
                  <a:lnTo>
                    <a:pt x="153" y="58"/>
                  </a:lnTo>
                  <a:close/>
                  <a:moveTo>
                    <a:pt x="125" y="42"/>
                  </a:moveTo>
                  <a:cubicBezTo>
                    <a:pt x="147" y="42"/>
                    <a:pt x="147" y="42"/>
                    <a:pt x="147" y="42"/>
                  </a:cubicBezTo>
                  <a:cubicBezTo>
                    <a:pt x="136" y="13"/>
                    <a:pt x="136" y="13"/>
                    <a:pt x="136" y="13"/>
                  </a:cubicBezTo>
                  <a:lnTo>
                    <a:pt x="125" y="42"/>
                  </a:lnTo>
                  <a:close/>
                  <a:moveTo>
                    <a:pt x="118" y="121"/>
                  </a:moveTo>
                  <a:cubicBezTo>
                    <a:pt x="77" y="131"/>
                    <a:pt x="77" y="131"/>
                    <a:pt x="77" y="131"/>
                  </a:cubicBezTo>
                  <a:cubicBezTo>
                    <a:pt x="118" y="131"/>
                    <a:pt x="118" y="131"/>
                    <a:pt x="118" y="131"/>
                  </a:cubicBezTo>
                  <a:lnTo>
                    <a:pt x="118" y="121"/>
                  </a:lnTo>
                  <a:close/>
                  <a:moveTo>
                    <a:pt x="123" y="131"/>
                  </a:moveTo>
                  <a:cubicBezTo>
                    <a:pt x="149" y="131"/>
                    <a:pt x="149" y="131"/>
                    <a:pt x="149" y="131"/>
                  </a:cubicBezTo>
                  <a:cubicBezTo>
                    <a:pt x="149" y="120"/>
                    <a:pt x="149" y="120"/>
                    <a:pt x="149" y="120"/>
                  </a:cubicBezTo>
                  <a:cubicBezTo>
                    <a:pt x="123" y="120"/>
                    <a:pt x="123" y="120"/>
                    <a:pt x="123" y="120"/>
                  </a:cubicBezTo>
                  <a:lnTo>
                    <a:pt x="123" y="131"/>
                  </a:lnTo>
                  <a:close/>
                  <a:moveTo>
                    <a:pt x="153" y="131"/>
                  </a:moveTo>
                  <a:cubicBezTo>
                    <a:pt x="194" y="131"/>
                    <a:pt x="194" y="131"/>
                    <a:pt x="194" y="131"/>
                  </a:cubicBezTo>
                  <a:cubicBezTo>
                    <a:pt x="153" y="121"/>
                    <a:pt x="153" y="121"/>
                    <a:pt x="153" y="121"/>
                  </a:cubicBezTo>
                  <a:lnTo>
                    <a:pt x="153" y="131"/>
                  </a:lnTo>
                  <a:close/>
                  <a:moveTo>
                    <a:pt x="119" y="168"/>
                  </a:moveTo>
                  <a:cubicBezTo>
                    <a:pt x="134" y="152"/>
                    <a:pt x="134" y="152"/>
                    <a:pt x="134" y="152"/>
                  </a:cubicBezTo>
                  <a:cubicBezTo>
                    <a:pt x="122" y="139"/>
                    <a:pt x="122" y="139"/>
                    <a:pt x="122" y="139"/>
                  </a:cubicBezTo>
                  <a:lnTo>
                    <a:pt x="119" y="168"/>
                  </a:lnTo>
                  <a:close/>
                  <a:moveTo>
                    <a:pt x="0" y="131"/>
                  </a:moveTo>
                  <a:cubicBezTo>
                    <a:pt x="38" y="131"/>
                    <a:pt x="38" y="131"/>
                    <a:pt x="38" y="131"/>
                  </a:cubicBezTo>
                  <a:cubicBezTo>
                    <a:pt x="38" y="136"/>
                    <a:pt x="38" y="136"/>
                    <a:pt x="38" y="136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0" y="131"/>
                  </a:lnTo>
                  <a:close/>
                  <a:moveTo>
                    <a:pt x="234" y="131"/>
                  </a:moveTo>
                  <a:cubicBezTo>
                    <a:pt x="272" y="131"/>
                    <a:pt x="272" y="131"/>
                    <a:pt x="272" y="131"/>
                  </a:cubicBezTo>
                  <a:cubicBezTo>
                    <a:pt x="272" y="136"/>
                    <a:pt x="272" y="136"/>
                    <a:pt x="272" y="136"/>
                  </a:cubicBezTo>
                  <a:cubicBezTo>
                    <a:pt x="234" y="136"/>
                    <a:pt x="234" y="136"/>
                    <a:pt x="234" y="136"/>
                  </a:cubicBezTo>
                  <a:lnTo>
                    <a:pt x="234" y="131"/>
                  </a:lnTo>
                  <a:close/>
                  <a:moveTo>
                    <a:pt x="0" y="94"/>
                  </a:moveTo>
                  <a:cubicBezTo>
                    <a:pt x="49" y="94"/>
                    <a:pt x="49" y="94"/>
                    <a:pt x="49" y="94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0" y="99"/>
                    <a:pt x="0" y="99"/>
                    <a:pt x="0" y="99"/>
                  </a:cubicBezTo>
                  <a:lnTo>
                    <a:pt x="0" y="94"/>
                  </a:lnTo>
                  <a:close/>
                  <a:moveTo>
                    <a:pt x="222" y="94"/>
                  </a:moveTo>
                  <a:cubicBezTo>
                    <a:pt x="272" y="94"/>
                    <a:pt x="272" y="94"/>
                    <a:pt x="272" y="94"/>
                  </a:cubicBezTo>
                  <a:cubicBezTo>
                    <a:pt x="272" y="99"/>
                    <a:pt x="272" y="99"/>
                    <a:pt x="272" y="99"/>
                  </a:cubicBezTo>
                  <a:cubicBezTo>
                    <a:pt x="222" y="99"/>
                    <a:pt x="222" y="99"/>
                    <a:pt x="222" y="99"/>
                  </a:cubicBezTo>
                  <a:lnTo>
                    <a:pt x="222" y="94"/>
                  </a:lnTo>
                  <a:close/>
                  <a:moveTo>
                    <a:pt x="0" y="57"/>
                  </a:moveTo>
                  <a:cubicBezTo>
                    <a:pt x="60" y="57"/>
                    <a:pt x="60" y="57"/>
                    <a:pt x="60" y="57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0" y="62"/>
                    <a:pt x="0" y="62"/>
                    <a:pt x="0" y="62"/>
                  </a:cubicBezTo>
                  <a:lnTo>
                    <a:pt x="0" y="57"/>
                  </a:lnTo>
                  <a:close/>
                  <a:moveTo>
                    <a:pt x="212" y="57"/>
                  </a:moveTo>
                  <a:cubicBezTo>
                    <a:pt x="272" y="57"/>
                    <a:pt x="272" y="57"/>
                    <a:pt x="272" y="57"/>
                  </a:cubicBezTo>
                  <a:cubicBezTo>
                    <a:pt x="272" y="62"/>
                    <a:pt x="272" y="62"/>
                    <a:pt x="272" y="62"/>
                  </a:cubicBezTo>
                  <a:cubicBezTo>
                    <a:pt x="212" y="62"/>
                    <a:pt x="212" y="62"/>
                    <a:pt x="212" y="62"/>
                  </a:cubicBezTo>
                  <a:lnTo>
                    <a:pt x="212" y="57"/>
                  </a:lnTo>
                  <a:close/>
                </a:path>
              </a:pathLst>
            </a:custGeom>
            <a:solidFill>
              <a:srgbClr val="505A64"/>
            </a:solidFill>
            <a:ln w="6350">
              <a:solidFill>
                <a:srgbClr val="505A64"/>
              </a:solidFill>
              <a:miter lim="800000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46" name="Gerade Verbindung 45"/>
            <p:cNvCxnSpPr/>
            <p:nvPr/>
          </p:nvCxnSpPr>
          <p:spPr bwMode="auto">
            <a:xfrm flipH="1">
              <a:off x="8124406" y="3832200"/>
              <a:ext cx="834300" cy="475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55A0B9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Freeform 9"/>
            <p:cNvSpPr>
              <a:spLocks noEditPoints="1"/>
            </p:cNvSpPr>
            <p:nvPr/>
          </p:nvSpPr>
          <p:spPr bwMode="auto">
            <a:xfrm>
              <a:off x="8598078" y="4618126"/>
              <a:ext cx="935249" cy="675312"/>
            </a:xfrm>
            <a:custGeom>
              <a:avLst/>
              <a:gdLst>
                <a:gd name="T0" fmla="*/ 691 w 1432"/>
                <a:gd name="T1" fmla="*/ 399 h 1034"/>
                <a:gd name="T2" fmla="*/ 463 w 1432"/>
                <a:gd name="T3" fmla="*/ 399 h 1034"/>
                <a:gd name="T4" fmla="*/ 442 w 1432"/>
                <a:gd name="T5" fmla="*/ 506 h 1034"/>
                <a:gd name="T6" fmla="*/ 691 w 1432"/>
                <a:gd name="T7" fmla="*/ 506 h 1034"/>
                <a:gd name="T8" fmla="*/ 691 w 1432"/>
                <a:gd name="T9" fmla="*/ 399 h 1034"/>
                <a:gd name="T10" fmla="*/ 413 w 1432"/>
                <a:gd name="T11" fmla="*/ 399 h 1034"/>
                <a:gd name="T12" fmla="*/ 185 w 1432"/>
                <a:gd name="T13" fmla="*/ 399 h 1034"/>
                <a:gd name="T14" fmla="*/ 150 w 1432"/>
                <a:gd name="T15" fmla="*/ 506 h 1034"/>
                <a:gd name="T16" fmla="*/ 399 w 1432"/>
                <a:gd name="T17" fmla="*/ 506 h 1034"/>
                <a:gd name="T18" fmla="*/ 413 w 1432"/>
                <a:gd name="T19" fmla="*/ 399 h 1034"/>
                <a:gd name="T20" fmla="*/ 691 w 1432"/>
                <a:gd name="T21" fmla="*/ 235 h 1034"/>
                <a:gd name="T22" fmla="*/ 492 w 1432"/>
                <a:gd name="T23" fmla="*/ 235 h 1034"/>
                <a:gd name="T24" fmla="*/ 470 w 1432"/>
                <a:gd name="T25" fmla="*/ 349 h 1034"/>
                <a:gd name="T26" fmla="*/ 691 w 1432"/>
                <a:gd name="T27" fmla="*/ 349 h 1034"/>
                <a:gd name="T28" fmla="*/ 691 w 1432"/>
                <a:gd name="T29" fmla="*/ 235 h 1034"/>
                <a:gd name="T30" fmla="*/ 442 w 1432"/>
                <a:gd name="T31" fmla="*/ 235 h 1034"/>
                <a:gd name="T32" fmla="*/ 249 w 1432"/>
                <a:gd name="T33" fmla="*/ 235 h 1034"/>
                <a:gd name="T34" fmla="*/ 207 w 1432"/>
                <a:gd name="T35" fmla="*/ 349 h 1034"/>
                <a:gd name="T36" fmla="*/ 427 w 1432"/>
                <a:gd name="T37" fmla="*/ 349 h 1034"/>
                <a:gd name="T38" fmla="*/ 442 w 1432"/>
                <a:gd name="T39" fmla="*/ 235 h 1034"/>
                <a:gd name="T40" fmla="*/ 734 w 1432"/>
                <a:gd name="T41" fmla="*/ 399 h 1034"/>
                <a:gd name="T42" fmla="*/ 969 w 1432"/>
                <a:gd name="T43" fmla="*/ 399 h 1034"/>
                <a:gd name="T44" fmla="*/ 983 w 1432"/>
                <a:gd name="T45" fmla="*/ 506 h 1034"/>
                <a:gd name="T46" fmla="*/ 734 w 1432"/>
                <a:gd name="T47" fmla="*/ 506 h 1034"/>
                <a:gd name="T48" fmla="*/ 734 w 1432"/>
                <a:gd name="T49" fmla="*/ 399 h 1034"/>
                <a:gd name="T50" fmla="*/ 1012 w 1432"/>
                <a:gd name="T51" fmla="*/ 399 h 1034"/>
                <a:gd name="T52" fmla="*/ 1240 w 1432"/>
                <a:gd name="T53" fmla="*/ 399 h 1034"/>
                <a:gd name="T54" fmla="*/ 1282 w 1432"/>
                <a:gd name="T55" fmla="*/ 506 h 1034"/>
                <a:gd name="T56" fmla="*/ 1033 w 1432"/>
                <a:gd name="T57" fmla="*/ 506 h 1034"/>
                <a:gd name="T58" fmla="*/ 1012 w 1432"/>
                <a:gd name="T59" fmla="*/ 399 h 1034"/>
                <a:gd name="T60" fmla="*/ 734 w 1432"/>
                <a:gd name="T61" fmla="*/ 235 h 1034"/>
                <a:gd name="T62" fmla="*/ 940 w 1432"/>
                <a:gd name="T63" fmla="*/ 235 h 1034"/>
                <a:gd name="T64" fmla="*/ 955 w 1432"/>
                <a:gd name="T65" fmla="*/ 349 h 1034"/>
                <a:gd name="T66" fmla="*/ 734 w 1432"/>
                <a:gd name="T67" fmla="*/ 349 h 1034"/>
                <a:gd name="T68" fmla="*/ 734 w 1432"/>
                <a:gd name="T69" fmla="*/ 235 h 1034"/>
                <a:gd name="T70" fmla="*/ 983 w 1432"/>
                <a:gd name="T71" fmla="*/ 235 h 1034"/>
                <a:gd name="T72" fmla="*/ 1183 w 1432"/>
                <a:gd name="T73" fmla="*/ 235 h 1034"/>
                <a:gd name="T74" fmla="*/ 1225 w 1432"/>
                <a:gd name="T75" fmla="*/ 349 h 1034"/>
                <a:gd name="T76" fmla="*/ 1005 w 1432"/>
                <a:gd name="T77" fmla="*/ 349 h 1034"/>
                <a:gd name="T78" fmla="*/ 983 w 1432"/>
                <a:gd name="T79" fmla="*/ 235 h 1034"/>
                <a:gd name="T80" fmla="*/ 1254 w 1432"/>
                <a:gd name="T81" fmla="*/ 171 h 1034"/>
                <a:gd name="T82" fmla="*/ 506 w 1432"/>
                <a:gd name="T83" fmla="*/ 171 h 1034"/>
                <a:gd name="T84" fmla="*/ 506 w 1432"/>
                <a:gd name="T85" fmla="*/ 0 h 1034"/>
                <a:gd name="T86" fmla="*/ 356 w 1432"/>
                <a:gd name="T87" fmla="*/ 0 h 1034"/>
                <a:gd name="T88" fmla="*/ 356 w 1432"/>
                <a:gd name="T89" fmla="*/ 171 h 1034"/>
                <a:gd name="T90" fmla="*/ 178 w 1432"/>
                <a:gd name="T91" fmla="*/ 171 h 1034"/>
                <a:gd name="T92" fmla="*/ 0 w 1432"/>
                <a:gd name="T93" fmla="*/ 599 h 1034"/>
                <a:gd name="T94" fmla="*/ 178 w 1432"/>
                <a:gd name="T95" fmla="*/ 599 h 1034"/>
                <a:gd name="T96" fmla="*/ 178 w 1432"/>
                <a:gd name="T97" fmla="*/ 1034 h 1034"/>
                <a:gd name="T98" fmla="*/ 1254 w 1432"/>
                <a:gd name="T99" fmla="*/ 1034 h 1034"/>
                <a:gd name="T100" fmla="*/ 1254 w 1432"/>
                <a:gd name="T101" fmla="*/ 599 h 1034"/>
                <a:gd name="T102" fmla="*/ 1432 w 1432"/>
                <a:gd name="T103" fmla="*/ 599 h 1034"/>
                <a:gd name="T104" fmla="*/ 1254 w 1432"/>
                <a:gd name="T105" fmla="*/ 17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2" h="1034">
                  <a:moveTo>
                    <a:pt x="691" y="399"/>
                  </a:moveTo>
                  <a:lnTo>
                    <a:pt x="463" y="399"/>
                  </a:lnTo>
                  <a:lnTo>
                    <a:pt x="442" y="506"/>
                  </a:lnTo>
                  <a:lnTo>
                    <a:pt x="691" y="506"/>
                  </a:lnTo>
                  <a:lnTo>
                    <a:pt x="691" y="399"/>
                  </a:lnTo>
                  <a:close/>
                  <a:moveTo>
                    <a:pt x="413" y="399"/>
                  </a:moveTo>
                  <a:lnTo>
                    <a:pt x="185" y="399"/>
                  </a:lnTo>
                  <a:lnTo>
                    <a:pt x="150" y="506"/>
                  </a:lnTo>
                  <a:lnTo>
                    <a:pt x="399" y="506"/>
                  </a:lnTo>
                  <a:lnTo>
                    <a:pt x="413" y="399"/>
                  </a:lnTo>
                  <a:close/>
                  <a:moveTo>
                    <a:pt x="691" y="235"/>
                  </a:moveTo>
                  <a:lnTo>
                    <a:pt x="492" y="235"/>
                  </a:lnTo>
                  <a:lnTo>
                    <a:pt x="470" y="349"/>
                  </a:lnTo>
                  <a:lnTo>
                    <a:pt x="691" y="349"/>
                  </a:lnTo>
                  <a:lnTo>
                    <a:pt x="691" y="235"/>
                  </a:lnTo>
                  <a:close/>
                  <a:moveTo>
                    <a:pt x="442" y="235"/>
                  </a:moveTo>
                  <a:lnTo>
                    <a:pt x="249" y="235"/>
                  </a:lnTo>
                  <a:lnTo>
                    <a:pt x="207" y="349"/>
                  </a:lnTo>
                  <a:lnTo>
                    <a:pt x="427" y="349"/>
                  </a:lnTo>
                  <a:lnTo>
                    <a:pt x="442" y="235"/>
                  </a:lnTo>
                  <a:close/>
                  <a:moveTo>
                    <a:pt x="734" y="399"/>
                  </a:moveTo>
                  <a:lnTo>
                    <a:pt x="969" y="399"/>
                  </a:lnTo>
                  <a:lnTo>
                    <a:pt x="983" y="506"/>
                  </a:lnTo>
                  <a:lnTo>
                    <a:pt x="734" y="506"/>
                  </a:lnTo>
                  <a:lnTo>
                    <a:pt x="734" y="399"/>
                  </a:lnTo>
                  <a:close/>
                  <a:moveTo>
                    <a:pt x="1012" y="399"/>
                  </a:moveTo>
                  <a:lnTo>
                    <a:pt x="1240" y="399"/>
                  </a:lnTo>
                  <a:lnTo>
                    <a:pt x="1282" y="506"/>
                  </a:lnTo>
                  <a:lnTo>
                    <a:pt x="1033" y="506"/>
                  </a:lnTo>
                  <a:lnTo>
                    <a:pt x="1012" y="399"/>
                  </a:lnTo>
                  <a:close/>
                  <a:moveTo>
                    <a:pt x="734" y="235"/>
                  </a:moveTo>
                  <a:lnTo>
                    <a:pt x="940" y="235"/>
                  </a:lnTo>
                  <a:lnTo>
                    <a:pt x="955" y="349"/>
                  </a:lnTo>
                  <a:lnTo>
                    <a:pt x="734" y="349"/>
                  </a:lnTo>
                  <a:lnTo>
                    <a:pt x="734" y="235"/>
                  </a:lnTo>
                  <a:close/>
                  <a:moveTo>
                    <a:pt x="983" y="235"/>
                  </a:moveTo>
                  <a:lnTo>
                    <a:pt x="1183" y="235"/>
                  </a:lnTo>
                  <a:lnTo>
                    <a:pt x="1225" y="349"/>
                  </a:lnTo>
                  <a:lnTo>
                    <a:pt x="1005" y="349"/>
                  </a:lnTo>
                  <a:lnTo>
                    <a:pt x="983" y="235"/>
                  </a:lnTo>
                  <a:close/>
                  <a:moveTo>
                    <a:pt x="1254" y="171"/>
                  </a:moveTo>
                  <a:lnTo>
                    <a:pt x="506" y="171"/>
                  </a:lnTo>
                  <a:lnTo>
                    <a:pt x="506" y="0"/>
                  </a:lnTo>
                  <a:lnTo>
                    <a:pt x="356" y="0"/>
                  </a:lnTo>
                  <a:lnTo>
                    <a:pt x="356" y="171"/>
                  </a:lnTo>
                  <a:lnTo>
                    <a:pt x="178" y="171"/>
                  </a:lnTo>
                  <a:lnTo>
                    <a:pt x="0" y="599"/>
                  </a:lnTo>
                  <a:lnTo>
                    <a:pt x="178" y="599"/>
                  </a:lnTo>
                  <a:lnTo>
                    <a:pt x="178" y="1034"/>
                  </a:lnTo>
                  <a:lnTo>
                    <a:pt x="1254" y="1034"/>
                  </a:lnTo>
                  <a:lnTo>
                    <a:pt x="1254" y="599"/>
                  </a:lnTo>
                  <a:lnTo>
                    <a:pt x="1432" y="599"/>
                  </a:lnTo>
                  <a:lnTo>
                    <a:pt x="1254" y="171"/>
                  </a:ln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/>
            <p:cNvSpPr>
              <a:spLocks noEditPoints="1"/>
            </p:cNvSpPr>
            <p:nvPr/>
          </p:nvSpPr>
          <p:spPr bwMode="auto">
            <a:xfrm>
              <a:off x="8656984" y="2031558"/>
              <a:ext cx="814424" cy="971822"/>
            </a:xfrm>
            <a:custGeom>
              <a:avLst/>
              <a:gdLst>
                <a:gd name="T0" fmla="*/ 1126 w 1247"/>
                <a:gd name="T1" fmla="*/ 1139 h 1488"/>
                <a:gd name="T2" fmla="*/ 121 w 1247"/>
                <a:gd name="T3" fmla="*/ 1139 h 1488"/>
                <a:gd name="T4" fmla="*/ 121 w 1247"/>
                <a:gd name="T5" fmla="*/ 1075 h 1488"/>
                <a:gd name="T6" fmla="*/ 1126 w 1247"/>
                <a:gd name="T7" fmla="*/ 1075 h 1488"/>
                <a:gd name="T8" fmla="*/ 1126 w 1247"/>
                <a:gd name="T9" fmla="*/ 1139 h 1488"/>
                <a:gd name="T10" fmla="*/ 1112 w 1247"/>
                <a:gd name="T11" fmla="*/ 0 h 1488"/>
                <a:gd name="T12" fmla="*/ 1112 w 1247"/>
                <a:gd name="T13" fmla="*/ 755 h 1488"/>
                <a:gd name="T14" fmla="*/ 741 w 1247"/>
                <a:gd name="T15" fmla="*/ 541 h 1488"/>
                <a:gd name="T16" fmla="*/ 741 w 1247"/>
                <a:gd name="T17" fmla="*/ 755 h 1488"/>
                <a:gd name="T18" fmla="*/ 371 w 1247"/>
                <a:gd name="T19" fmla="*/ 541 h 1488"/>
                <a:gd name="T20" fmla="*/ 371 w 1247"/>
                <a:gd name="T21" fmla="*/ 755 h 1488"/>
                <a:gd name="T22" fmla="*/ 0 w 1247"/>
                <a:gd name="T23" fmla="*/ 541 h 1488"/>
                <a:gd name="T24" fmla="*/ 0 w 1247"/>
                <a:gd name="T25" fmla="*/ 1488 h 1488"/>
                <a:gd name="T26" fmla="*/ 1247 w 1247"/>
                <a:gd name="T27" fmla="*/ 1488 h 1488"/>
                <a:gd name="T28" fmla="*/ 1247 w 1247"/>
                <a:gd name="T29" fmla="*/ 0 h 1488"/>
                <a:gd name="T30" fmla="*/ 1112 w 1247"/>
                <a:gd name="T31" fmla="*/ 0 h 1488"/>
                <a:gd name="T32" fmla="*/ 1126 w 1247"/>
                <a:gd name="T33" fmla="*/ 990 h 1488"/>
                <a:gd name="T34" fmla="*/ 121 w 1247"/>
                <a:gd name="T35" fmla="*/ 990 h 1488"/>
                <a:gd name="T36" fmla="*/ 121 w 1247"/>
                <a:gd name="T37" fmla="*/ 918 h 1488"/>
                <a:gd name="T38" fmla="*/ 1126 w 1247"/>
                <a:gd name="T39" fmla="*/ 918 h 1488"/>
                <a:gd name="T40" fmla="*/ 1126 w 1247"/>
                <a:gd name="T41" fmla="*/ 990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47" h="1488">
                  <a:moveTo>
                    <a:pt x="1126" y="1139"/>
                  </a:moveTo>
                  <a:lnTo>
                    <a:pt x="121" y="1139"/>
                  </a:lnTo>
                  <a:lnTo>
                    <a:pt x="121" y="1075"/>
                  </a:lnTo>
                  <a:lnTo>
                    <a:pt x="1126" y="1075"/>
                  </a:lnTo>
                  <a:lnTo>
                    <a:pt x="1126" y="1139"/>
                  </a:lnTo>
                  <a:close/>
                  <a:moveTo>
                    <a:pt x="1112" y="0"/>
                  </a:moveTo>
                  <a:lnTo>
                    <a:pt x="1112" y="755"/>
                  </a:lnTo>
                  <a:lnTo>
                    <a:pt x="741" y="541"/>
                  </a:lnTo>
                  <a:lnTo>
                    <a:pt x="741" y="755"/>
                  </a:lnTo>
                  <a:lnTo>
                    <a:pt x="371" y="541"/>
                  </a:lnTo>
                  <a:lnTo>
                    <a:pt x="371" y="755"/>
                  </a:lnTo>
                  <a:lnTo>
                    <a:pt x="0" y="541"/>
                  </a:lnTo>
                  <a:lnTo>
                    <a:pt x="0" y="1488"/>
                  </a:lnTo>
                  <a:lnTo>
                    <a:pt x="1247" y="1488"/>
                  </a:lnTo>
                  <a:lnTo>
                    <a:pt x="1247" y="0"/>
                  </a:lnTo>
                  <a:lnTo>
                    <a:pt x="1112" y="0"/>
                  </a:lnTo>
                  <a:close/>
                  <a:moveTo>
                    <a:pt x="1126" y="990"/>
                  </a:moveTo>
                  <a:lnTo>
                    <a:pt x="121" y="990"/>
                  </a:lnTo>
                  <a:lnTo>
                    <a:pt x="121" y="918"/>
                  </a:lnTo>
                  <a:lnTo>
                    <a:pt x="1126" y="918"/>
                  </a:lnTo>
                  <a:lnTo>
                    <a:pt x="1126" y="99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/>
            <p:cNvSpPr>
              <a:spLocks noEditPoints="1"/>
            </p:cNvSpPr>
            <p:nvPr/>
          </p:nvSpPr>
          <p:spPr bwMode="auto">
            <a:xfrm>
              <a:off x="6052575" y="5517034"/>
              <a:ext cx="685665" cy="515647"/>
            </a:xfrm>
            <a:custGeom>
              <a:avLst/>
              <a:gdLst>
                <a:gd name="T0" fmla="*/ 1019 w 1226"/>
                <a:gd name="T1" fmla="*/ 622 h 922"/>
                <a:gd name="T2" fmla="*/ 1019 w 1226"/>
                <a:gd name="T3" fmla="*/ 672 h 922"/>
                <a:gd name="T4" fmla="*/ 805 w 1226"/>
                <a:gd name="T5" fmla="*/ 672 h 922"/>
                <a:gd name="T6" fmla="*/ 805 w 1226"/>
                <a:gd name="T7" fmla="*/ 622 h 922"/>
                <a:gd name="T8" fmla="*/ 1019 w 1226"/>
                <a:gd name="T9" fmla="*/ 622 h 922"/>
                <a:gd name="T10" fmla="*/ 1033 w 1226"/>
                <a:gd name="T11" fmla="*/ 172 h 922"/>
                <a:gd name="T12" fmla="*/ 1033 w 1226"/>
                <a:gd name="T13" fmla="*/ 86 h 922"/>
                <a:gd name="T14" fmla="*/ 948 w 1226"/>
                <a:gd name="T15" fmla="*/ 86 h 922"/>
                <a:gd name="T16" fmla="*/ 948 w 1226"/>
                <a:gd name="T17" fmla="*/ 0 h 922"/>
                <a:gd name="T18" fmla="*/ 884 w 1226"/>
                <a:gd name="T19" fmla="*/ 0 h 922"/>
                <a:gd name="T20" fmla="*/ 884 w 1226"/>
                <a:gd name="T21" fmla="*/ 86 h 922"/>
                <a:gd name="T22" fmla="*/ 798 w 1226"/>
                <a:gd name="T23" fmla="*/ 86 h 922"/>
                <a:gd name="T24" fmla="*/ 798 w 1226"/>
                <a:gd name="T25" fmla="*/ 172 h 922"/>
                <a:gd name="T26" fmla="*/ 435 w 1226"/>
                <a:gd name="T27" fmla="*/ 172 h 922"/>
                <a:gd name="T28" fmla="*/ 435 w 1226"/>
                <a:gd name="T29" fmla="*/ 86 h 922"/>
                <a:gd name="T30" fmla="*/ 349 w 1226"/>
                <a:gd name="T31" fmla="*/ 86 h 922"/>
                <a:gd name="T32" fmla="*/ 349 w 1226"/>
                <a:gd name="T33" fmla="*/ 0 h 922"/>
                <a:gd name="T34" fmla="*/ 278 w 1226"/>
                <a:gd name="T35" fmla="*/ 0 h 922"/>
                <a:gd name="T36" fmla="*/ 278 w 1226"/>
                <a:gd name="T37" fmla="*/ 86 h 922"/>
                <a:gd name="T38" fmla="*/ 192 w 1226"/>
                <a:gd name="T39" fmla="*/ 86 h 922"/>
                <a:gd name="T40" fmla="*/ 192 w 1226"/>
                <a:gd name="T41" fmla="*/ 172 h 922"/>
                <a:gd name="T42" fmla="*/ 0 w 1226"/>
                <a:gd name="T43" fmla="*/ 172 h 922"/>
                <a:gd name="T44" fmla="*/ 0 w 1226"/>
                <a:gd name="T45" fmla="*/ 922 h 922"/>
                <a:gd name="T46" fmla="*/ 1226 w 1226"/>
                <a:gd name="T47" fmla="*/ 922 h 922"/>
                <a:gd name="T48" fmla="*/ 1226 w 1226"/>
                <a:gd name="T49" fmla="*/ 172 h 922"/>
                <a:gd name="T50" fmla="*/ 1033 w 1226"/>
                <a:gd name="T51" fmla="*/ 172 h 922"/>
                <a:gd name="T52" fmla="*/ 1169 w 1226"/>
                <a:gd name="T53" fmla="*/ 865 h 922"/>
                <a:gd name="T54" fmla="*/ 64 w 1226"/>
                <a:gd name="T55" fmla="*/ 865 h 922"/>
                <a:gd name="T56" fmla="*/ 64 w 1226"/>
                <a:gd name="T57" fmla="*/ 364 h 922"/>
                <a:gd name="T58" fmla="*/ 1169 w 1226"/>
                <a:gd name="T59" fmla="*/ 364 h 922"/>
                <a:gd name="T60" fmla="*/ 1169 w 1226"/>
                <a:gd name="T61" fmla="*/ 865 h 922"/>
                <a:gd name="T62" fmla="*/ 292 w 1226"/>
                <a:gd name="T63" fmla="*/ 543 h 922"/>
                <a:gd name="T64" fmla="*/ 335 w 1226"/>
                <a:gd name="T65" fmla="*/ 543 h 922"/>
                <a:gd name="T66" fmla="*/ 335 w 1226"/>
                <a:gd name="T67" fmla="*/ 622 h 922"/>
                <a:gd name="T68" fmla="*/ 420 w 1226"/>
                <a:gd name="T69" fmla="*/ 622 h 922"/>
                <a:gd name="T70" fmla="*/ 420 w 1226"/>
                <a:gd name="T71" fmla="*/ 672 h 922"/>
                <a:gd name="T72" fmla="*/ 335 w 1226"/>
                <a:gd name="T73" fmla="*/ 672 h 922"/>
                <a:gd name="T74" fmla="*/ 335 w 1226"/>
                <a:gd name="T75" fmla="*/ 750 h 922"/>
                <a:gd name="T76" fmla="*/ 292 w 1226"/>
                <a:gd name="T77" fmla="*/ 750 h 922"/>
                <a:gd name="T78" fmla="*/ 292 w 1226"/>
                <a:gd name="T79" fmla="*/ 672 h 922"/>
                <a:gd name="T80" fmla="*/ 207 w 1226"/>
                <a:gd name="T81" fmla="*/ 672 h 922"/>
                <a:gd name="T82" fmla="*/ 207 w 1226"/>
                <a:gd name="T83" fmla="*/ 622 h 922"/>
                <a:gd name="T84" fmla="*/ 292 w 1226"/>
                <a:gd name="T85" fmla="*/ 622 h 922"/>
                <a:gd name="T86" fmla="*/ 292 w 1226"/>
                <a:gd name="T87" fmla="*/ 543 h 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26" h="922">
                  <a:moveTo>
                    <a:pt x="1019" y="622"/>
                  </a:moveTo>
                  <a:lnTo>
                    <a:pt x="1019" y="672"/>
                  </a:lnTo>
                  <a:lnTo>
                    <a:pt x="805" y="672"/>
                  </a:lnTo>
                  <a:lnTo>
                    <a:pt x="805" y="622"/>
                  </a:lnTo>
                  <a:lnTo>
                    <a:pt x="1019" y="622"/>
                  </a:lnTo>
                  <a:close/>
                  <a:moveTo>
                    <a:pt x="1033" y="172"/>
                  </a:moveTo>
                  <a:lnTo>
                    <a:pt x="1033" y="86"/>
                  </a:lnTo>
                  <a:lnTo>
                    <a:pt x="948" y="86"/>
                  </a:lnTo>
                  <a:lnTo>
                    <a:pt x="948" y="0"/>
                  </a:lnTo>
                  <a:lnTo>
                    <a:pt x="884" y="0"/>
                  </a:lnTo>
                  <a:lnTo>
                    <a:pt x="884" y="86"/>
                  </a:lnTo>
                  <a:lnTo>
                    <a:pt x="798" y="86"/>
                  </a:lnTo>
                  <a:lnTo>
                    <a:pt x="798" y="172"/>
                  </a:lnTo>
                  <a:lnTo>
                    <a:pt x="435" y="172"/>
                  </a:lnTo>
                  <a:lnTo>
                    <a:pt x="435" y="86"/>
                  </a:lnTo>
                  <a:lnTo>
                    <a:pt x="349" y="86"/>
                  </a:lnTo>
                  <a:lnTo>
                    <a:pt x="349" y="0"/>
                  </a:lnTo>
                  <a:lnTo>
                    <a:pt x="278" y="0"/>
                  </a:lnTo>
                  <a:lnTo>
                    <a:pt x="278" y="86"/>
                  </a:lnTo>
                  <a:lnTo>
                    <a:pt x="192" y="86"/>
                  </a:lnTo>
                  <a:lnTo>
                    <a:pt x="192" y="172"/>
                  </a:lnTo>
                  <a:lnTo>
                    <a:pt x="0" y="172"/>
                  </a:lnTo>
                  <a:lnTo>
                    <a:pt x="0" y="922"/>
                  </a:lnTo>
                  <a:lnTo>
                    <a:pt x="1226" y="922"/>
                  </a:lnTo>
                  <a:lnTo>
                    <a:pt x="1226" y="172"/>
                  </a:lnTo>
                  <a:lnTo>
                    <a:pt x="1033" y="172"/>
                  </a:lnTo>
                  <a:close/>
                  <a:moveTo>
                    <a:pt x="1169" y="865"/>
                  </a:moveTo>
                  <a:lnTo>
                    <a:pt x="64" y="865"/>
                  </a:lnTo>
                  <a:lnTo>
                    <a:pt x="64" y="364"/>
                  </a:lnTo>
                  <a:lnTo>
                    <a:pt x="1169" y="364"/>
                  </a:lnTo>
                  <a:lnTo>
                    <a:pt x="1169" y="865"/>
                  </a:lnTo>
                  <a:close/>
                  <a:moveTo>
                    <a:pt x="292" y="543"/>
                  </a:moveTo>
                  <a:lnTo>
                    <a:pt x="335" y="543"/>
                  </a:lnTo>
                  <a:lnTo>
                    <a:pt x="335" y="622"/>
                  </a:lnTo>
                  <a:lnTo>
                    <a:pt x="420" y="622"/>
                  </a:lnTo>
                  <a:lnTo>
                    <a:pt x="420" y="672"/>
                  </a:lnTo>
                  <a:lnTo>
                    <a:pt x="335" y="672"/>
                  </a:lnTo>
                  <a:lnTo>
                    <a:pt x="335" y="750"/>
                  </a:lnTo>
                  <a:lnTo>
                    <a:pt x="292" y="750"/>
                  </a:lnTo>
                  <a:lnTo>
                    <a:pt x="292" y="672"/>
                  </a:lnTo>
                  <a:lnTo>
                    <a:pt x="207" y="672"/>
                  </a:lnTo>
                  <a:lnTo>
                    <a:pt x="207" y="622"/>
                  </a:lnTo>
                  <a:lnTo>
                    <a:pt x="292" y="622"/>
                  </a:lnTo>
                  <a:lnTo>
                    <a:pt x="292" y="543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9"/>
            <p:cNvSpPr>
              <a:spLocks noEditPoints="1"/>
            </p:cNvSpPr>
            <p:nvPr/>
          </p:nvSpPr>
          <p:spPr bwMode="auto">
            <a:xfrm flipH="1">
              <a:off x="1397116" y="3309558"/>
              <a:ext cx="778258" cy="928667"/>
            </a:xfrm>
            <a:custGeom>
              <a:avLst/>
              <a:gdLst>
                <a:gd name="T0" fmla="*/ 1126 w 1247"/>
                <a:gd name="T1" fmla="*/ 1139 h 1488"/>
                <a:gd name="T2" fmla="*/ 121 w 1247"/>
                <a:gd name="T3" fmla="*/ 1139 h 1488"/>
                <a:gd name="T4" fmla="*/ 121 w 1247"/>
                <a:gd name="T5" fmla="*/ 1075 h 1488"/>
                <a:gd name="T6" fmla="*/ 1126 w 1247"/>
                <a:gd name="T7" fmla="*/ 1075 h 1488"/>
                <a:gd name="T8" fmla="*/ 1126 w 1247"/>
                <a:gd name="T9" fmla="*/ 1139 h 1488"/>
                <a:gd name="T10" fmla="*/ 1112 w 1247"/>
                <a:gd name="T11" fmla="*/ 0 h 1488"/>
                <a:gd name="T12" fmla="*/ 1112 w 1247"/>
                <a:gd name="T13" fmla="*/ 755 h 1488"/>
                <a:gd name="T14" fmla="*/ 741 w 1247"/>
                <a:gd name="T15" fmla="*/ 541 h 1488"/>
                <a:gd name="T16" fmla="*/ 741 w 1247"/>
                <a:gd name="T17" fmla="*/ 755 h 1488"/>
                <a:gd name="T18" fmla="*/ 371 w 1247"/>
                <a:gd name="T19" fmla="*/ 541 h 1488"/>
                <a:gd name="T20" fmla="*/ 371 w 1247"/>
                <a:gd name="T21" fmla="*/ 755 h 1488"/>
                <a:gd name="T22" fmla="*/ 0 w 1247"/>
                <a:gd name="T23" fmla="*/ 541 h 1488"/>
                <a:gd name="T24" fmla="*/ 0 w 1247"/>
                <a:gd name="T25" fmla="*/ 1488 h 1488"/>
                <a:gd name="T26" fmla="*/ 1247 w 1247"/>
                <a:gd name="T27" fmla="*/ 1488 h 1488"/>
                <a:gd name="T28" fmla="*/ 1247 w 1247"/>
                <a:gd name="T29" fmla="*/ 0 h 1488"/>
                <a:gd name="T30" fmla="*/ 1112 w 1247"/>
                <a:gd name="T31" fmla="*/ 0 h 1488"/>
                <a:gd name="T32" fmla="*/ 1126 w 1247"/>
                <a:gd name="T33" fmla="*/ 990 h 1488"/>
                <a:gd name="T34" fmla="*/ 121 w 1247"/>
                <a:gd name="T35" fmla="*/ 990 h 1488"/>
                <a:gd name="T36" fmla="*/ 121 w 1247"/>
                <a:gd name="T37" fmla="*/ 918 h 1488"/>
                <a:gd name="T38" fmla="*/ 1126 w 1247"/>
                <a:gd name="T39" fmla="*/ 918 h 1488"/>
                <a:gd name="T40" fmla="*/ 1126 w 1247"/>
                <a:gd name="T41" fmla="*/ 990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47" h="1488">
                  <a:moveTo>
                    <a:pt x="1126" y="1139"/>
                  </a:moveTo>
                  <a:lnTo>
                    <a:pt x="121" y="1139"/>
                  </a:lnTo>
                  <a:lnTo>
                    <a:pt x="121" y="1075"/>
                  </a:lnTo>
                  <a:lnTo>
                    <a:pt x="1126" y="1075"/>
                  </a:lnTo>
                  <a:lnTo>
                    <a:pt x="1126" y="1139"/>
                  </a:lnTo>
                  <a:close/>
                  <a:moveTo>
                    <a:pt x="1112" y="0"/>
                  </a:moveTo>
                  <a:lnTo>
                    <a:pt x="1112" y="755"/>
                  </a:lnTo>
                  <a:lnTo>
                    <a:pt x="741" y="541"/>
                  </a:lnTo>
                  <a:lnTo>
                    <a:pt x="741" y="755"/>
                  </a:lnTo>
                  <a:lnTo>
                    <a:pt x="371" y="541"/>
                  </a:lnTo>
                  <a:lnTo>
                    <a:pt x="371" y="755"/>
                  </a:lnTo>
                  <a:lnTo>
                    <a:pt x="0" y="541"/>
                  </a:lnTo>
                  <a:lnTo>
                    <a:pt x="0" y="1488"/>
                  </a:lnTo>
                  <a:lnTo>
                    <a:pt x="1247" y="1488"/>
                  </a:lnTo>
                  <a:lnTo>
                    <a:pt x="1247" y="0"/>
                  </a:lnTo>
                  <a:lnTo>
                    <a:pt x="1112" y="0"/>
                  </a:lnTo>
                  <a:close/>
                  <a:moveTo>
                    <a:pt x="1126" y="990"/>
                  </a:moveTo>
                  <a:lnTo>
                    <a:pt x="121" y="990"/>
                  </a:lnTo>
                  <a:lnTo>
                    <a:pt x="121" y="918"/>
                  </a:lnTo>
                  <a:lnTo>
                    <a:pt x="1126" y="918"/>
                  </a:lnTo>
                  <a:lnTo>
                    <a:pt x="1126" y="99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7" name="Inhaltsplatzhalter 4"/>
          <p:cNvSpPr txBox="1">
            <a:spLocks/>
          </p:cNvSpPr>
          <p:nvPr/>
        </p:nvSpPr>
        <p:spPr>
          <a:xfrm>
            <a:off x="8793130" y="2046040"/>
            <a:ext cx="3349255" cy="4534206"/>
          </a:xfrm>
          <a:prstGeom prst="rect">
            <a:avLst/>
          </a:prstGeom>
        </p:spPr>
        <p:txBody>
          <a:bodyPr bIns="0" anchor="t"/>
          <a:lstStyle/>
          <a:p>
            <a:pPr marL="0" marR="0" lvl="1" indent="1588" algn="l" defTabSz="914400" rtl="0" eaLnBrk="1" fontAlgn="base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Optimierung</a:t>
            </a:r>
            <a:r>
              <a:rPr kumimoji="0" lang="en-US" sz="2400" b="1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kumimoji="0" lang="en-US" sz="2400" b="1" i="0" u="none" strike="noStrike" kern="0" cap="none" spc="0" normalizeH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Energiekosten</a:t>
            </a:r>
            <a:r>
              <a:rPr kumimoji="0" lang="en-US" sz="2400" b="1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kumimoji="0" lang="en-US" sz="2400" b="1" i="0" u="none" strike="noStrike" kern="0" cap="none" spc="0" normalizeH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v.a</a:t>
            </a:r>
            <a:r>
              <a:rPr kumimoji="0" lang="en-US" sz="2400" b="1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. </a:t>
            </a:r>
            <a:r>
              <a:rPr kumimoji="0" lang="en-US" sz="2400" b="1" i="0" u="none" strike="noStrike" kern="0" cap="none" spc="0" normalizeH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im</a:t>
            </a:r>
            <a:r>
              <a:rPr kumimoji="0" lang="en-US" sz="2400" b="1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kumimoji="0" lang="en-US" sz="2400" b="1" i="0" u="none" strike="noStrike" kern="0" cap="none" spc="0" normalizeH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Industriebereich</a:t>
            </a:r>
            <a:r>
              <a:rPr kumimoji="0" lang="en-US" sz="2400" b="1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.</a:t>
            </a:r>
          </a:p>
          <a:p>
            <a:pPr marL="0" marR="0" lvl="1" indent="1588" algn="l" defTabSz="914400" rtl="0" eaLnBrk="1" fontAlgn="base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sz="2400" b="1" kern="0" noProof="0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Grundlage</a:t>
            </a:r>
            <a:r>
              <a:rPr lang="en-US" sz="2400" b="1" kern="0" noProof="0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400" b="1" kern="0" noProof="0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zukünftiger</a:t>
            </a:r>
            <a:r>
              <a:rPr lang="en-US" sz="2400" b="1" kern="0" noProof="0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400" b="1" kern="0" noProof="0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Netzstruktur</a:t>
            </a:r>
            <a:r>
              <a:rPr lang="en-US" sz="2400" b="1" kern="0" noProof="0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.</a:t>
            </a:r>
          </a:p>
          <a:p>
            <a:pPr marL="0" marR="0" lvl="1" indent="1588" algn="l" defTabSz="914400" rtl="0" eaLnBrk="1" fontAlgn="base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Versorger</a:t>
            </a:r>
            <a:r>
              <a:rPr kumimoji="0" lang="en-US" sz="2400" b="1" i="0" u="none" strike="noStrike" kern="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,</a:t>
            </a:r>
            <a:r>
              <a:rPr kumimoji="0" lang="en-US" sz="2400" b="1" i="0" u="none" strike="noStrike" kern="0" cap="none" spc="0" normalizeH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 VNBs </a:t>
            </a:r>
            <a:r>
              <a:rPr kumimoji="0" lang="en-US" sz="2400" b="1" i="0" u="none" strike="noStrike" kern="0" cap="none" spc="0" normalizeH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als</a:t>
            </a:r>
            <a:r>
              <a:rPr kumimoji="0" lang="en-US" sz="2400" b="1" i="0" u="none" strike="noStrike" kern="0" cap="none" spc="0" normalizeH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kumimoji="0" lang="en-US" sz="2400" b="1" i="0" u="none" strike="noStrike" kern="0" cap="none" spc="0" normalizeH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Systemdienstleister</a:t>
            </a:r>
            <a:r>
              <a:rPr kumimoji="0" lang="en-US" sz="2400" b="1" i="0" u="none" strike="noStrike" kern="0" cap="none" spc="0" normalizeH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. 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emens Slab" pitchFamily="2" charset="0"/>
              <a:ea typeface="+mn-ea"/>
              <a:cs typeface="Arial" pitchFamily="34" charset="0"/>
            </a:endParaRPr>
          </a:p>
          <a:p>
            <a:pPr marL="0" marR="0" lvl="1" indent="1588" algn="l" defTabSz="914400" rtl="0" eaLnBrk="1" fontAlgn="base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endParaRPr kumimoji="0" 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emens Slab" pitchFamily="2" charset="0"/>
              <a:ea typeface="+mn-ea"/>
              <a:cs typeface="Arial" pitchFamily="34" charset="0"/>
            </a:endParaRPr>
          </a:p>
          <a:p>
            <a:pPr marL="0" marR="0" lvl="1" indent="1588" algn="l" defTabSz="914400" rtl="0" eaLnBrk="1" fontAlgn="base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 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emens Slab" pitchFamily="2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0133823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hteck 46"/>
          <p:cNvSpPr/>
          <p:nvPr/>
        </p:nvSpPr>
        <p:spPr bwMode="auto">
          <a:xfrm>
            <a:off x="8836025" y="1412875"/>
            <a:ext cx="3362325" cy="4752975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/>
        </p:spPr>
        <p:txBody>
          <a:bodyPr wrap="square" lIns="216000" tIns="54000" rIns="540000" bIns="54000" numCol="1" spcCol="72000" rtlCol="0" anchor="ctr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bg1"/>
                </a:solidFill>
                <a:latin typeface="Siemens Slab" pitchFamily="2" charset="0"/>
              </a:rPr>
              <a:t>Mögliche</a:t>
            </a:r>
            <a:r>
              <a:rPr lang="en-US" sz="2000" b="1" dirty="0" smtClean="0">
                <a:solidFill>
                  <a:schemeClr val="bg1"/>
                </a:solidFill>
                <a:latin typeface="Siemens Slab" pitchFamily="2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Siemens Slab" pitchFamily="2" charset="0"/>
              </a:rPr>
              <a:t>Zellen</a:t>
            </a:r>
            <a:endParaRPr lang="en-US" sz="2000" b="1" dirty="0">
              <a:solidFill>
                <a:schemeClr val="bg1"/>
              </a:solidFill>
              <a:latin typeface="Siemens Slab" pitchFamily="2" charset="0"/>
            </a:endParaRPr>
          </a:p>
          <a:p>
            <a:pPr marL="179388" indent="-179388">
              <a:lnSpc>
                <a:spcPct val="110000"/>
              </a:lnSpc>
              <a:spcBef>
                <a:spcPct val="0"/>
              </a:spcBef>
              <a:buClr>
                <a:srgbClr val="55A0B9"/>
              </a:buClr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bg1"/>
                </a:solidFill>
                <a:latin typeface="+mn-lt"/>
              </a:rPr>
              <a:t>Gemeinden</a:t>
            </a:r>
            <a:endParaRPr lang="en-US" dirty="0">
              <a:solidFill>
                <a:schemeClr val="bg1"/>
              </a:solidFill>
              <a:latin typeface="+mn-lt"/>
            </a:endParaRPr>
          </a:p>
          <a:p>
            <a:pPr marL="179388" indent="-179388">
              <a:lnSpc>
                <a:spcPct val="110000"/>
              </a:lnSpc>
              <a:spcBef>
                <a:spcPct val="0"/>
              </a:spcBef>
              <a:buClr>
                <a:srgbClr val="55A0B9"/>
              </a:buClr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bg1"/>
                </a:solidFill>
                <a:latin typeface="+mn-lt"/>
              </a:rPr>
              <a:t>Fabriken</a:t>
            </a:r>
            <a:endParaRPr lang="en-US" dirty="0">
              <a:solidFill>
                <a:schemeClr val="bg1"/>
              </a:solidFill>
              <a:latin typeface="+mn-lt"/>
            </a:endParaRPr>
          </a:p>
          <a:p>
            <a:pPr marL="179388" indent="-179388">
              <a:lnSpc>
                <a:spcPct val="110000"/>
              </a:lnSpc>
              <a:spcBef>
                <a:spcPct val="0"/>
              </a:spcBef>
              <a:buClr>
                <a:srgbClr val="55A0B9"/>
              </a:buClr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bg1"/>
                </a:solidFill>
                <a:latin typeface="+mn-lt"/>
              </a:rPr>
              <a:t>Kraftwerke</a:t>
            </a:r>
            <a:endParaRPr lang="en-US" dirty="0">
              <a:solidFill>
                <a:schemeClr val="bg1"/>
              </a:solidFill>
              <a:latin typeface="+mn-lt"/>
            </a:endParaRPr>
          </a:p>
          <a:p>
            <a:pPr marL="179388" indent="-179388">
              <a:lnSpc>
                <a:spcPct val="110000"/>
              </a:lnSpc>
              <a:spcBef>
                <a:spcPct val="0"/>
              </a:spcBef>
              <a:buClr>
                <a:srgbClr val="55A0B9"/>
              </a:buClr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bg1"/>
                </a:solidFill>
                <a:latin typeface="+mn-lt"/>
              </a:rPr>
              <a:t>Speicher</a:t>
            </a:r>
            <a:endParaRPr lang="en-US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000" b="1" dirty="0">
              <a:solidFill>
                <a:schemeClr val="bg1"/>
              </a:solidFill>
              <a:latin typeface="Siemens Slab" pitchFamily="2" charset="0"/>
            </a:endParaRPr>
          </a:p>
          <a:p>
            <a:pPr marL="285750" indent="-28575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err="1" smtClean="0">
                <a:solidFill>
                  <a:schemeClr val="bg1"/>
                </a:solidFill>
                <a:latin typeface="Siemens Slab" pitchFamily="2" charset="0"/>
              </a:rPr>
              <a:t>Beitrag</a:t>
            </a:r>
            <a:endParaRPr lang="en-US" sz="2000" b="1" dirty="0">
              <a:solidFill>
                <a:schemeClr val="bg1"/>
              </a:solidFill>
              <a:latin typeface="Siemens Slab" pitchFamily="2" charset="0"/>
            </a:endParaRPr>
          </a:p>
          <a:p>
            <a:pPr marL="179388" indent="-179388">
              <a:lnSpc>
                <a:spcPct val="110000"/>
              </a:lnSpc>
              <a:spcBef>
                <a:spcPct val="0"/>
              </a:spcBef>
              <a:buClr>
                <a:srgbClr val="55A0B9"/>
              </a:buClr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bg1"/>
                </a:solidFill>
                <a:latin typeface="+mn-lt"/>
              </a:rPr>
              <a:t>Erzeugung</a:t>
            </a:r>
            <a:endParaRPr lang="en-US" dirty="0">
              <a:solidFill>
                <a:schemeClr val="bg1"/>
              </a:solidFill>
              <a:latin typeface="+mn-lt"/>
            </a:endParaRPr>
          </a:p>
          <a:p>
            <a:pPr marL="179388" indent="-179388">
              <a:lnSpc>
                <a:spcPct val="110000"/>
              </a:lnSpc>
              <a:spcBef>
                <a:spcPct val="0"/>
              </a:spcBef>
              <a:buClr>
                <a:srgbClr val="55A0B9"/>
              </a:buClr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bg1"/>
                </a:solidFill>
                <a:latin typeface="+mn-lt"/>
              </a:rPr>
              <a:t>Speicher</a:t>
            </a:r>
            <a:endParaRPr lang="en-US" dirty="0">
              <a:solidFill>
                <a:schemeClr val="bg1"/>
              </a:solidFill>
              <a:latin typeface="+mn-lt"/>
            </a:endParaRPr>
          </a:p>
          <a:p>
            <a:pPr marL="179388" indent="-179388">
              <a:lnSpc>
                <a:spcPct val="110000"/>
              </a:lnSpc>
              <a:spcBef>
                <a:spcPct val="0"/>
              </a:spcBef>
              <a:buClr>
                <a:srgbClr val="55A0B9"/>
              </a:buClr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bg1"/>
                </a:solidFill>
                <a:latin typeface="+mn-lt"/>
              </a:rPr>
              <a:t>Thermische</a:t>
            </a:r>
            <a:r>
              <a:rPr lang="en-US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n-US" dirty="0" err="1" smtClean="0">
                <a:solidFill>
                  <a:schemeClr val="bg1"/>
                </a:solidFill>
                <a:latin typeface="+mn-lt"/>
              </a:rPr>
              <a:t>Lasten</a:t>
            </a:r>
            <a:r>
              <a:rPr lang="en-US" dirty="0" smtClean="0">
                <a:solidFill>
                  <a:schemeClr val="bg1"/>
                </a:solidFill>
                <a:latin typeface="+mn-lt"/>
              </a:rPr>
              <a:t>/</a:t>
            </a:r>
            <a:r>
              <a:rPr lang="en-US" dirty="0" err="1" smtClean="0">
                <a:solidFill>
                  <a:schemeClr val="bg1"/>
                </a:solidFill>
                <a:latin typeface="+mn-lt"/>
              </a:rPr>
              <a:t>Erzeugung</a:t>
            </a:r>
            <a:endParaRPr lang="en-US" dirty="0">
              <a:solidFill>
                <a:schemeClr val="bg1"/>
              </a:solidFill>
              <a:latin typeface="+mn-lt"/>
            </a:endParaRPr>
          </a:p>
          <a:p>
            <a:pPr marL="179388" indent="-179388">
              <a:lnSpc>
                <a:spcPct val="110000"/>
              </a:lnSpc>
              <a:spcBef>
                <a:spcPct val="0"/>
              </a:spcBef>
              <a:buClr>
                <a:srgbClr val="55A0B9"/>
              </a:buClr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bg1"/>
                </a:solidFill>
                <a:latin typeface="+mn-lt"/>
              </a:rPr>
              <a:t>Lasten</a:t>
            </a: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e </a:t>
            </a:r>
            <a:r>
              <a:rPr lang="en-US" dirty="0" err="1" smtClean="0"/>
              <a:t>Zukunft</a:t>
            </a:r>
            <a:r>
              <a:rPr lang="en-US" dirty="0" smtClean="0"/>
              <a:t>: </a:t>
            </a:r>
            <a:r>
              <a:rPr lang="en-US" dirty="0" err="1" smtClean="0"/>
              <a:t>Zellulare</a:t>
            </a:r>
            <a:r>
              <a:rPr lang="en-US" dirty="0" smtClean="0"/>
              <a:t> </a:t>
            </a:r>
            <a:r>
              <a:rPr lang="en-US" dirty="0" err="1" smtClean="0"/>
              <a:t>Strukturen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6" name="Ellipse 5"/>
          <p:cNvSpPr/>
          <p:nvPr/>
        </p:nvSpPr>
        <p:spPr bwMode="auto">
          <a:xfrm>
            <a:off x="4306537" y="4683719"/>
            <a:ext cx="969665" cy="969665"/>
          </a:xfrm>
          <a:prstGeom prst="ellipse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none" lIns="0" tIns="0" rIns="0" bIns="0" spcCol="72000" anchor="ctr"/>
          <a:lstStyle/>
          <a:p>
            <a:pPr algn="ctr" eaLnBrk="1" hangingPunct="1">
              <a:lnSpc>
                <a:spcPct val="110000"/>
              </a:lnSpc>
            </a:pPr>
            <a:r>
              <a:rPr lang="en-US" b="1" smtClean="0">
                <a:solidFill>
                  <a:schemeClr val="bg1"/>
                </a:solidFill>
              </a:rPr>
              <a:t>Cell 4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1831309" y="2664408"/>
            <a:ext cx="969665" cy="969665"/>
          </a:xfrm>
          <a:prstGeom prst="ellipse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none" lIns="0" tIns="0" rIns="0" bIns="0" spcCol="72000" anchor="ctr"/>
          <a:lstStyle/>
          <a:p>
            <a:pPr algn="ctr" eaLnBrk="1" hangingPunct="1">
              <a:lnSpc>
                <a:spcPct val="110000"/>
              </a:lnSpc>
            </a:pPr>
            <a:r>
              <a:rPr lang="en-US" b="1" dirty="0" smtClean="0">
                <a:solidFill>
                  <a:schemeClr val="bg1"/>
                </a:solidFill>
              </a:rPr>
              <a:t>Cell 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1524277" y="4798557"/>
            <a:ext cx="969665" cy="969665"/>
          </a:xfrm>
          <a:prstGeom prst="ellipse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none" lIns="0" tIns="0" rIns="0" bIns="0" spcCol="72000" anchor="ctr"/>
          <a:lstStyle/>
          <a:p>
            <a:pPr algn="ctr" eaLnBrk="1" hangingPunct="1">
              <a:lnSpc>
                <a:spcPct val="110000"/>
              </a:lnSpc>
            </a:pPr>
            <a:r>
              <a:rPr lang="en-US" b="1" smtClean="0">
                <a:solidFill>
                  <a:schemeClr val="bg1"/>
                </a:solidFill>
              </a:rPr>
              <a:t>Cell 2</a:t>
            </a:r>
            <a:endParaRPr lang="en-US" b="1">
              <a:solidFill>
                <a:schemeClr val="bg1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 flipV="1">
            <a:off x="1006314" y="1988172"/>
            <a:ext cx="5927886" cy="2558717"/>
          </a:xfrm>
          <a:prstGeom prst="line">
            <a:avLst/>
          </a:prstGeom>
          <a:solidFill>
            <a:schemeClr val="tx2"/>
          </a:solidFill>
          <a:ln w="25400" cap="flat" cmpd="sng" algn="ctr">
            <a:solidFill>
              <a:srgbClr val="FFB9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/>
          <p:nvPr/>
        </p:nvCxnSpPr>
        <p:spPr bwMode="auto">
          <a:xfrm flipV="1">
            <a:off x="2202849" y="2626987"/>
            <a:ext cx="4293788" cy="3396555"/>
          </a:xfrm>
          <a:prstGeom prst="line">
            <a:avLst/>
          </a:prstGeom>
          <a:solidFill>
            <a:schemeClr val="tx2"/>
          </a:solidFill>
          <a:ln w="254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feld 17"/>
          <p:cNvSpPr txBox="1">
            <a:spLocks noChangeArrowheads="1"/>
          </p:cNvSpPr>
          <p:nvPr/>
        </p:nvSpPr>
        <p:spPr bwMode="auto">
          <a:xfrm>
            <a:off x="4180836" y="1412875"/>
            <a:ext cx="4439289" cy="37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algn="r">
              <a:lnSpc>
                <a:spcPct val="110000"/>
              </a:lnSpc>
            </a:pPr>
            <a:r>
              <a:rPr lang="en-US" altLang="en-US" sz="2400" b="1" dirty="0" err="1" smtClean="0">
                <a:solidFill>
                  <a:srgbClr val="FFB900"/>
                </a:solidFill>
                <a:latin typeface="Siemens Slab" pitchFamily="2" charset="0"/>
              </a:rPr>
              <a:t>Stromnetz</a:t>
            </a:r>
            <a:endParaRPr lang="en-US" altLang="en-US" sz="2400" b="1" dirty="0">
              <a:solidFill>
                <a:srgbClr val="FFB900"/>
              </a:solidFill>
              <a:latin typeface="Siemens Slab" pitchFamily="2" charset="0"/>
            </a:endParaRPr>
          </a:p>
        </p:txBody>
      </p:sp>
      <p:sp>
        <p:nvSpPr>
          <p:cNvPr id="13" name="Textfeld 18"/>
          <p:cNvSpPr txBox="1">
            <a:spLocks noChangeArrowheads="1"/>
          </p:cNvSpPr>
          <p:nvPr/>
        </p:nvSpPr>
        <p:spPr bwMode="auto">
          <a:xfrm>
            <a:off x="6496637" y="3236859"/>
            <a:ext cx="1199816" cy="37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</a:pPr>
            <a:r>
              <a:rPr lang="en-US" altLang="en-US" sz="2400" b="1" dirty="0" err="1" smtClean="0">
                <a:solidFill>
                  <a:schemeClr val="tx1"/>
                </a:solidFill>
                <a:latin typeface="Siemens Slab" pitchFamily="2" charset="0"/>
              </a:rPr>
              <a:t>Gasnetz</a:t>
            </a:r>
            <a:endParaRPr lang="en-US" altLang="en-US" sz="2400" b="1" dirty="0">
              <a:solidFill>
                <a:schemeClr val="tx1"/>
              </a:solidFill>
              <a:latin typeface="Siemens Slab" pitchFamily="2" charset="0"/>
            </a:endParaRPr>
          </a:p>
        </p:txBody>
      </p:sp>
      <p:cxnSp>
        <p:nvCxnSpPr>
          <p:cNvPr id="15" name="Gerade Verbindung 14"/>
          <p:cNvCxnSpPr/>
          <p:nvPr/>
        </p:nvCxnSpPr>
        <p:spPr bwMode="auto">
          <a:xfrm>
            <a:off x="2598537" y="3549238"/>
            <a:ext cx="277937" cy="18932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FFB9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15"/>
          <p:cNvCxnSpPr/>
          <p:nvPr/>
        </p:nvCxnSpPr>
        <p:spPr bwMode="auto">
          <a:xfrm flipH="1" flipV="1">
            <a:off x="3369491" y="3520661"/>
            <a:ext cx="45222" cy="21790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FFB9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16"/>
          <p:cNvCxnSpPr/>
          <p:nvPr/>
        </p:nvCxnSpPr>
        <p:spPr bwMode="auto">
          <a:xfrm>
            <a:off x="1237215" y="4469922"/>
            <a:ext cx="510264" cy="36773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FFB9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17"/>
          <p:cNvCxnSpPr/>
          <p:nvPr/>
        </p:nvCxnSpPr>
        <p:spPr bwMode="auto">
          <a:xfrm flipH="1" flipV="1">
            <a:off x="2324312" y="5633500"/>
            <a:ext cx="240878" cy="9692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>
            <a:stCxn id="6" idx="2"/>
          </p:cNvCxnSpPr>
          <p:nvPr/>
        </p:nvCxnSpPr>
        <p:spPr bwMode="auto">
          <a:xfrm flipH="1" flipV="1">
            <a:off x="2167949" y="4044951"/>
            <a:ext cx="2138588" cy="112360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FFB9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rade Verbindung 19"/>
          <p:cNvCxnSpPr/>
          <p:nvPr/>
        </p:nvCxnSpPr>
        <p:spPr bwMode="auto">
          <a:xfrm flipH="1" flipV="1">
            <a:off x="3909687" y="4683719"/>
            <a:ext cx="452763" cy="25023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20"/>
          <p:cNvCxnSpPr/>
          <p:nvPr/>
        </p:nvCxnSpPr>
        <p:spPr bwMode="auto">
          <a:xfrm flipH="1" flipV="1">
            <a:off x="2795507" y="3190926"/>
            <a:ext cx="2456880" cy="43838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 Verbindung 21"/>
          <p:cNvCxnSpPr>
            <a:endCxn id="5" idx="6"/>
          </p:cNvCxnSpPr>
          <p:nvPr/>
        </p:nvCxnSpPr>
        <p:spPr bwMode="auto">
          <a:xfrm flipH="1" flipV="1">
            <a:off x="4028436" y="4158002"/>
            <a:ext cx="420105" cy="8814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/>
        </p:nvCxnSpPr>
        <p:spPr bwMode="auto">
          <a:xfrm flipH="1">
            <a:off x="5389050" y="3516188"/>
            <a:ext cx="221061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 Verbindung mit Pfeil 23"/>
          <p:cNvCxnSpPr>
            <a:endCxn id="5" idx="1"/>
          </p:cNvCxnSpPr>
          <p:nvPr/>
        </p:nvCxnSpPr>
        <p:spPr bwMode="auto">
          <a:xfrm>
            <a:off x="2661107" y="3482177"/>
            <a:ext cx="539668" cy="332995"/>
          </a:xfrm>
          <a:prstGeom prst="straightConnector1">
            <a:avLst/>
          </a:prstGeom>
          <a:solidFill>
            <a:schemeClr val="tx2"/>
          </a:solidFill>
          <a:ln w="25400" cap="flat" cmpd="sng" algn="ctr">
            <a:solidFill>
              <a:srgbClr val="55A0B9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rade Verbindung mit Pfeil 24"/>
          <p:cNvCxnSpPr>
            <a:endCxn id="7" idx="2"/>
          </p:cNvCxnSpPr>
          <p:nvPr/>
        </p:nvCxnSpPr>
        <p:spPr bwMode="auto">
          <a:xfrm>
            <a:off x="2780834" y="3237022"/>
            <a:ext cx="2642539" cy="620237"/>
          </a:xfrm>
          <a:prstGeom prst="straightConnector1">
            <a:avLst/>
          </a:prstGeom>
          <a:solidFill>
            <a:schemeClr val="tx2"/>
          </a:solidFill>
          <a:ln w="25400" cap="flat" cmpd="sng" algn="ctr">
            <a:solidFill>
              <a:srgbClr val="55A0B9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mit Pfeil 25"/>
          <p:cNvCxnSpPr>
            <a:stCxn id="5" idx="5"/>
          </p:cNvCxnSpPr>
          <p:nvPr/>
        </p:nvCxnSpPr>
        <p:spPr bwMode="auto">
          <a:xfrm>
            <a:off x="3886432" y="4500830"/>
            <a:ext cx="590530" cy="311168"/>
          </a:xfrm>
          <a:prstGeom prst="straightConnector1">
            <a:avLst/>
          </a:prstGeom>
          <a:solidFill>
            <a:schemeClr val="tx2"/>
          </a:solidFill>
          <a:ln w="25400" cap="flat" cmpd="sng" algn="ctr">
            <a:solidFill>
              <a:srgbClr val="55A0B9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Gerade Verbindung mit Pfeil 26"/>
          <p:cNvCxnSpPr>
            <a:stCxn id="5" idx="3"/>
          </p:cNvCxnSpPr>
          <p:nvPr/>
        </p:nvCxnSpPr>
        <p:spPr bwMode="auto">
          <a:xfrm flipH="1">
            <a:off x="2421655" y="4500830"/>
            <a:ext cx="779120" cy="512138"/>
          </a:xfrm>
          <a:prstGeom prst="straightConnector1">
            <a:avLst/>
          </a:prstGeom>
          <a:solidFill>
            <a:schemeClr val="tx2"/>
          </a:solidFill>
          <a:ln w="25400" cap="flat" cmpd="sng" algn="ctr">
            <a:solidFill>
              <a:srgbClr val="55A0B9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mit Pfeil 27"/>
          <p:cNvCxnSpPr/>
          <p:nvPr/>
        </p:nvCxnSpPr>
        <p:spPr bwMode="auto">
          <a:xfrm flipV="1">
            <a:off x="3995205" y="3867013"/>
            <a:ext cx="1428168" cy="136830"/>
          </a:xfrm>
          <a:prstGeom prst="straightConnector1">
            <a:avLst/>
          </a:prstGeom>
          <a:solidFill>
            <a:schemeClr val="tx2"/>
          </a:solidFill>
          <a:ln w="25400" cap="flat" cmpd="sng" algn="ctr">
            <a:solidFill>
              <a:srgbClr val="55A0B9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 Verbindung mit Pfeil 28"/>
          <p:cNvCxnSpPr>
            <a:endCxn id="7" idx="3"/>
          </p:cNvCxnSpPr>
          <p:nvPr/>
        </p:nvCxnSpPr>
        <p:spPr bwMode="auto">
          <a:xfrm flipV="1">
            <a:off x="5072745" y="4200088"/>
            <a:ext cx="492632" cy="594807"/>
          </a:xfrm>
          <a:prstGeom prst="straightConnector1">
            <a:avLst/>
          </a:prstGeom>
          <a:solidFill>
            <a:schemeClr val="tx2"/>
          </a:solidFill>
          <a:ln w="25400" cap="flat" cmpd="sng" algn="ctr">
            <a:solidFill>
              <a:srgbClr val="55A0B9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>
            <a:endCxn id="9" idx="0"/>
          </p:cNvCxnSpPr>
          <p:nvPr/>
        </p:nvCxnSpPr>
        <p:spPr bwMode="auto">
          <a:xfrm flipH="1">
            <a:off x="2009109" y="3596202"/>
            <a:ext cx="158839" cy="1202355"/>
          </a:xfrm>
          <a:prstGeom prst="straightConnector1">
            <a:avLst/>
          </a:prstGeom>
          <a:solidFill>
            <a:schemeClr val="tx2"/>
          </a:solidFill>
          <a:ln w="25400" cap="flat" cmpd="sng" algn="ctr">
            <a:solidFill>
              <a:srgbClr val="55A0B9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feld 61"/>
          <p:cNvSpPr txBox="1">
            <a:spLocks noChangeArrowheads="1"/>
          </p:cNvSpPr>
          <p:nvPr/>
        </p:nvSpPr>
        <p:spPr bwMode="auto">
          <a:xfrm>
            <a:off x="627063" y="1986114"/>
            <a:ext cx="3368142" cy="37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</a:pPr>
            <a:r>
              <a:rPr lang="en-US" altLang="en-US" sz="2400" b="1" dirty="0" err="1" smtClean="0">
                <a:solidFill>
                  <a:srgbClr val="55A0B9"/>
                </a:solidFill>
                <a:latin typeface="Siemens Slab" pitchFamily="2" charset="0"/>
              </a:rPr>
              <a:t>Datenkommunikation</a:t>
            </a:r>
            <a:endParaRPr lang="en-US" altLang="en-US" sz="2400" b="1" dirty="0">
              <a:solidFill>
                <a:srgbClr val="55A0B9"/>
              </a:solidFill>
              <a:latin typeface="Siemens Slab" pitchFamily="2" charset="0"/>
            </a:endParaRPr>
          </a:p>
        </p:txBody>
      </p:sp>
      <p:cxnSp>
        <p:nvCxnSpPr>
          <p:cNvPr id="32" name="Gerade Verbindung 31"/>
          <p:cNvCxnSpPr/>
          <p:nvPr/>
        </p:nvCxnSpPr>
        <p:spPr bwMode="auto">
          <a:xfrm>
            <a:off x="4309616" y="1988172"/>
            <a:ext cx="3354025" cy="425810"/>
          </a:xfrm>
          <a:prstGeom prst="line">
            <a:avLst/>
          </a:prstGeom>
          <a:solidFill>
            <a:schemeClr val="tx2"/>
          </a:solidFill>
          <a:ln w="25400" cap="flat" cmpd="sng" algn="ctr">
            <a:solidFill>
              <a:srgbClr val="FFB9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32"/>
          <p:cNvCxnSpPr/>
          <p:nvPr/>
        </p:nvCxnSpPr>
        <p:spPr bwMode="auto">
          <a:xfrm>
            <a:off x="3909686" y="2675447"/>
            <a:ext cx="4005142" cy="360605"/>
          </a:xfrm>
          <a:prstGeom prst="line">
            <a:avLst/>
          </a:prstGeom>
          <a:solidFill>
            <a:schemeClr val="tx2"/>
          </a:solidFill>
          <a:ln w="254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Ellipse 4"/>
          <p:cNvSpPr/>
          <p:nvPr/>
        </p:nvSpPr>
        <p:spPr bwMode="auto">
          <a:xfrm>
            <a:off x="3058771" y="3673169"/>
            <a:ext cx="969665" cy="969665"/>
          </a:xfrm>
          <a:prstGeom prst="ellipse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none" lIns="0" tIns="0" rIns="0" bIns="0" spcCol="72000" anchor="ctr"/>
          <a:lstStyle/>
          <a:p>
            <a:pPr algn="ctr" eaLnBrk="1" hangingPunct="1">
              <a:lnSpc>
                <a:spcPct val="110000"/>
              </a:lnSpc>
            </a:pPr>
            <a:r>
              <a:rPr lang="en-US" b="1" dirty="0" smtClean="0">
                <a:solidFill>
                  <a:schemeClr val="bg1"/>
                </a:solidFill>
              </a:rPr>
              <a:t>Cell 3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" name="Ellipse 6"/>
          <p:cNvSpPr/>
          <p:nvPr/>
        </p:nvSpPr>
        <p:spPr bwMode="auto">
          <a:xfrm>
            <a:off x="5423373" y="3372427"/>
            <a:ext cx="969665" cy="969665"/>
          </a:xfrm>
          <a:prstGeom prst="ellipse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none" lIns="0" tIns="0" rIns="0" bIns="0" spcCol="72000" anchor="ctr"/>
          <a:lstStyle/>
          <a:p>
            <a:pPr algn="ctr" eaLnBrk="1" hangingPunct="1">
              <a:lnSpc>
                <a:spcPct val="110000"/>
              </a:lnSpc>
            </a:pPr>
            <a:r>
              <a:rPr lang="en-US" b="1" smtClean="0">
                <a:solidFill>
                  <a:schemeClr val="bg1"/>
                </a:solidFill>
              </a:rPr>
              <a:t>Cell 5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5766565" y="5332582"/>
            <a:ext cx="2853560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dirty="0" err="1" smtClean="0">
                <a:solidFill>
                  <a:srgbClr val="233746"/>
                </a:solidFill>
              </a:rPr>
              <a:t>Zellen</a:t>
            </a:r>
            <a:r>
              <a:rPr lang="en-US" dirty="0" smtClean="0">
                <a:solidFill>
                  <a:srgbClr val="233746"/>
                </a:solidFill>
              </a:rPr>
              <a:t> </a:t>
            </a:r>
            <a:r>
              <a:rPr lang="en-US" dirty="0" err="1" smtClean="0">
                <a:solidFill>
                  <a:srgbClr val="233746"/>
                </a:solidFill>
              </a:rPr>
              <a:t>verhandeln</a:t>
            </a:r>
            <a:r>
              <a:rPr lang="en-US" dirty="0" smtClean="0">
                <a:solidFill>
                  <a:srgbClr val="233746"/>
                </a:solidFill>
              </a:rPr>
              <a:t> </a:t>
            </a:r>
            <a:r>
              <a:rPr lang="en-US" dirty="0" err="1" smtClean="0">
                <a:solidFill>
                  <a:srgbClr val="233746"/>
                </a:solidFill>
              </a:rPr>
              <a:t>Energietransfer</a:t>
            </a:r>
            <a:r>
              <a:rPr lang="en-US" dirty="0" smtClean="0">
                <a:solidFill>
                  <a:srgbClr val="233746"/>
                </a:solidFill>
              </a:rPr>
              <a:t> </a:t>
            </a:r>
            <a:r>
              <a:rPr lang="en-US" dirty="0" err="1" smtClean="0">
                <a:solidFill>
                  <a:srgbClr val="233746"/>
                </a:solidFill>
              </a:rPr>
              <a:t>autonom</a:t>
            </a:r>
            <a:r>
              <a:rPr lang="en-US" dirty="0" smtClean="0">
                <a:solidFill>
                  <a:srgbClr val="233746"/>
                </a:solidFill>
              </a:rPr>
              <a:t> (</a:t>
            </a:r>
            <a:r>
              <a:rPr lang="en-US" dirty="0">
                <a:solidFill>
                  <a:srgbClr val="233746"/>
                </a:solidFill>
              </a:rPr>
              <a:t>peer-to-peer)</a:t>
            </a:r>
          </a:p>
        </p:txBody>
      </p:sp>
    </p:spTree>
    <p:extLst>
      <p:ext uri="{BB962C8B-B14F-4D97-AF65-F5344CB8AC3E}">
        <p14:creationId xmlns="" xmlns:p14="http://schemas.microsoft.com/office/powerpoint/2010/main" val="22694610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3795" name="think-cell Folie" r:id="rId4" imgW="270" imgH="270" progId="TCLayout.ActiveDocument.1">
              <p:embed/>
            </p:oleObj>
          </a:graphicData>
        </a:graphic>
      </p:graphicFrame>
      <p:pic>
        <p:nvPicPr>
          <p:cNvPr id="10" name="Grafik 9" descr="eine-wegschnecke-scheut-vor-keinem-hindernis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467853"/>
            <a:ext cx="12342812" cy="925710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Rechteck 4"/>
          <p:cNvSpPr/>
          <p:nvPr/>
        </p:nvSpPr>
        <p:spPr bwMode="auto">
          <a:xfrm>
            <a:off x="3174" y="0"/>
            <a:ext cx="12198348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6" name="Titel 6"/>
          <p:cNvSpPr txBox="1">
            <a:spLocks/>
          </p:cNvSpPr>
          <p:nvPr/>
        </p:nvSpPr>
        <p:spPr bwMode="ltGray">
          <a:xfrm>
            <a:off x="1318437" y="1147839"/>
            <a:ext cx="10397313" cy="1144347"/>
          </a:xfrm>
          <a:prstGeom prst="rect">
            <a:avLst/>
          </a:prstGeom>
          <a:solidFill>
            <a:srgbClr val="233746">
              <a:alpha val="8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180000" tIns="36000" rIns="18000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ct val="0"/>
              </a:spcBef>
              <a:defRPr sz="7500" b="1" kern="0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  <a:lvl2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sz="4000" dirty="0" smtClean="0"/>
              <a:t>Die Lösungen liegen vor – die Umsetzung stockt. </a:t>
            </a:r>
            <a:endParaRPr lang="de-DE" sz="4000" dirty="0"/>
          </a:p>
        </p:txBody>
      </p:sp>
      <p:sp>
        <p:nvSpPr>
          <p:cNvPr id="7" name="Titel 1"/>
          <p:cNvSpPr txBox="1">
            <a:spLocks/>
          </p:cNvSpPr>
          <p:nvPr/>
        </p:nvSpPr>
        <p:spPr bwMode="ltGray">
          <a:xfrm>
            <a:off x="4004487" y="3247582"/>
            <a:ext cx="2519362" cy="2519363"/>
          </a:xfrm>
          <a:prstGeom prst="rect">
            <a:avLst/>
          </a:prstGeom>
          <a:solidFill>
            <a:srgbClr val="233746">
              <a:alpha val="65097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432000" rIns="144000" bIns="216000" anchor="b"/>
          <a:lstStyle/>
          <a:p>
            <a:r>
              <a:rPr lang="en-US" dirty="0" err="1" smtClean="0">
                <a:solidFill>
                  <a:srgbClr val="FFFFFF"/>
                </a:solidFill>
              </a:rPr>
              <a:t>Rechtsrahmen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bietet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noch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keine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Investitionssicherheit</a:t>
            </a:r>
            <a:r>
              <a:rPr lang="en-US" dirty="0" smtClean="0">
                <a:solidFill>
                  <a:srgbClr val="FFFFFF"/>
                </a:solidFill>
              </a:rPr>
              <a:t>.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ltGray">
          <a:xfrm>
            <a:off x="1318437" y="3231707"/>
            <a:ext cx="2520950" cy="2519363"/>
          </a:xfrm>
          <a:prstGeom prst="rect">
            <a:avLst/>
          </a:prstGeom>
          <a:solidFill>
            <a:srgbClr val="233746">
              <a:alpha val="65097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432000" rIns="144000" bIns="216000" anchor="b"/>
          <a:lstStyle/>
          <a:p>
            <a:r>
              <a:rPr lang="en-US" dirty="0" err="1" smtClean="0">
                <a:solidFill>
                  <a:srgbClr val="FFFFFF"/>
                </a:solidFill>
              </a:rPr>
              <a:t>Investitions-entscheidungen</a:t>
            </a:r>
            <a:r>
              <a:rPr lang="en-US" dirty="0" smtClean="0">
                <a:solidFill>
                  <a:srgbClr val="FFFFFF"/>
                </a:solidFill>
              </a:rPr>
              <a:t> fallen </a:t>
            </a:r>
            <a:r>
              <a:rPr lang="en-US" dirty="0" err="1" smtClean="0">
                <a:solidFill>
                  <a:srgbClr val="FFFFFF"/>
                </a:solidFill>
              </a:rPr>
              <a:t>nu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zögerlich</a:t>
            </a:r>
            <a:r>
              <a:rPr lang="en-US" dirty="0" smtClean="0">
                <a:solidFill>
                  <a:srgbClr val="FFFFFF"/>
                </a:solidFill>
              </a:rPr>
              <a:t>.  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el 1"/>
          <p:cNvSpPr txBox="1">
            <a:spLocks/>
          </p:cNvSpPr>
          <p:nvPr/>
        </p:nvSpPr>
        <p:spPr bwMode="ltGray">
          <a:xfrm>
            <a:off x="6709587" y="3249170"/>
            <a:ext cx="2519362" cy="2519362"/>
          </a:xfrm>
          <a:prstGeom prst="rect">
            <a:avLst/>
          </a:prstGeom>
          <a:solidFill>
            <a:srgbClr val="233746">
              <a:alpha val="65097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432000" rIns="144000" bIns="216000" anchor="b"/>
          <a:lstStyle/>
          <a:p>
            <a:r>
              <a:rPr lang="en-US" dirty="0" err="1" smtClean="0">
                <a:solidFill>
                  <a:srgbClr val="FFFFFF"/>
                </a:solidFill>
              </a:rPr>
              <a:t>Akzeptanz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neue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Technologien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tritt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nu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schleppend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ein</a:t>
            </a:r>
            <a:r>
              <a:rPr lang="en-US" dirty="0" smtClean="0">
                <a:solidFill>
                  <a:srgbClr val="FFFFFF"/>
                </a:solidFill>
              </a:rPr>
              <a:t>. </a:t>
            </a:r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ernaussagen</a:t>
            </a:r>
            <a:endParaRPr lang="de-DE" dirty="0"/>
          </a:p>
        </p:txBody>
      </p:sp>
      <p:sp>
        <p:nvSpPr>
          <p:cNvPr id="4" name="Rectangle 63"/>
          <p:cNvSpPr>
            <a:spLocks noChangeArrowheads="1"/>
          </p:cNvSpPr>
          <p:nvPr/>
        </p:nvSpPr>
        <p:spPr bwMode="auto">
          <a:xfrm>
            <a:off x="587375" y="1906843"/>
            <a:ext cx="11069638" cy="638175"/>
          </a:xfrm>
          <a:prstGeom prst="rect">
            <a:avLst/>
          </a:prstGeom>
          <a:solidFill>
            <a:srgbClr val="3366AA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5" name="Rectangle 65"/>
          <p:cNvSpPr>
            <a:spLocks noChangeArrowheads="1"/>
          </p:cNvSpPr>
          <p:nvPr/>
        </p:nvSpPr>
        <p:spPr bwMode="auto">
          <a:xfrm>
            <a:off x="587375" y="2772030"/>
            <a:ext cx="11069638" cy="638175"/>
          </a:xfrm>
          <a:prstGeom prst="rect">
            <a:avLst/>
          </a:prstGeom>
          <a:solidFill>
            <a:srgbClr val="3366AA">
              <a:alpha val="85097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6" name="Rectangle 66"/>
          <p:cNvSpPr>
            <a:spLocks noChangeArrowheads="1"/>
          </p:cNvSpPr>
          <p:nvPr/>
        </p:nvSpPr>
        <p:spPr bwMode="auto">
          <a:xfrm>
            <a:off x="587375" y="3638805"/>
            <a:ext cx="11069638" cy="638175"/>
          </a:xfrm>
          <a:prstGeom prst="rect">
            <a:avLst/>
          </a:prstGeom>
          <a:solidFill>
            <a:srgbClr val="3366AA">
              <a:alpha val="70195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2200" b="1" dirty="0" smtClean="0">
                <a:solidFill>
                  <a:srgbClr val="FFFFFF"/>
                </a:solidFill>
              </a:rPr>
              <a:t>      </a:t>
            </a:r>
            <a:r>
              <a:rPr lang="en-US" sz="2200" b="1" dirty="0" err="1" smtClean="0">
                <a:solidFill>
                  <a:srgbClr val="FFFFFF"/>
                </a:solidFill>
              </a:rPr>
              <a:t>Lösungsbeitrag</a:t>
            </a:r>
            <a:r>
              <a:rPr lang="en-US" sz="2200" b="1" dirty="0" smtClean="0">
                <a:solidFill>
                  <a:srgbClr val="FFFFFF"/>
                </a:solidFill>
              </a:rPr>
              <a:t>: </a:t>
            </a:r>
            <a:r>
              <a:rPr lang="en-US" sz="2200" b="1" dirty="0" err="1" smtClean="0">
                <a:solidFill>
                  <a:srgbClr val="FFFFFF"/>
                </a:solidFill>
              </a:rPr>
              <a:t>Sicherheit</a:t>
            </a:r>
            <a:r>
              <a:rPr lang="en-US" sz="2200" b="1" dirty="0" smtClean="0">
                <a:solidFill>
                  <a:srgbClr val="FFFFFF"/>
                </a:solidFill>
              </a:rPr>
              <a:t>, </a:t>
            </a:r>
            <a:r>
              <a:rPr lang="en-US" sz="2200" b="1" dirty="0" err="1" smtClean="0">
                <a:solidFill>
                  <a:srgbClr val="FFFFFF"/>
                </a:solidFill>
              </a:rPr>
              <a:t>Effizienz</a:t>
            </a:r>
            <a:r>
              <a:rPr lang="en-US" sz="2200" b="1" dirty="0" smtClean="0">
                <a:solidFill>
                  <a:srgbClr val="FFFFFF"/>
                </a:solidFill>
              </a:rPr>
              <a:t>, </a:t>
            </a:r>
            <a:r>
              <a:rPr lang="en-US" sz="2200" b="1" dirty="0" err="1" smtClean="0">
                <a:solidFill>
                  <a:srgbClr val="FFFFFF"/>
                </a:solidFill>
              </a:rPr>
              <a:t>Kosten</a:t>
            </a:r>
            <a:r>
              <a:rPr lang="en-US" sz="2200" b="1" dirty="0" smtClean="0">
                <a:solidFill>
                  <a:srgbClr val="FFFFFF"/>
                </a:solidFill>
              </a:rPr>
              <a:t>- und </a:t>
            </a:r>
            <a:r>
              <a:rPr lang="en-US" sz="2200" b="1" dirty="0" err="1" smtClean="0">
                <a:solidFill>
                  <a:srgbClr val="FFFFFF"/>
                </a:solidFill>
              </a:rPr>
              <a:t>Prozessoptimierung</a:t>
            </a:r>
            <a:r>
              <a:rPr lang="en-US" b="1" dirty="0" smtClean="0">
                <a:solidFill>
                  <a:schemeClr val="bg2"/>
                </a:solidFill>
              </a:rPr>
              <a:t> </a:t>
            </a:r>
            <a:endParaRPr lang="en-US" b="1" dirty="0">
              <a:solidFill>
                <a:schemeClr val="bg2"/>
              </a:solidFill>
            </a:endParaRPr>
          </a:p>
        </p:txBody>
      </p:sp>
      <p:sp>
        <p:nvSpPr>
          <p:cNvPr id="7" name="Rectangle 67"/>
          <p:cNvSpPr>
            <a:spLocks noChangeArrowheads="1"/>
          </p:cNvSpPr>
          <p:nvPr/>
        </p:nvSpPr>
        <p:spPr bwMode="auto">
          <a:xfrm>
            <a:off x="587375" y="4503993"/>
            <a:ext cx="11069638" cy="638175"/>
          </a:xfrm>
          <a:prstGeom prst="rect">
            <a:avLst/>
          </a:prstGeom>
          <a:solidFill>
            <a:srgbClr val="3366AA">
              <a:alpha val="54901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8" name="Rectangle 68"/>
          <p:cNvSpPr>
            <a:spLocks noChangeArrowheads="1"/>
          </p:cNvSpPr>
          <p:nvPr/>
        </p:nvSpPr>
        <p:spPr bwMode="auto">
          <a:xfrm>
            <a:off x="587375" y="5370768"/>
            <a:ext cx="11069638" cy="638175"/>
          </a:xfrm>
          <a:prstGeom prst="rect">
            <a:avLst/>
          </a:prstGeom>
          <a:solidFill>
            <a:srgbClr val="3366AA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9" name="Oval 52"/>
          <p:cNvSpPr>
            <a:spLocks noChangeArrowheads="1"/>
          </p:cNvSpPr>
          <p:nvPr/>
        </p:nvSpPr>
        <p:spPr bwMode="auto">
          <a:xfrm>
            <a:off x="390525" y="2027493"/>
            <a:ext cx="395288" cy="395287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" name="Oval 52"/>
          <p:cNvSpPr>
            <a:spLocks noChangeArrowheads="1"/>
          </p:cNvSpPr>
          <p:nvPr/>
        </p:nvSpPr>
        <p:spPr bwMode="auto">
          <a:xfrm>
            <a:off x="390525" y="2894268"/>
            <a:ext cx="395288" cy="395287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Oval 52"/>
          <p:cNvSpPr>
            <a:spLocks noChangeArrowheads="1"/>
          </p:cNvSpPr>
          <p:nvPr/>
        </p:nvSpPr>
        <p:spPr bwMode="auto">
          <a:xfrm>
            <a:off x="390525" y="3759455"/>
            <a:ext cx="395288" cy="39528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Oval 52"/>
          <p:cNvSpPr>
            <a:spLocks noChangeArrowheads="1"/>
          </p:cNvSpPr>
          <p:nvPr/>
        </p:nvSpPr>
        <p:spPr bwMode="auto">
          <a:xfrm>
            <a:off x="390525" y="4626230"/>
            <a:ext cx="395288" cy="39528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Oval 52"/>
          <p:cNvSpPr>
            <a:spLocks noChangeArrowheads="1"/>
          </p:cNvSpPr>
          <p:nvPr/>
        </p:nvSpPr>
        <p:spPr bwMode="auto">
          <a:xfrm>
            <a:off x="390525" y="5491418"/>
            <a:ext cx="395288" cy="395287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</a:pPr>
            <a:r>
              <a:rPr lang="en-US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4" name="Rectangle 58"/>
          <p:cNvSpPr>
            <a:spLocks noChangeArrowheads="1"/>
          </p:cNvSpPr>
          <p:nvPr/>
        </p:nvSpPr>
        <p:spPr bwMode="auto">
          <a:xfrm>
            <a:off x="1565275" y="2048130"/>
            <a:ext cx="8362950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40000"/>
              </a:spcBef>
              <a:buClr>
                <a:schemeClr val="hlink"/>
              </a:buClr>
              <a:buFont typeface="Wingdings" pitchFamily="2" charset="2"/>
              <a:buNone/>
            </a:pPr>
            <a:r>
              <a:rPr lang="en-US" sz="2200" b="1" dirty="0" smtClean="0">
                <a:solidFill>
                  <a:srgbClr val="FFFFFF"/>
                </a:solidFill>
                <a:ea typeface="ＭＳ Ｐゴシック" charset="-128"/>
              </a:rPr>
              <a:t>Smart Grids </a:t>
            </a:r>
            <a:r>
              <a:rPr lang="en-US" sz="2200" b="1" dirty="0" err="1" smtClean="0">
                <a:solidFill>
                  <a:srgbClr val="FFFFFF"/>
                </a:solidFill>
                <a:ea typeface="ＭＳ Ｐゴシック" charset="-128"/>
              </a:rPr>
              <a:t>sind</a:t>
            </a:r>
            <a:r>
              <a:rPr lang="en-US" sz="2200" b="1" dirty="0" smtClean="0">
                <a:solidFill>
                  <a:srgbClr val="FFFFFF"/>
                </a:solidFill>
                <a:ea typeface="ＭＳ Ｐゴシック" charset="-128"/>
              </a:rPr>
              <a:t> </a:t>
            </a:r>
            <a:r>
              <a:rPr lang="en-US" sz="2200" b="1" dirty="0" err="1" smtClean="0">
                <a:solidFill>
                  <a:srgbClr val="FFFFFF"/>
                </a:solidFill>
                <a:ea typeface="ＭＳ Ｐゴシック" charset="-128"/>
              </a:rPr>
              <a:t>Realität</a:t>
            </a:r>
            <a:endParaRPr lang="en-US" sz="2200" b="1" dirty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15" name="Rectangle 61"/>
          <p:cNvSpPr>
            <a:spLocks noChangeArrowheads="1"/>
          </p:cNvSpPr>
          <p:nvPr/>
        </p:nvSpPr>
        <p:spPr bwMode="auto">
          <a:xfrm>
            <a:off x="1550988" y="5513643"/>
            <a:ext cx="8939948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40000"/>
              </a:spcBef>
              <a:buClr>
                <a:schemeClr val="hlink"/>
              </a:buClr>
              <a:buFont typeface="Wingdings" pitchFamily="2" charset="2"/>
              <a:buNone/>
            </a:pPr>
            <a:r>
              <a:rPr lang="en-US" sz="2200" b="1" dirty="0" err="1" smtClean="0">
                <a:solidFill>
                  <a:srgbClr val="FFFFFF"/>
                </a:solidFill>
              </a:rPr>
              <a:t>Investitionsverhalten</a:t>
            </a:r>
            <a:r>
              <a:rPr lang="en-US" sz="2200" b="1" dirty="0" smtClean="0">
                <a:solidFill>
                  <a:srgbClr val="FFFFFF"/>
                </a:solidFill>
              </a:rPr>
              <a:t> und </a:t>
            </a:r>
            <a:r>
              <a:rPr lang="en-US" sz="2200" b="1" dirty="0" err="1" smtClean="0">
                <a:solidFill>
                  <a:srgbClr val="FFFFFF"/>
                </a:solidFill>
              </a:rPr>
              <a:t>politischer</a:t>
            </a:r>
            <a:r>
              <a:rPr lang="en-US" sz="2200" b="1" dirty="0" smtClean="0">
                <a:solidFill>
                  <a:srgbClr val="FFFFFF"/>
                </a:solidFill>
              </a:rPr>
              <a:t> </a:t>
            </a:r>
            <a:r>
              <a:rPr lang="en-US" sz="2200" b="1" dirty="0" err="1" smtClean="0">
                <a:solidFill>
                  <a:srgbClr val="FFFFFF"/>
                </a:solidFill>
              </a:rPr>
              <a:t>Rahmen</a:t>
            </a:r>
            <a:r>
              <a:rPr lang="en-US" sz="2200" b="1" dirty="0" smtClean="0">
                <a:solidFill>
                  <a:srgbClr val="FFFFFF"/>
                </a:solidFill>
              </a:rPr>
              <a:t> </a:t>
            </a:r>
            <a:r>
              <a:rPr lang="en-US" sz="2200" b="1" dirty="0" err="1" smtClean="0">
                <a:solidFill>
                  <a:srgbClr val="FFFFFF"/>
                </a:solidFill>
              </a:rPr>
              <a:t>müssen</a:t>
            </a:r>
            <a:r>
              <a:rPr lang="en-US" sz="2200" b="1" dirty="0" smtClean="0">
                <a:solidFill>
                  <a:srgbClr val="FFFFFF"/>
                </a:solidFill>
              </a:rPr>
              <a:t> </a:t>
            </a:r>
            <a:r>
              <a:rPr lang="en-US" sz="2200" b="1" dirty="0" err="1" smtClean="0">
                <a:solidFill>
                  <a:srgbClr val="FFFFFF"/>
                </a:solidFill>
              </a:rPr>
              <a:t>sich</a:t>
            </a:r>
            <a:r>
              <a:rPr lang="en-US" sz="2200" b="1" dirty="0" smtClean="0">
                <a:solidFill>
                  <a:srgbClr val="FFFFFF"/>
                </a:solidFill>
              </a:rPr>
              <a:t> </a:t>
            </a:r>
            <a:r>
              <a:rPr lang="en-US" sz="2200" b="1" dirty="0" err="1" smtClean="0">
                <a:solidFill>
                  <a:srgbClr val="FFFFFF"/>
                </a:solidFill>
              </a:rPr>
              <a:t>ändern</a:t>
            </a:r>
            <a:endParaRPr lang="en-US" sz="2200" b="1" dirty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16" name="Rectangle 62"/>
          <p:cNvSpPr>
            <a:spLocks noChangeArrowheads="1"/>
          </p:cNvSpPr>
          <p:nvPr/>
        </p:nvSpPr>
        <p:spPr bwMode="auto">
          <a:xfrm>
            <a:off x="1550988" y="2908555"/>
            <a:ext cx="952709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40000"/>
              </a:spcBef>
              <a:buClr>
                <a:schemeClr val="hlink"/>
              </a:buClr>
              <a:buFont typeface="Wingdings" pitchFamily="2" charset="2"/>
              <a:buNone/>
            </a:pPr>
            <a:r>
              <a:rPr lang="de-DE" sz="2200" b="1" dirty="0" smtClean="0">
                <a:solidFill>
                  <a:srgbClr val="FFFFFF"/>
                </a:solidFill>
              </a:rPr>
              <a:t>Energiewende und unternehmerischer Erfolg der Versorger nur mit IKT</a:t>
            </a:r>
            <a:endParaRPr lang="de-DE" sz="2200" b="1" dirty="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19" name="Rectangle 61"/>
          <p:cNvSpPr>
            <a:spLocks noChangeArrowheads="1"/>
          </p:cNvSpPr>
          <p:nvPr/>
        </p:nvSpPr>
        <p:spPr bwMode="auto">
          <a:xfrm>
            <a:off x="1552575" y="4629405"/>
            <a:ext cx="847988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40000"/>
              </a:spcBef>
              <a:buClr>
                <a:schemeClr val="hlink"/>
              </a:buClr>
              <a:buFont typeface="Wingdings" pitchFamily="2" charset="2"/>
              <a:buNone/>
            </a:pPr>
            <a:r>
              <a:rPr lang="en-US" sz="2200" b="1" dirty="0" smtClean="0">
                <a:solidFill>
                  <a:srgbClr val="FFFFFF"/>
                </a:solidFill>
              </a:rPr>
              <a:t>Das </a:t>
            </a:r>
            <a:r>
              <a:rPr lang="en-US" sz="2200" b="1" dirty="0" err="1" smtClean="0">
                <a:solidFill>
                  <a:srgbClr val="FFFFFF"/>
                </a:solidFill>
              </a:rPr>
              <a:t>zukünftige</a:t>
            </a:r>
            <a:r>
              <a:rPr lang="en-US" sz="2200" b="1" dirty="0" smtClean="0">
                <a:solidFill>
                  <a:srgbClr val="FFFFFF"/>
                </a:solidFill>
              </a:rPr>
              <a:t> </a:t>
            </a:r>
            <a:r>
              <a:rPr lang="en-US" sz="2200" b="1" dirty="0" err="1" smtClean="0">
                <a:solidFill>
                  <a:srgbClr val="FFFFFF"/>
                </a:solidFill>
              </a:rPr>
              <a:t>Energiesystem</a:t>
            </a:r>
            <a:r>
              <a:rPr lang="en-US" sz="2200" b="1" dirty="0" smtClean="0">
                <a:solidFill>
                  <a:srgbClr val="FFFFFF"/>
                </a:solidFill>
              </a:rPr>
              <a:t> </a:t>
            </a:r>
            <a:r>
              <a:rPr lang="en-US" sz="2200" b="1" dirty="0" err="1" smtClean="0">
                <a:solidFill>
                  <a:srgbClr val="FFFFFF"/>
                </a:solidFill>
              </a:rPr>
              <a:t>wird</a:t>
            </a:r>
            <a:r>
              <a:rPr lang="en-US" sz="2200" b="1" dirty="0" smtClean="0">
                <a:solidFill>
                  <a:srgbClr val="FFFFFF"/>
                </a:solidFill>
              </a:rPr>
              <a:t> </a:t>
            </a:r>
            <a:r>
              <a:rPr lang="en-US" sz="2200" b="1" dirty="0" err="1" smtClean="0">
                <a:solidFill>
                  <a:srgbClr val="FFFFFF"/>
                </a:solidFill>
              </a:rPr>
              <a:t>dezentraler</a:t>
            </a:r>
            <a:r>
              <a:rPr lang="en-US" sz="2200" b="1" dirty="0" smtClean="0">
                <a:solidFill>
                  <a:srgbClr val="FFFFFF"/>
                </a:solidFill>
              </a:rPr>
              <a:t> und </a:t>
            </a:r>
            <a:r>
              <a:rPr lang="en-US" sz="2200" b="1" dirty="0" err="1" smtClean="0">
                <a:solidFill>
                  <a:srgbClr val="FFFFFF"/>
                </a:solidFill>
              </a:rPr>
              <a:t>autonomer</a:t>
            </a:r>
            <a:endParaRPr lang="en-US" sz="2200" b="1" dirty="0">
              <a:solidFill>
                <a:srgbClr val="FFFFFF"/>
              </a:solidFill>
              <a:ea typeface="ＭＳ Ｐゴシック" charset="-128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00451" y="4167779"/>
            <a:ext cx="8144057" cy="2059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05215" y="1703677"/>
            <a:ext cx="8173248" cy="205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Die </a:t>
            </a:r>
            <a:r>
              <a:rPr lang="en-US" altLang="en-US" dirty="0" err="1" smtClean="0"/>
              <a:t>Energiewend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ist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Fak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38138" y="1751302"/>
            <a:ext cx="3262313" cy="2136774"/>
          </a:xfrm>
          <a:prstGeom prst="rect">
            <a:avLst/>
          </a:prstGeom>
        </p:spPr>
        <p:txBody>
          <a:bodyPr wrap="square" lIns="0" tIns="0" rIns="0" bIns="360000" anchor="t">
            <a:noAutofit/>
          </a:bodyPr>
          <a:lstStyle/>
          <a:p>
            <a:pPr eaLnBrk="1" fontAlgn="auto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Kumulierte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Erzeugungskapazitä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Wind, PV und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konventionellen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Anlagen in 2014 </a:t>
            </a:r>
            <a:r>
              <a:rPr lang="en-US" sz="2000" b="1" dirty="0" smtClean="0">
                <a:solidFill>
                  <a:srgbClr val="55A0B9"/>
                </a:solidFill>
                <a:latin typeface="+mn-lt"/>
              </a:rPr>
              <a:t>&gt; 180 GW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.</a:t>
            </a:r>
            <a:endParaRPr lang="en-US" sz="2000" b="1" kern="0" dirty="0" smtClean="0">
              <a:solidFill>
                <a:srgbClr val="879BAA"/>
              </a:solidFill>
              <a:latin typeface="Siemens Slab" pitchFamily="2" charset="0"/>
            </a:endParaRPr>
          </a:p>
          <a:p>
            <a:pPr eaLnBrk="1" fontAlgn="auto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Spitzenlas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2013 </a:t>
            </a:r>
            <a:r>
              <a:rPr lang="en-US" sz="2000" b="1" dirty="0" smtClean="0">
                <a:solidFill>
                  <a:srgbClr val="55A0B9"/>
                </a:solidFill>
                <a:latin typeface="+mn-lt"/>
              </a:rPr>
              <a:t>&gt; 80 GW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,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Sommerschwachlas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smtClean="0">
                <a:solidFill>
                  <a:srgbClr val="55A0B9"/>
                </a:solidFill>
                <a:latin typeface="+mn-lt"/>
              </a:rPr>
              <a:t>2013 ~ 30 GW.</a:t>
            </a:r>
          </a:p>
          <a:p>
            <a:pPr eaLnBrk="1" fontAlgn="auto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Das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traditionelle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Energiesystem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hat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ausgedien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.</a:t>
            </a:r>
          </a:p>
          <a:p>
            <a:pPr eaLnBrk="1" fontAlgn="auto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defRPr/>
            </a:pPr>
            <a:endParaRPr lang="en-US" sz="2000" b="1" kern="0" dirty="0" smtClean="0">
              <a:solidFill>
                <a:srgbClr val="879BAA"/>
              </a:solidFill>
              <a:latin typeface="Siemens Slab" pitchFamily="2" charset="0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4769938" y="2858200"/>
            <a:ext cx="557075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77800" indent="-1778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2000" b="1" dirty="0" err="1" smtClean="0">
                <a:solidFill>
                  <a:srgbClr val="FFFFFF"/>
                </a:solidFill>
              </a:rPr>
              <a:t>Stromproduktion</a:t>
            </a:r>
            <a:r>
              <a:rPr lang="en-US" altLang="en-US" sz="2000" b="1" dirty="0" smtClean="0">
                <a:solidFill>
                  <a:srgbClr val="FFFFFF"/>
                </a:solidFill>
              </a:rPr>
              <a:t> Deutschland, </a:t>
            </a:r>
            <a:r>
              <a:rPr lang="en-US" altLang="en-US" sz="2000" b="1" dirty="0" err="1" smtClean="0">
                <a:solidFill>
                  <a:srgbClr val="FFFFFF"/>
                </a:solidFill>
              </a:rPr>
              <a:t>Januar</a:t>
            </a:r>
            <a:r>
              <a:rPr lang="en-US" altLang="en-US" sz="2000" b="1" dirty="0" smtClean="0">
                <a:solidFill>
                  <a:srgbClr val="FFFFFF"/>
                </a:solidFill>
              </a:rPr>
              <a:t> </a:t>
            </a:r>
            <a:r>
              <a:rPr lang="en-US" altLang="en-US" sz="2000" b="1" dirty="0">
                <a:solidFill>
                  <a:srgbClr val="FFFFFF"/>
                </a:solidFill>
              </a:rPr>
              <a:t>2013</a:t>
            </a:r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5385939" y="5348781"/>
            <a:ext cx="525656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77800" indent="-1778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2000" b="1" dirty="0" err="1" smtClean="0">
                <a:solidFill>
                  <a:srgbClr val="FFFFFF"/>
                </a:solidFill>
              </a:rPr>
              <a:t>Stromproduktion</a:t>
            </a:r>
            <a:r>
              <a:rPr lang="en-US" altLang="en-US" sz="2000" b="1" dirty="0" smtClean="0">
                <a:solidFill>
                  <a:srgbClr val="FFFFFF"/>
                </a:solidFill>
              </a:rPr>
              <a:t> Deutschland, </a:t>
            </a:r>
            <a:r>
              <a:rPr lang="en-US" altLang="en-US" sz="2000" b="1" dirty="0" err="1" smtClean="0">
                <a:solidFill>
                  <a:srgbClr val="FFFFFF"/>
                </a:solidFill>
              </a:rPr>
              <a:t>Juli</a:t>
            </a:r>
            <a:r>
              <a:rPr lang="en-US" altLang="en-US" sz="2000" b="1" dirty="0" smtClean="0">
                <a:solidFill>
                  <a:srgbClr val="FFFFFF"/>
                </a:solidFill>
              </a:rPr>
              <a:t> </a:t>
            </a:r>
            <a:r>
              <a:rPr lang="en-US" altLang="en-US" sz="2000" b="1" dirty="0">
                <a:solidFill>
                  <a:srgbClr val="FFFFFF"/>
                </a:solidFill>
              </a:rPr>
              <a:t>2013</a:t>
            </a: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4769938" y="6339809"/>
            <a:ext cx="6945812" cy="19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6000" rIns="0" bIns="0">
            <a:spAutoFit/>
          </a:bodyPr>
          <a:lstStyle>
            <a:lvl1pPr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eaLnBrk="0" hangingPunct="0">
              <a:buChar char="•"/>
              <a:defRPr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algn="r">
              <a:spcBef>
                <a:spcPct val="50000"/>
              </a:spcBef>
              <a:buClr>
                <a:srgbClr val="000000"/>
              </a:buClr>
              <a:buFont typeface="Arial" pitchFamily="34" charset="0"/>
              <a:buNone/>
            </a:pPr>
            <a:r>
              <a:rPr lang="en-US" altLang="en-US" sz="1000" dirty="0">
                <a:solidFill>
                  <a:srgbClr val="879BAA"/>
                </a:solidFill>
              </a:rPr>
              <a:t>Source: http://www.ise.fraunhofer.de/de/downloads/pdf-files/aktuelles/stromproduktion-aus-solar-und-windenergie-2013.pdf</a:t>
            </a:r>
          </a:p>
        </p:txBody>
      </p:sp>
      <p:sp>
        <p:nvSpPr>
          <p:cNvPr id="11" name="Rechteck 10"/>
          <p:cNvSpPr/>
          <p:nvPr/>
        </p:nvSpPr>
        <p:spPr bwMode="auto">
          <a:xfrm flipH="1" flipV="1">
            <a:off x="4370388" y="3888076"/>
            <a:ext cx="194979" cy="233916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auto">
          <a:xfrm flipH="1" flipV="1">
            <a:off x="6868584" y="3877443"/>
            <a:ext cx="194979" cy="233916"/>
          </a:xfrm>
          <a:prstGeom prst="rect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 bwMode="auto">
          <a:xfrm flipH="1" flipV="1">
            <a:off x="9101421" y="3877443"/>
            <a:ext cx="194979" cy="233916"/>
          </a:xfrm>
          <a:prstGeom prst="rect">
            <a:avLst/>
          </a:prstGeom>
          <a:solidFill>
            <a:srgbClr val="C0D6C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695507" y="3902669"/>
            <a:ext cx="918521" cy="18742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Konventionell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197665" y="3902669"/>
            <a:ext cx="357470" cy="18742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Solar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9385496" y="3898709"/>
            <a:ext cx="349455" cy="18742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200" dirty="0" smtClean="0">
                <a:solidFill>
                  <a:schemeClr val="tx1"/>
                </a:solidFill>
              </a:rPr>
              <a:t>Wind</a:t>
            </a:r>
          </a:p>
        </p:txBody>
      </p:sp>
    </p:spTree>
    <p:extLst>
      <p:ext uri="{BB962C8B-B14F-4D97-AF65-F5344CB8AC3E}">
        <p14:creationId xmlns:p14="http://schemas.microsoft.com/office/powerpoint/2010/main" xmlns="" val="889790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Das </a:t>
            </a:r>
            <a:r>
              <a:rPr lang="en-US" altLang="en-US" dirty="0" err="1" smtClean="0"/>
              <a:t>Energiesystem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wird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komplexer</a:t>
            </a:r>
            <a:endParaRPr lang="de-DE" dirty="0"/>
          </a:p>
        </p:txBody>
      </p:sp>
      <p:pic>
        <p:nvPicPr>
          <p:cNvPr id="3" name="Grafik 2" descr="Matrix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2771" y="1158218"/>
            <a:ext cx="9490841" cy="55525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Kernherausforderungen</a:t>
            </a:r>
            <a:r>
              <a:rPr lang="en-US" dirty="0" smtClean="0"/>
              <a:t> </a:t>
            </a:r>
            <a:r>
              <a:rPr lang="en-US" dirty="0" err="1" smtClean="0"/>
              <a:t>für</a:t>
            </a:r>
            <a:r>
              <a:rPr lang="en-US" dirty="0" smtClean="0"/>
              <a:t> </a:t>
            </a:r>
            <a:r>
              <a:rPr lang="en-US" dirty="0" err="1" smtClean="0"/>
              <a:t>Versorger</a:t>
            </a:r>
            <a:r>
              <a:rPr lang="en-US" dirty="0" smtClean="0"/>
              <a:t> und </a:t>
            </a:r>
            <a:r>
              <a:rPr lang="en-US" dirty="0" err="1" smtClean="0"/>
              <a:t>Netzbetreiber</a:t>
            </a:r>
            <a:r>
              <a:rPr lang="en-US" dirty="0" smtClean="0"/>
              <a:t> </a:t>
            </a:r>
            <a:endParaRPr lang="en-US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5847818" y="3912206"/>
            <a:ext cx="6061902" cy="2126773"/>
            <a:chOff x="5847818" y="3870166"/>
            <a:chExt cx="6061902" cy="2126773"/>
          </a:xfrm>
        </p:grpSpPr>
        <p:sp>
          <p:nvSpPr>
            <p:cNvPr id="9" name="Text Box 10"/>
            <p:cNvSpPr txBox="1">
              <a:spLocks noChangeArrowheads="1"/>
            </p:cNvSpPr>
            <p:nvPr/>
          </p:nvSpPr>
          <p:spPr bwMode="auto">
            <a:xfrm>
              <a:off x="8272405" y="4072193"/>
              <a:ext cx="3637315" cy="19247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360000" tIns="0" rIns="360000" bIns="0" anchor="ctr"/>
            <a:lstStyle>
              <a:lvl1pPr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en-US" dirty="0" err="1" smtClean="0">
                  <a:solidFill>
                    <a:srgbClr val="233746"/>
                  </a:solidFill>
                </a:rPr>
                <a:t>Denzentrale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, regenerative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Energiequellen</a:t>
              </a:r>
              <a:endParaRPr lang="en-US" altLang="en-US" dirty="0" smtClean="0">
                <a:solidFill>
                  <a:srgbClr val="233746"/>
                </a:solidFill>
              </a:endParaRPr>
            </a:p>
            <a:p>
              <a:pPr>
                <a:spcBef>
                  <a:spcPct val="50000"/>
                </a:spcBef>
              </a:pPr>
              <a:r>
                <a:rPr lang="en-US" altLang="en-US" dirty="0" err="1" smtClean="0">
                  <a:solidFill>
                    <a:srgbClr val="233746"/>
                  </a:solidFill>
                </a:rPr>
                <a:t>Rückbau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konventioneller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Erzeugung</a:t>
              </a:r>
              <a:endParaRPr lang="en-US" altLang="en-US" dirty="0">
                <a:solidFill>
                  <a:srgbClr val="233746"/>
                </a:solidFill>
              </a:endParaRPr>
            </a:p>
          </p:txBody>
        </p:sp>
        <p:sp>
          <p:nvSpPr>
            <p:cNvPr id="10" name="Freeform 9"/>
            <p:cNvSpPr>
              <a:spLocks noChangeAspect="1"/>
            </p:cNvSpPr>
            <p:nvPr/>
          </p:nvSpPr>
          <p:spPr bwMode="auto">
            <a:xfrm>
              <a:off x="5847818" y="3870166"/>
              <a:ext cx="2396771" cy="1924746"/>
            </a:xfrm>
            <a:custGeom>
              <a:avLst/>
              <a:gdLst>
                <a:gd name="T0" fmla="*/ 2147483647 w 459"/>
                <a:gd name="T1" fmla="*/ 0 h 393"/>
                <a:gd name="T2" fmla="*/ 2147483647 w 459"/>
                <a:gd name="T3" fmla="*/ 0 h 393"/>
                <a:gd name="T4" fmla="*/ 2147483647 w 459"/>
                <a:gd name="T5" fmla="*/ 0 h 393"/>
                <a:gd name="T6" fmla="*/ 2147483647 w 459"/>
                <a:gd name="T7" fmla="*/ 2147483647 h 393"/>
                <a:gd name="T8" fmla="*/ 2147483647 w 459"/>
                <a:gd name="T9" fmla="*/ 0 h 393"/>
                <a:gd name="T10" fmla="*/ 2147483647 w 459"/>
                <a:gd name="T11" fmla="*/ 0 h 393"/>
                <a:gd name="T12" fmla="*/ 2147483647 w 459"/>
                <a:gd name="T13" fmla="*/ 0 h 393"/>
                <a:gd name="T14" fmla="*/ 2147483647 w 459"/>
                <a:gd name="T15" fmla="*/ 2147483647 h 393"/>
                <a:gd name="T16" fmla="*/ 2147483647 w 459"/>
                <a:gd name="T17" fmla="*/ 2147483647 h 393"/>
                <a:gd name="T18" fmla="*/ 2147483647 w 459"/>
                <a:gd name="T19" fmla="*/ 2147483647 h 393"/>
                <a:gd name="T20" fmla="*/ 0 w 459"/>
                <a:gd name="T21" fmla="*/ 2147483647 h 393"/>
                <a:gd name="T22" fmla="*/ 2147483647 w 459"/>
                <a:gd name="T23" fmla="*/ 2147483647 h 393"/>
                <a:gd name="T24" fmla="*/ 2147483647 w 459"/>
                <a:gd name="T25" fmla="*/ 0 h 39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59"/>
                <a:gd name="T40" fmla="*/ 0 h 393"/>
                <a:gd name="T41" fmla="*/ 459 w 459"/>
                <a:gd name="T42" fmla="*/ 393 h 39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59" h="393">
                  <a:moveTo>
                    <a:pt x="66" y="0"/>
                  </a:moveTo>
                  <a:lnTo>
                    <a:pt x="197" y="0"/>
                  </a:lnTo>
                  <a:cubicBezTo>
                    <a:pt x="197" y="0"/>
                    <a:pt x="197" y="0"/>
                    <a:pt x="197" y="0"/>
                  </a:cubicBezTo>
                  <a:cubicBezTo>
                    <a:pt x="197" y="36"/>
                    <a:pt x="226" y="66"/>
                    <a:pt x="262" y="66"/>
                  </a:cubicBezTo>
                  <a:cubicBezTo>
                    <a:pt x="297" y="66"/>
                    <a:pt x="327" y="36"/>
                    <a:pt x="327" y="0"/>
                  </a:cubicBezTo>
                  <a:cubicBezTo>
                    <a:pt x="327" y="0"/>
                    <a:pt x="327" y="0"/>
                    <a:pt x="327" y="0"/>
                  </a:cubicBezTo>
                  <a:lnTo>
                    <a:pt x="459" y="0"/>
                  </a:lnTo>
                  <a:lnTo>
                    <a:pt x="459" y="393"/>
                  </a:lnTo>
                  <a:lnTo>
                    <a:pt x="66" y="393"/>
                  </a:lnTo>
                  <a:lnTo>
                    <a:pt x="66" y="263"/>
                  </a:lnTo>
                  <a:cubicBezTo>
                    <a:pt x="30" y="263"/>
                    <a:pt x="0" y="233"/>
                    <a:pt x="0" y="197"/>
                  </a:cubicBezTo>
                  <a:cubicBezTo>
                    <a:pt x="0" y="161"/>
                    <a:pt x="30" y="131"/>
                    <a:pt x="66" y="131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rgbClr val="AAB414"/>
            </a:solidFill>
            <a:ln w="381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11" name="Text Box 14"/>
            <p:cNvSpPr txBox="1">
              <a:spLocks noChangeArrowheads="1"/>
            </p:cNvSpPr>
            <p:nvPr/>
          </p:nvSpPr>
          <p:spPr bwMode="gray">
            <a:xfrm>
              <a:off x="6032459" y="4676786"/>
              <a:ext cx="192661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algn="r">
                <a:spcBef>
                  <a:spcPts val="0"/>
                </a:spcBef>
              </a:pPr>
              <a:r>
                <a:rPr lang="en-US" altLang="en-US" sz="2000" b="1" dirty="0" err="1" smtClean="0">
                  <a:solidFill>
                    <a:srgbClr val="FFFFFF"/>
                  </a:solidFill>
                  <a:latin typeface="Siemens Slab" pitchFamily="2" charset="0"/>
                </a:rPr>
                <a:t>Nachhaltigkeit</a:t>
              </a:r>
              <a:endParaRPr lang="en-US" altLang="en-US" sz="2000" b="1" dirty="0">
                <a:solidFill>
                  <a:srgbClr val="FFFFFF"/>
                </a:solidFill>
                <a:latin typeface="Siemens Slab" pitchFamily="2" charset="0"/>
              </a:endParaRP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127592" y="3577175"/>
            <a:ext cx="6041018" cy="2430028"/>
            <a:chOff x="127592" y="3545645"/>
            <a:chExt cx="6041018" cy="2430028"/>
          </a:xfrm>
        </p:grpSpPr>
        <p:sp>
          <p:nvSpPr>
            <p:cNvPr id="3" name="Freeform 7"/>
            <p:cNvSpPr>
              <a:spLocks noChangeAspect="1"/>
            </p:cNvSpPr>
            <p:nvPr/>
          </p:nvSpPr>
          <p:spPr bwMode="auto">
            <a:xfrm>
              <a:off x="4019550" y="3545645"/>
              <a:ext cx="2149060" cy="2249267"/>
            </a:xfrm>
            <a:custGeom>
              <a:avLst/>
              <a:gdLst>
                <a:gd name="T0" fmla="*/ 0 w 392"/>
                <a:gd name="T1" fmla="*/ 2147483647 h 459"/>
                <a:gd name="T2" fmla="*/ 2147483647 w 392"/>
                <a:gd name="T3" fmla="*/ 2147483647 h 459"/>
                <a:gd name="T4" fmla="*/ 2147483647 w 392"/>
                <a:gd name="T5" fmla="*/ 0 h 459"/>
                <a:gd name="T6" fmla="*/ 2147483647 w 392"/>
                <a:gd name="T7" fmla="*/ 2147483647 h 459"/>
                <a:gd name="T8" fmla="*/ 2147483647 w 392"/>
                <a:gd name="T9" fmla="*/ 2147483647 h 459"/>
                <a:gd name="T10" fmla="*/ 2147483647 w 392"/>
                <a:gd name="T11" fmla="*/ 2147483647 h 459"/>
                <a:gd name="T12" fmla="*/ 2147483647 w 392"/>
                <a:gd name="T13" fmla="*/ 2147483647 h 459"/>
                <a:gd name="T14" fmla="*/ 2147483647 w 392"/>
                <a:gd name="T15" fmla="*/ 2147483647 h 459"/>
                <a:gd name="T16" fmla="*/ 2147483647 w 392"/>
                <a:gd name="T17" fmla="*/ 2147483647 h 459"/>
                <a:gd name="T18" fmla="*/ 0 w 392"/>
                <a:gd name="T19" fmla="*/ 2147483647 h 459"/>
                <a:gd name="T20" fmla="*/ 0 w 392"/>
                <a:gd name="T21" fmla="*/ 2147483647 h 45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92"/>
                <a:gd name="T34" fmla="*/ 0 h 459"/>
                <a:gd name="T35" fmla="*/ 392 w 392"/>
                <a:gd name="T36" fmla="*/ 459 h 45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92" h="459">
                  <a:moveTo>
                    <a:pt x="0" y="66"/>
                  </a:moveTo>
                  <a:lnTo>
                    <a:pt x="130" y="66"/>
                  </a:lnTo>
                  <a:cubicBezTo>
                    <a:pt x="130" y="30"/>
                    <a:pt x="160" y="0"/>
                    <a:pt x="196" y="0"/>
                  </a:cubicBezTo>
                  <a:cubicBezTo>
                    <a:pt x="232" y="0"/>
                    <a:pt x="262" y="30"/>
                    <a:pt x="262" y="66"/>
                  </a:cubicBezTo>
                  <a:lnTo>
                    <a:pt x="392" y="66"/>
                  </a:lnTo>
                  <a:lnTo>
                    <a:pt x="392" y="197"/>
                  </a:lnTo>
                  <a:cubicBezTo>
                    <a:pt x="356" y="197"/>
                    <a:pt x="326" y="227"/>
                    <a:pt x="326" y="263"/>
                  </a:cubicBezTo>
                  <a:cubicBezTo>
                    <a:pt x="326" y="299"/>
                    <a:pt x="356" y="329"/>
                    <a:pt x="392" y="329"/>
                  </a:cubicBezTo>
                  <a:lnTo>
                    <a:pt x="392" y="459"/>
                  </a:lnTo>
                  <a:lnTo>
                    <a:pt x="0" y="459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EB780A"/>
            </a:solidFill>
            <a:ln w="38100">
              <a:solidFill>
                <a:schemeClr val="bg1"/>
              </a:solidFill>
              <a:miter lim="800000"/>
            </a:ln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7" name="Text Box 12"/>
            <p:cNvSpPr txBox="1">
              <a:spLocks noChangeArrowheads="1"/>
            </p:cNvSpPr>
            <p:nvPr/>
          </p:nvSpPr>
          <p:spPr bwMode="gray">
            <a:xfrm>
              <a:off x="4190636" y="4211391"/>
              <a:ext cx="1311641" cy="123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altLang="en-US" sz="2000" b="1" dirty="0" err="1" smtClean="0">
                  <a:solidFill>
                    <a:srgbClr val="FFFFFF"/>
                  </a:solidFill>
                  <a:latin typeface="Siemens Slab" pitchFamily="2" charset="0"/>
                </a:rPr>
                <a:t>zukunfts</a:t>
              </a:r>
              <a:r>
                <a:rPr lang="en-US" altLang="en-US" sz="2000" b="1" dirty="0" smtClean="0">
                  <a:solidFill>
                    <a:srgbClr val="FFFFFF"/>
                  </a:solidFill>
                  <a:latin typeface="Siemens Slab" pitchFamily="2" charset="0"/>
                </a:rPr>
                <a:t>-</a:t>
              </a:r>
            </a:p>
            <a:p>
              <a:pPr>
                <a:spcBef>
                  <a:spcPts val="0"/>
                </a:spcBef>
              </a:pPr>
              <a:r>
                <a:rPr lang="en-US" altLang="en-US" sz="2000" b="1" dirty="0" err="1" smtClean="0">
                  <a:solidFill>
                    <a:srgbClr val="FFFFFF"/>
                  </a:solidFill>
                  <a:latin typeface="Siemens Slab" pitchFamily="2" charset="0"/>
                </a:rPr>
                <a:t>fähige</a:t>
              </a:r>
              <a:endParaRPr lang="en-US" altLang="en-US" sz="2000" b="1" dirty="0" smtClean="0">
                <a:solidFill>
                  <a:srgbClr val="FFFFFF"/>
                </a:solidFill>
                <a:latin typeface="Siemens Slab" pitchFamily="2" charset="0"/>
              </a:endParaRPr>
            </a:p>
            <a:p>
              <a:pPr>
                <a:spcBef>
                  <a:spcPts val="0"/>
                </a:spcBef>
              </a:pPr>
              <a:r>
                <a:rPr lang="en-US" altLang="en-US" sz="2000" b="1" dirty="0" err="1" smtClean="0">
                  <a:solidFill>
                    <a:srgbClr val="FFFFFF"/>
                  </a:solidFill>
                  <a:latin typeface="Siemens Slab" pitchFamily="2" charset="0"/>
                </a:rPr>
                <a:t>Geschäfts</a:t>
              </a:r>
              <a:r>
                <a:rPr lang="en-US" altLang="en-US" sz="2000" b="1" dirty="0" smtClean="0">
                  <a:solidFill>
                    <a:srgbClr val="FFFFFF"/>
                  </a:solidFill>
                  <a:latin typeface="Siemens Slab" pitchFamily="2" charset="0"/>
                </a:rPr>
                <a:t>-</a:t>
              </a:r>
            </a:p>
            <a:p>
              <a:pPr>
                <a:spcBef>
                  <a:spcPts val="0"/>
                </a:spcBef>
              </a:pPr>
              <a:r>
                <a:rPr lang="en-US" altLang="en-US" sz="2000" b="1" dirty="0" err="1" smtClean="0">
                  <a:solidFill>
                    <a:srgbClr val="FFFFFF"/>
                  </a:solidFill>
                  <a:latin typeface="Siemens Slab" pitchFamily="2" charset="0"/>
                </a:rPr>
                <a:t>modelle</a:t>
              </a:r>
              <a:endParaRPr lang="en-US" altLang="en-US" sz="2000" b="1" dirty="0" smtClean="0">
                <a:solidFill>
                  <a:srgbClr val="FFFFFF"/>
                </a:solidFill>
                <a:latin typeface="Siemens Slab" pitchFamily="2" charset="0"/>
              </a:endParaRPr>
            </a:p>
          </p:txBody>
        </p:sp>
        <p:sp>
          <p:nvSpPr>
            <p:cNvPr id="12" name="Text Box 13"/>
            <p:cNvSpPr txBox="1">
              <a:spLocks noChangeArrowheads="1"/>
            </p:cNvSpPr>
            <p:nvPr/>
          </p:nvSpPr>
          <p:spPr bwMode="auto">
            <a:xfrm>
              <a:off x="127592" y="4077038"/>
              <a:ext cx="3845832" cy="189863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360000" tIns="0" rIns="360000" bIns="0" anchor="ctr"/>
            <a:lstStyle>
              <a:lvl1pPr marL="85725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marL="0" algn="r">
                <a:spcBef>
                  <a:spcPct val="50000"/>
                </a:spcBef>
              </a:pPr>
              <a:r>
                <a:rPr lang="en-US" altLang="en-US" dirty="0" err="1" smtClean="0">
                  <a:solidFill>
                    <a:srgbClr val="233746"/>
                  </a:solidFill>
                </a:rPr>
                <a:t>Effizienter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Systemausbau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und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Systembetrieb</a:t>
              </a:r>
              <a:endParaRPr lang="en-US" altLang="en-US" dirty="0" smtClean="0">
                <a:solidFill>
                  <a:srgbClr val="233746"/>
                </a:solidFill>
              </a:endParaRPr>
            </a:p>
            <a:p>
              <a:pPr marL="0" algn="r">
                <a:spcBef>
                  <a:spcPct val="50000"/>
                </a:spcBef>
              </a:pPr>
              <a:r>
                <a:rPr lang="en-US" altLang="en-US" dirty="0" err="1" smtClean="0">
                  <a:solidFill>
                    <a:srgbClr val="233746"/>
                  </a:solidFill>
                </a:rPr>
                <a:t>Neue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Geschäftsmodelle</a:t>
              </a:r>
              <a:endParaRPr lang="en-US" altLang="en-US" dirty="0" smtClean="0">
                <a:solidFill>
                  <a:srgbClr val="233746"/>
                </a:solidFill>
              </a:endParaRPr>
            </a:p>
            <a:p>
              <a:pPr marL="0" algn="r">
                <a:spcBef>
                  <a:spcPct val="50000"/>
                </a:spcBef>
              </a:pPr>
              <a:r>
                <a:rPr lang="en-US" altLang="en-US" dirty="0" smtClean="0">
                  <a:solidFill>
                    <a:srgbClr val="233746"/>
                  </a:solidFill>
                </a:rPr>
                <a:t> </a:t>
              </a:r>
              <a:endParaRPr lang="en-US" altLang="en-US" dirty="0">
                <a:solidFill>
                  <a:srgbClr val="233746"/>
                </a:solidFill>
              </a:endParaRP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382235" y="1941690"/>
            <a:ext cx="6103436" cy="2422294"/>
            <a:chOff x="382235" y="1941690"/>
            <a:chExt cx="6103436" cy="2422294"/>
          </a:xfrm>
        </p:grpSpPr>
        <p:sp>
          <p:nvSpPr>
            <p:cNvPr id="5" name="Freeform 10"/>
            <p:cNvSpPr>
              <a:spLocks noChangeAspect="1"/>
            </p:cNvSpPr>
            <p:nvPr/>
          </p:nvSpPr>
          <p:spPr bwMode="auto">
            <a:xfrm>
              <a:off x="4019551" y="1941690"/>
              <a:ext cx="2466120" cy="1928476"/>
            </a:xfrm>
            <a:custGeom>
              <a:avLst/>
              <a:gdLst>
                <a:gd name="T0" fmla="*/ 0 w 306"/>
                <a:gd name="T1" fmla="*/ 0 h 262"/>
                <a:gd name="T2" fmla="*/ 2147483647 w 306"/>
                <a:gd name="T3" fmla="*/ 0 h 262"/>
                <a:gd name="T4" fmla="*/ 2147483647 w 306"/>
                <a:gd name="T5" fmla="*/ 2147483647 h 262"/>
                <a:gd name="T6" fmla="*/ 2147483647 w 306"/>
                <a:gd name="T7" fmla="*/ 2147483647 h 262"/>
                <a:gd name="T8" fmla="*/ 2147483647 w 306"/>
                <a:gd name="T9" fmla="*/ 2147483647 h 262"/>
                <a:gd name="T10" fmla="*/ 2147483647 w 306"/>
                <a:gd name="T11" fmla="*/ 2147483647 h 262"/>
                <a:gd name="T12" fmla="*/ 2147483647 w 306"/>
                <a:gd name="T13" fmla="*/ 2147483647 h 262"/>
                <a:gd name="T14" fmla="*/ 2147483647 w 306"/>
                <a:gd name="T15" fmla="*/ 2147483647 h 262"/>
                <a:gd name="T16" fmla="*/ 2147483647 w 306"/>
                <a:gd name="T17" fmla="*/ 2147483647 h 262"/>
                <a:gd name="T18" fmla="*/ 0 w 306"/>
                <a:gd name="T19" fmla="*/ 2147483647 h 262"/>
                <a:gd name="T20" fmla="*/ 0 w 306"/>
                <a:gd name="T21" fmla="*/ 0 h 26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06"/>
                <a:gd name="T34" fmla="*/ 0 h 262"/>
                <a:gd name="T35" fmla="*/ 306 w 306"/>
                <a:gd name="T36" fmla="*/ 262 h 26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06" h="262">
                  <a:moveTo>
                    <a:pt x="0" y="0"/>
                  </a:moveTo>
                  <a:lnTo>
                    <a:pt x="262" y="0"/>
                  </a:lnTo>
                  <a:lnTo>
                    <a:pt x="262" y="87"/>
                  </a:lnTo>
                  <a:cubicBezTo>
                    <a:pt x="286" y="87"/>
                    <a:pt x="306" y="107"/>
                    <a:pt x="306" y="131"/>
                  </a:cubicBezTo>
                  <a:cubicBezTo>
                    <a:pt x="306" y="155"/>
                    <a:pt x="286" y="175"/>
                    <a:pt x="262" y="175"/>
                  </a:cubicBezTo>
                  <a:lnTo>
                    <a:pt x="262" y="262"/>
                  </a:lnTo>
                  <a:lnTo>
                    <a:pt x="175" y="262"/>
                  </a:lnTo>
                  <a:cubicBezTo>
                    <a:pt x="175" y="238"/>
                    <a:pt x="155" y="218"/>
                    <a:pt x="131" y="218"/>
                  </a:cubicBezTo>
                  <a:cubicBezTo>
                    <a:pt x="107" y="218"/>
                    <a:pt x="87" y="238"/>
                    <a:pt x="87" y="262"/>
                  </a:cubicBezTo>
                  <a:lnTo>
                    <a:pt x="0" y="2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AA96"/>
            </a:solidFill>
            <a:ln w="381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6" name="Text Box 11"/>
            <p:cNvSpPr txBox="1">
              <a:spLocks noChangeArrowheads="1"/>
            </p:cNvSpPr>
            <p:nvPr/>
          </p:nvSpPr>
          <p:spPr bwMode="gray">
            <a:xfrm>
              <a:off x="4204106" y="2568576"/>
              <a:ext cx="1828353" cy="61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altLang="en-US" sz="2000" b="1" dirty="0" err="1" smtClean="0">
                  <a:solidFill>
                    <a:srgbClr val="FFFFFF"/>
                  </a:solidFill>
                  <a:latin typeface="Siemens Slab" pitchFamily="2" charset="0"/>
                </a:rPr>
                <a:t>Neue</a:t>
              </a:r>
              <a:r>
                <a:rPr lang="en-US" altLang="en-US" sz="2000" b="1" dirty="0" smtClean="0">
                  <a:solidFill>
                    <a:srgbClr val="FFFFFF"/>
                  </a:solidFill>
                  <a:latin typeface="Siemens Slab" pitchFamily="2" charset="0"/>
                </a:rPr>
                <a:t> </a:t>
              </a:r>
            </a:p>
            <a:p>
              <a:pPr>
                <a:spcBef>
                  <a:spcPts val="0"/>
                </a:spcBef>
              </a:pPr>
              <a:r>
                <a:rPr lang="en-US" altLang="en-US" sz="2000" b="1" dirty="0" err="1" smtClean="0">
                  <a:solidFill>
                    <a:srgbClr val="FFFFFF"/>
                  </a:solidFill>
                  <a:latin typeface="Siemens Slab" pitchFamily="2" charset="0"/>
                </a:rPr>
                <a:t>Technologien</a:t>
              </a:r>
              <a:endParaRPr lang="en-US" altLang="en-US" sz="2000" b="1" dirty="0">
                <a:solidFill>
                  <a:srgbClr val="FFFFFF"/>
                </a:solidFill>
                <a:latin typeface="Siemens Slab" pitchFamily="2" charset="0"/>
              </a:endParaRPr>
            </a:p>
          </p:txBody>
        </p:sp>
        <p:sp>
          <p:nvSpPr>
            <p:cNvPr id="13" name="Text Box 14"/>
            <p:cNvSpPr txBox="1">
              <a:spLocks noChangeArrowheads="1"/>
            </p:cNvSpPr>
            <p:nvPr/>
          </p:nvSpPr>
          <p:spPr bwMode="auto">
            <a:xfrm>
              <a:off x="382235" y="2464416"/>
              <a:ext cx="3637315" cy="189956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360000" tIns="0" rIns="360000" bIns="0" anchor="ctr"/>
            <a:lstStyle>
              <a:lvl1pPr marL="85725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marL="0" algn="r">
                <a:spcBef>
                  <a:spcPct val="50000"/>
                </a:spcBef>
              </a:pPr>
              <a:r>
                <a:rPr lang="en-US" altLang="en-US" dirty="0" err="1" smtClean="0">
                  <a:solidFill>
                    <a:srgbClr val="233746"/>
                  </a:solidFill>
                </a:rPr>
                <a:t>Netztechnologien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und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Speicher</a:t>
              </a:r>
              <a:endParaRPr lang="en-US" altLang="en-US" dirty="0" smtClean="0">
                <a:solidFill>
                  <a:srgbClr val="233746"/>
                </a:solidFill>
              </a:endParaRPr>
            </a:p>
            <a:p>
              <a:pPr marL="0" algn="r">
                <a:spcBef>
                  <a:spcPct val="50000"/>
                </a:spcBef>
              </a:pPr>
              <a:r>
                <a:rPr lang="en-US" altLang="en-US" dirty="0" smtClean="0">
                  <a:solidFill>
                    <a:srgbClr val="233746"/>
                  </a:solidFill>
                </a:rPr>
                <a:t>Smart Grids</a:t>
              </a:r>
            </a:p>
            <a:p>
              <a:pPr marL="0" algn="r">
                <a:spcBef>
                  <a:spcPct val="50000"/>
                </a:spcBef>
              </a:pPr>
              <a:endParaRPr lang="en-US" altLang="en-US" dirty="0" smtClean="0">
                <a:solidFill>
                  <a:srgbClr val="233746"/>
                </a:solidFill>
              </a:endParaRPr>
            </a:p>
            <a:p>
              <a:pPr marL="0" algn="r">
                <a:spcBef>
                  <a:spcPct val="50000"/>
                </a:spcBef>
              </a:pPr>
              <a:endParaRPr lang="en-US" altLang="en-US" dirty="0">
                <a:solidFill>
                  <a:srgbClr val="233746"/>
                </a:solidFill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6168609" y="1941690"/>
            <a:ext cx="6029741" cy="2256727"/>
            <a:chOff x="6168609" y="1941690"/>
            <a:chExt cx="5547141" cy="2256727"/>
          </a:xfrm>
        </p:grpSpPr>
        <p:sp>
          <p:nvSpPr>
            <p:cNvPr id="4" name="Freeform 8"/>
            <p:cNvSpPr>
              <a:spLocks noChangeAspect="1"/>
            </p:cNvSpPr>
            <p:nvPr/>
          </p:nvSpPr>
          <p:spPr bwMode="auto">
            <a:xfrm>
              <a:off x="6168609" y="1941690"/>
              <a:ext cx="1909826" cy="2256727"/>
            </a:xfrm>
            <a:custGeom>
              <a:avLst/>
              <a:gdLst>
                <a:gd name="T0" fmla="*/ 0 w 393"/>
                <a:gd name="T1" fmla="*/ 0 h 460"/>
                <a:gd name="T2" fmla="*/ 2147483647 w 393"/>
                <a:gd name="T3" fmla="*/ 0 h 460"/>
                <a:gd name="T4" fmla="*/ 2147483647 w 393"/>
                <a:gd name="T5" fmla="*/ 2147483647 h 460"/>
                <a:gd name="T6" fmla="*/ 2147483647 w 393"/>
                <a:gd name="T7" fmla="*/ 2147483647 h 460"/>
                <a:gd name="T8" fmla="*/ 2147483647 w 393"/>
                <a:gd name="T9" fmla="*/ 2147483647 h 460"/>
                <a:gd name="T10" fmla="*/ 2147483647 w 393"/>
                <a:gd name="T11" fmla="*/ 2147483647 h 460"/>
                <a:gd name="T12" fmla="*/ 2147483647 w 393"/>
                <a:gd name="T13" fmla="*/ 2147483647 h 460"/>
                <a:gd name="T14" fmla="*/ 2147483647 w 393"/>
                <a:gd name="T15" fmla="*/ 2147483647 h 460"/>
                <a:gd name="T16" fmla="*/ 0 w 393"/>
                <a:gd name="T17" fmla="*/ 2147483647 h 460"/>
                <a:gd name="T18" fmla="*/ 0 w 393"/>
                <a:gd name="T19" fmla="*/ 2147483647 h 460"/>
                <a:gd name="T20" fmla="*/ 2147483647 w 393"/>
                <a:gd name="T21" fmla="*/ 2147483647 h 460"/>
                <a:gd name="T22" fmla="*/ 0 w 393"/>
                <a:gd name="T23" fmla="*/ 2147483647 h 460"/>
                <a:gd name="T24" fmla="*/ 0 w 393"/>
                <a:gd name="T25" fmla="*/ 0 h 46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3"/>
                <a:gd name="T40" fmla="*/ 0 h 460"/>
                <a:gd name="T41" fmla="*/ 393 w 393"/>
                <a:gd name="T42" fmla="*/ 460 h 46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3" h="460">
                  <a:moveTo>
                    <a:pt x="0" y="0"/>
                  </a:moveTo>
                  <a:lnTo>
                    <a:pt x="393" y="0"/>
                  </a:lnTo>
                  <a:lnTo>
                    <a:pt x="393" y="394"/>
                  </a:lnTo>
                  <a:lnTo>
                    <a:pt x="262" y="394"/>
                  </a:lnTo>
                  <a:cubicBezTo>
                    <a:pt x="262" y="394"/>
                    <a:pt x="262" y="394"/>
                    <a:pt x="262" y="394"/>
                  </a:cubicBezTo>
                  <a:cubicBezTo>
                    <a:pt x="262" y="430"/>
                    <a:pt x="232" y="460"/>
                    <a:pt x="196" y="460"/>
                  </a:cubicBezTo>
                  <a:cubicBezTo>
                    <a:pt x="160" y="460"/>
                    <a:pt x="131" y="430"/>
                    <a:pt x="131" y="394"/>
                  </a:cubicBezTo>
                  <a:cubicBezTo>
                    <a:pt x="131" y="394"/>
                    <a:pt x="131" y="394"/>
                    <a:pt x="131" y="394"/>
                  </a:cubicBezTo>
                  <a:lnTo>
                    <a:pt x="0" y="394"/>
                  </a:lnTo>
                  <a:lnTo>
                    <a:pt x="0" y="263"/>
                  </a:lnTo>
                  <a:cubicBezTo>
                    <a:pt x="36" y="263"/>
                    <a:pt x="66" y="233"/>
                    <a:pt x="66" y="197"/>
                  </a:cubicBezTo>
                  <a:cubicBezTo>
                    <a:pt x="66" y="161"/>
                    <a:pt x="36" y="131"/>
                    <a:pt x="0" y="1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5A0B9"/>
            </a:solidFill>
            <a:ln w="381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 sz="2400"/>
            </a:p>
          </p:txBody>
        </p:sp>
        <p:sp>
          <p:nvSpPr>
            <p:cNvPr id="8" name="Text Box 13"/>
            <p:cNvSpPr txBox="1">
              <a:spLocks noChangeArrowheads="1"/>
            </p:cNvSpPr>
            <p:nvPr/>
          </p:nvSpPr>
          <p:spPr bwMode="gray">
            <a:xfrm>
              <a:off x="6497606" y="2649403"/>
              <a:ext cx="1446213" cy="61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algn="r">
                <a:spcBef>
                  <a:spcPts val="0"/>
                </a:spcBef>
              </a:pPr>
              <a:r>
                <a:rPr lang="en-US" altLang="en-US" sz="2000" b="1" dirty="0" err="1" smtClean="0">
                  <a:solidFill>
                    <a:srgbClr val="FFFFFF"/>
                  </a:solidFill>
                  <a:latin typeface="Siemens Slab" pitchFamily="2" charset="0"/>
                </a:rPr>
                <a:t>Kunden</a:t>
              </a:r>
              <a:r>
                <a:rPr lang="en-US" altLang="en-US" sz="2000" b="1" dirty="0" smtClean="0">
                  <a:solidFill>
                    <a:srgbClr val="FFFFFF"/>
                  </a:solidFill>
                  <a:latin typeface="Siemens Slab" pitchFamily="2" charset="0"/>
                </a:rPr>
                <a:t>-</a:t>
              </a:r>
            </a:p>
            <a:p>
              <a:pPr algn="r">
                <a:spcBef>
                  <a:spcPts val="0"/>
                </a:spcBef>
              </a:pPr>
              <a:r>
                <a:rPr lang="en-US" altLang="en-US" sz="2000" b="1" dirty="0" err="1" smtClean="0">
                  <a:solidFill>
                    <a:srgbClr val="FFFFFF"/>
                  </a:solidFill>
                  <a:latin typeface="Siemens Slab" pitchFamily="2" charset="0"/>
                </a:rPr>
                <a:t>orientierung</a:t>
              </a:r>
              <a:endParaRPr lang="en-US" altLang="en-US" sz="2000" b="1" dirty="0">
                <a:solidFill>
                  <a:srgbClr val="FFFFFF"/>
                </a:solidFill>
                <a:latin typeface="Siemens Slab" pitchFamily="2" charset="0"/>
              </a:endParaRPr>
            </a:p>
          </p:txBody>
        </p:sp>
        <p:sp>
          <p:nvSpPr>
            <p:cNvPr id="14" name="Text Box 16"/>
            <p:cNvSpPr txBox="1">
              <a:spLocks noChangeArrowheads="1"/>
            </p:cNvSpPr>
            <p:nvPr/>
          </p:nvSpPr>
          <p:spPr bwMode="auto">
            <a:xfrm>
              <a:off x="8078435" y="1972463"/>
              <a:ext cx="3637315" cy="189770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360000" tIns="0" rIns="360000" bIns="0" anchor="ctr"/>
            <a:lstStyle>
              <a:lvl1pPr marL="85725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hangingPunct="0">
                <a:buChar char="•"/>
                <a:defRPr>
                  <a:solidFill>
                    <a:srgbClr val="000000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marL="0">
                <a:spcBef>
                  <a:spcPct val="50000"/>
                </a:spcBef>
              </a:pPr>
              <a:r>
                <a:rPr lang="en-US" altLang="en-US" dirty="0" err="1" smtClean="0">
                  <a:solidFill>
                    <a:srgbClr val="233746"/>
                  </a:solidFill>
                </a:rPr>
                <a:t>Strompreis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als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Standortfaktor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und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soziale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Komponente</a:t>
              </a:r>
              <a:endParaRPr lang="en-US" altLang="en-US" dirty="0" smtClean="0">
                <a:solidFill>
                  <a:srgbClr val="233746"/>
                </a:solidFill>
              </a:endParaRPr>
            </a:p>
            <a:p>
              <a:pPr marL="0">
                <a:spcBef>
                  <a:spcPct val="50000"/>
                </a:spcBef>
              </a:pPr>
              <a:r>
                <a:rPr lang="en-US" altLang="en-US" dirty="0" err="1" smtClean="0">
                  <a:solidFill>
                    <a:srgbClr val="233746"/>
                  </a:solidFill>
                </a:rPr>
                <a:t>Sichere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Versorgung</a:t>
              </a:r>
              <a:r>
                <a:rPr lang="en-US" altLang="en-US" dirty="0" smtClean="0">
                  <a:solidFill>
                    <a:srgbClr val="233746"/>
                  </a:solidFill>
                </a:rPr>
                <a:t> und stabile </a:t>
              </a:r>
              <a:r>
                <a:rPr lang="en-US" altLang="en-US" dirty="0" err="1" smtClean="0">
                  <a:solidFill>
                    <a:srgbClr val="233746"/>
                  </a:solidFill>
                </a:rPr>
                <a:t>Infrastruktureen</a:t>
              </a:r>
              <a:endParaRPr lang="en-US" altLang="en-US" dirty="0">
                <a:solidFill>
                  <a:srgbClr val="233746"/>
                </a:solidFill>
              </a:endParaRPr>
            </a:p>
          </p:txBody>
        </p:sp>
      </p:grpSp>
      <p:sp>
        <p:nvSpPr>
          <p:cNvPr id="20" name="Rechteck 19"/>
          <p:cNvSpPr/>
          <p:nvPr/>
        </p:nvSpPr>
        <p:spPr bwMode="auto">
          <a:xfrm rot="18799696">
            <a:off x="5662995" y="3403600"/>
            <a:ext cx="914400" cy="9144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895075" y="3624370"/>
            <a:ext cx="557845" cy="4739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2800" dirty="0" smtClean="0">
                <a:solidFill>
                  <a:schemeClr val="tx1"/>
                </a:solidFill>
              </a:rPr>
              <a:t>IKT</a:t>
            </a:r>
          </a:p>
        </p:txBody>
      </p:sp>
    </p:spTree>
    <p:extLst>
      <p:ext uri="{BB962C8B-B14F-4D97-AF65-F5344CB8AC3E}">
        <p14:creationId xmlns="" xmlns:p14="http://schemas.microsoft.com/office/powerpoint/2010/main" val="119879056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608014" y="1375054"/>
            <a:ext cx="11015658" cy="5057780"/>
            <a:chOff x="6526500" y="1412875"/>
            <a:chExt cx="5213472" cy="4739709"/>
          </a:xfrm>
        </p:grpSpPr>
        <p:cxnSp>
          <p:nvCxnSpPr>
            <p:cNvPr id="5" name="Gerade Verbindung 4"/>
            <p:cNvCxnSpPr/>
            <p:nvPr/>
          </p:nvCxnSpPr>
          <p:spPr bwMode="auto">
            <a:xfrm>
              <a:off x="11612463" y="1412875"/>
              <a:ext cx="0" cy="4488256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D7D7CD"/>
              </a:solidFill>
              <a:prstDash val="solid"/>
              <a:round/>
              <a:headEnd type="arrow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/>
          </p:nvCxnSpPr>
          <p:spPr bwMode="auto">
            <a:xfrm>
              <a:off x="6526500" y="5901131"/>
              <a:ext cx="5213472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D7D7CD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9" name="Textfeld 58"/>
            <p:cNvSpPr txBox="1"/>
            <p:nvPr/>
          </p:nvSpPr>
          <p:spPr>
            <a:xfrm>
              <a:off x="11312968" y="5962226"/>
              <a:ext cx="176099" cy="190358"/>
            </a:xfrm>
            <a:prstGeom prst="rect">
              <a:avLst/>
            </a:prstGeom>
            <a:noFill/>
          </p:spPr>
          <p:txBody>
            <a:bodyPr wrap="none" lIns="0" tIns="0" rIns="36000" bIns="0" rtlCol="0">
              <a:sp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 dirty="0" smtClean="0">
                  <a:solidFill>
                    <a:srgbClr val="233746"/>
                  </a:solidFill>
                </a:rPr>
                <a:t>Time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atenmengen</a:t>
            </a:r>
            <a:r>
              <a:rPr lang="en-US" dirty="0" smtClean="0"/>
              <a:t> </a:t>
            </a:r>
            <a:r>
              <a:rPr lang="en-US" dirty="0" err="1" smtClean="0"/>
              <a:t>im</a:t>
            </a:r>
            <a:r>
              <a:rPr lang="en-US" dirty="0" smtClean="0"/>
              <a:t> </a:t>
            </a:r>
            <a:r>
              <a:rPr lang="en-US" dirty="0" err="1" smtClean="0"/>
              <a:t>Energiesystem</a:t>
            </a:r>
            <a:r>
              <a:rPr lang="en-US" dirty="0" smtClean="0"/>
              <a:t> </a:t>
            </a:r>
            <a:r>
              <a:rPr lang="en-US" dirty="0" err="1" smtClean="0"/>
              <a:t>steigen</a:t>
            </a:r>
            <a:r>
              <a:rPr lang="en-US" dirty="0" smtClean="0"/>
              <a:t> </a:t>
            </a:r>
            <a:r>
              <a:rPr lang="en-US" dirty="0" err="1" smtClean="0"/>
              <a:t>erheblich</a:t>
            </a:r>
            <a:endParaRPr lang="de-DE" dirty="0" smtClean="0"/>
          </a:p>
        </p:txBody>
      </p:sp>
      <p:sp>
        <p:nvSpPr>
          <p:cNvPr id="7" name="Inhaltsplatzhalter 4"/>
          <p:cNvSpPr>
            <a:spLocks noGrp="1"/>
          </p:cNvSpPr>
          <p:nvPr>
            <p:ph idx="1"/>
          </p:nvPr>
        </p:nvSpPr>
        <p:spPr>
          <a:xfrm>
            <a:off x="608013" y="1961009"/>
            <a:ext cx="6288291" cy="4534206"/>
          </a:xfrm>
        </p:spPr>
        <p:txBody>
          <a:bodyPr bIns="0" anchor="t"/>
          <a:lstStyle/>
          <a:p>
            <a:pPr marL="0" lvl="1" indent="1588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Smart Grids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sind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Realität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. </a:t>
            </a:r>
          </a:p>
          <a:p>
            <a:pPr marL="0" lvl="1" indent="1588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Neue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Aplikationen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verändern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Energiemärkte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und -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unternehmen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.</a:t>
            </a:r>
          </a:p>
          <a:p>
            <a:pPr marL="0" lvl="1" indent="1588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Durchgängige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Intelligenz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ist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Voraussetzung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für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effiziente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Energiesysteme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. </a:t>
            </a:r>
          </a:p>
          <a:p>
            <a:pPr marL="0" lvl="1" indent="1588">
              <a:lnSpc>
                <a:spcPct val="90000"/>
              </a:lnSpc>
              <a:spcBef>
                <a:spcPts val="1800"/>
              </a:spcBef>
              <a:buNone/>
            </a:pPr>
            <a:endParaRPr lang="en-US" sz="3600" b="1" dirty="0" smtClean="0">
              <a:solidFill>
                <a:schemeClr val="accent1"/>
              </a:solidFill>
              <a:latin typeface="Siemens Slab" pitchFamily="2" charset="0"/>
            </a:endParaRPr>
          </a:p>
          <a:p>
            <a:pPr marL="0" lvl="1" indent="1588">
              <a:lnSpc>
                <a:spcPct val="90000"/>
              </a:lnSpc>
              <a:spcBef>
                <a:spcPts val="1800"/>
              </a:spcBef>
              <a:buNone/>
            </a:pPr>
            <a:endParaRPr lang="en-US" sz="4000" b="1" dirty="0" smtClean="0">
              <a:solidFill>
                <a:schemeClr val="accent1"/>
              </a:solidFill>
              <a:latin typeface="Siemens Slab" pitchFamily="2" charset="0"/>
            </a:endParaRPr>
          </a:p>
          <a:p>
            <a:pPr marL="0" lvl="1" indent="1588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 sz="40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endParaRPr lang="en-US" sz="4000" b="1" dirty="0">
              <a:solidFill>
                <a:schemeClr val="accent1"/>
              </a:solidFill>
              <a:latin typeface="Siemens Slab" pitchFamily="2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627063" y="6374853"/>
            <a:ext cx="11084084" cy="156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dirty="0" smtClean="0">
                <a:solidFill>
                  <a:schemeClr val="accent1"/>
                </a:solidFill>
              </a:rPr>
              <a:t>Source: EPRI, GTM Research</a:t>
            </a:r>
          </a:p>
        </p:txBody>
      </p:sp>
      <p:sp>
        <p:nvSpPr>
          <p:cNvPr id="11" name="Freihandform 10"/>
          <p:cNvSpPr/>
          <p:nvPr/>
        </p:nvSpPr>
        <p:spPr bwMode="auto">
          <a:xfrm>
            <a:off x="621156" y="1955401"/>
            <a:ext cx="10471885" cy="4216788"/>
          </a:xfrm>
          <a:custGeom>
            <a:avLst/>
            <a:gdLst>
              <a:gd name="connsiteX0" fmla="*/ 0 w 4709160"/>
              <a:gd name="connsiteY0" fmla="*/ 3180806 h 3226715"/>
              <a:gd name="connsiteX1" fmla="*/ 1090748 w 4709160"/>
              <a:gd name="connsiteY1" fmla="*/ 3193869 h 3226715"/>
              <a:gd name="connsiteX2" fmla="*/ 1476102 w 4709160"/>
              <a:gd name="connsiteY2" fmla="*/ 3213463 h 3226715"/>
              <a:gd name="connsiteX3" fmla="*/ 1652451 w 4709160"/>
              <a:gd name="connsiteY3" fmla="*/ 3219995 h 3226715"/>
              <a:gd name="connsiteX4" fmla="*/ 1737360 w 4709160"/>
              <a:gd name="connsiteY4" fmla="*/ 3226526 h 3226715"/>
              <a:gd name="connsiteX5" fmla="*/ 1939834 w 4709160"/>
              <a:gd name="connsiteY5" fmla="*/ 3206932 h 3226715"/>
              <a:gd name="connsiteX6" fmla="*/ 2181497 w 4709160"/>
              <a:gd name="connsiteY6" fmla="*/ 3141617 h 3226715"/>
              <a:gd name="connsiteX7" fmla="*/ 2286000 w 4709160"/>
              <a:gd name="connsiteY7" fmla="*/ 3102429 h 3226715"/>
              <a:gd name="connsiteX8" fmla="*/ 2305594 w 4709160"/>
              <a:gd name="connsiteY8" fmla="*/ 3095897 h 3226715"/>
              <a:gd name="connsiteX9" fmla="*/ 2383971 w 4709160"/>
              <a:gd name="connsiteY9" fmla="*/ 3063240 h 3226715"/>
              <a:gd name="connsiteX10" fmla="*/ 2423160 w 4709160"/>
              <a:gd name="connsiteY10" fmla="*/ 3050177 h 3226715"/>
              <a:gd name="connsiteX11" fmla="*/ 2442754 w 4709160"/>
              <a:gd name="connsiteY11" fmla="*/ 3037115 h 3226715"/>
              <a:gd name="connsiteX12" fmla="*/ 2508068 w 4709160"/>
              <a:gd name="connsiteY12" fmla="*/ 3024052 h 3226715"/>
              <a:gd name="connsiteX13" fmla="*/ 2560320 w 4709160"/>
              <a:gd name="connsiteY13" fmla="*/ 3004457 h 3226715"/>
              <a:gd name="connsiteX14" fmla="*/ 2586445 w 4709160"/>
              <a:gd name="connsiteY14" fmla="*/ 2991395 h 3226715"/>
              <a:gd name="connsiteX15" fmla="*/ 2651760 w 4709160"/>
              <a:gd name="connsiteY15" fmla="*/ 2978332 h 3226715"/>
              <a:gd name="connsiteX16" fmla="*/ 2769325 w 4709160"/>
              <a:gd name="connsiteY16" fmla="*/ 2932612 h 3226715"/>
              <a:gd name="connsiteX17" fmla="*/ 2788920 w 4709160"/>
              <a:gd name="connsiteY17" fmla="*/ 2919549 h 3226715"/>
              <a:gd name="connsiteX18" fmla="*/ 2815045 w 4709160"/>
              <a:gd name="connsiteY18" fmla="*/ 2906486 h 3226715"/>
              <a:gd name="connsiteX19" fmla="*/ 2873828 w 4709160"/>
              <a:gd name="connsiteY19" fmla="*/ 2834640 h 3226715"/>
              <a:gd name="connsiteX20" fmla="*/ 2965268 w 4709160"/>
              <a:gd name="connsiteY20" fmla="*/ 2762795 h 3226715"/>
              <a:gd name="connsiteX21" fmla="*/ 2991394 w 4709160"/>
              <a:gd name="connsiteY21" fmla="*/ 2717075 h 3226715"/>
              <a:gd name="connsiteX22" fmla="*/ 3037114 w 4709160"/>
              <a:gd name="connsiteY22" fmla="*/ 2658292 h 3226715"/>
              <a:gd name="connsiteX23" fmla="*/ 3056708 w 4709160"/>
              <a:gd name="connsiteY23" fmla="*/ 2638697 h 3226715"/>
              <a:gd name="connsiteX24" fmla="*/ 3141617 w 4709160"/>
              <a:gd name="connsiteY24" fmla="*/ 2527663 h 3226715"/>
              <a:gd name="connsiteX25" fmla="*/ 3219994 w 4709160"/>
              <a:gd name="connsiteY25" fmla="*/ 2449286 h 3226715"/>
              <a:gd name="connsiteX26" fmla="*/ 3233057 w 4709160"/>
              <a:gd name="connsiteY26" fmla="*/ 2429692 h 3226715"/>
              <a:gd name="connsiteX27" fmla="*/ 3304902 w 4709160"/>
              <a:gd name="connsiteY27" fmla="*/ 2344783 h 3226715"/>
              <a:gd name="connsiteX28" fmla="*/ 3304902 w 4709160"/>
              <a:gd name="connsiteY28" fmla="*/ 2227217 h 3226715"/>
              <a:gd name="connsiteX29" fmla="*/ 3324497 w 4709160"/>
              <a:gd name="connsiteY29" fmla="*/ 2070463 h 3226715"/>
              <a:gd name="connsiteX30" fmla="*/ 3337560 w 4709160"/>
              <a:gd name="connsiteY30" fmla="*/ 2044337 h 3226715"/>
              <a:gd name="connsiteX31" fmla="*/ 3357154 w 4709160"/>
              <a:gd name="connsiteY31" fmla="*/ 1998617 h 3226715"/>
              <a:gd name="connsiteX32" fmla="*/ 3383280 w 4709160"/>
              <a:gd name="connsiteY32" fmla="*/ 1979023 h 3226715"/>
              <a:gd name="connsiteX33" fmla="*/ 3448594 w 4709160"/>
              <a:gd name="connsiteY33" fmla="*/ 1946366 h 3226715"/>
              <a:gd name="connsiteX34" fmla="*/ 3559628 w 4709160"/>
              <a:gd name="connsiteY34" fmla="*/ 1874520 h 3226715"/>
              <a:gd name="connsiteX35" fmla="*/ 3605348 w 4709160"/>
              <a:gd name="connsiteY35" fmla="*/ 1854926 h 3226715"/>
              <a:gd name="connsiteX36" fmla="*/ 3624942 w 4709160"/>
              <a:gd name="connsiteY36" fmla="*/ 1841863 h 3226715"/>
              <a:gd name="connsiteX37" fmla="*/ 3651068 w 4709160"/>
              <a:gd name="connsiteY37" fmla="*/ 1828800 h 3226715"/>
              <a:gd name="connsiteX38" fmla="*/ 3788228 w 4709160"/>
              <a:gd name="connsiteY38" fmla="*/ 1711235 h 3226715"/>
              <a:gd name="connsiteX39" fmla="*/ 3833948 w 4709160"/>
              <a:gd name="connsiteY39" fmla="*/ 1658983 h 3226715"/>
              <a:gd name="connsiteX40" fmla="*/ 3944982 w 4709160"/>
              <a:gd name="connsiteY40" fmla="*/ 1561012 h 3226715"/>
              <a:gd name="connsiteX41" fmla="*/ 3990702 w 4709160"/>
              <a:gd name="connsiteY41" fmla="*/ 1515292 h 3226715"/>
              <a:gd name="connsiteX42" fmla="*/ 4140925 w 4709160"/>
              <a:gd name="connsiteY42" fmla="*/ 1404257 h 3226715"/>
              <a:gd name="connsiteX43" fmla="*/ 4193177 w 4709160"/>
              <a:gd name="connsiteY43" fmla="*/ 1365069 h 3226715"/>
              <a:gd name="connsiteX44" fmla="*/ 4212771 w 4709160"/>
              <a:gd name="connsiteY44" fmla="*/ 1345475 h 3226715"/>
              <a:gd name="connsiteX45" fmla="*/ 4245428 w 4709160"/>
              <a:gd name="connsiteY45" fmla="*/ 1325880 h 3226715"/>
              <a:gd name="connsiteX46" fmla="*/ 4395651 w 4709160"/>
              <a:gd name="connsiteY46" fmla="*/ 1247503 h 3226715"/>
              <a:gd name="connsiteX47" fmla="*/ 4467497 w 4709160"/>
              <a:gd name="connsiteY47" fmla="*/ 1175657 h 3226715"/>
              <a:gd name="connsiteX48" fmla="*/ 4474028 w 4709160"/>
              <a:gd name="connsiteY48" fmla="*/ 1143000 h 3226715"/>
              <a:gd name="connsiteX49" fmla="*/ 4506685 w 4709160"/>
              <a:gd name="connsiteY49" fmla="*/ 1038497 h 3226715"/>
              <a:gd name="connsiteX50" fmla="*/ 4513217 w 4709160"/>
              <a:gd name="connsiteY50" fmla="*/ 999309 h 3226715"/>
              <a:gd name="connsiteX51" fmla="*/ 4519748 w 4709160"/>
              <a:gd name="connsiteY51" fmla="*/ 947057 h 3226715"/>
              <a:gd name="connsiteX52" fmla="*/ 4539342 w 4709160"/>
              <a:gd name="connsiteY52" fmla="*/ 881743 h 3226715"/>
              <a:gd name="connsiteX53" fmla="*/ 4545874 w 4709160"/>
              <a:gd name="connsiteY53" fmla="*/ 809897 h 3226715"/>
              <a:gd name="connsiteX54" fmla="*/ 4578531 w 4709160"/>
              <a:gd name="connsiteY54" fmla="*/ 705395 h 3226715"/>
              <a:gd name="connsiteX55" fmla="*/ 4604657 w 4709160"/>
              <a:gd name="connsiteY55" fmla="*/ 574766 h 3226715"/>
              <a:gd name="connsiteX56" fmla="*/ 4630782 w 4709160"/>
              <a:gd name="connsiteY56" fmla="*/ 489857 h 3226715"/>
              <a:gd name="connsiteX57" fmla="*/ 4630782 w 4709160"/>
              <a:gd name="connsiteY57" fmla="*/ 339635 h 3226715"/>
              <a:gd name="connsiteX58" fmla="*/ 4643845 w 4709160"/>
              <a:gd name="connsiteY58" fmla="*/ 320040 h 3226715"/>
              <a:gd name="connsiteX59" fmla="*/ 4689565 w 4709160"/>
              <a:gd name="connsiteY59" fmla="*/ 209006 h 3226715"/>
              <a:gd name="connsiteX60" fmla="*/ 4689565 w 4709160"/>
              <a:gd name="connsiteY60" fmla="*/ 65315 h 3226715"/>
              <a:gd name="connsiteX61" fmla="*/ 4696097 w 4709160"/>
              <a:gd name="connsiteY61" fmla="*/ 39189 h 3226715"/>
              <a:gd name="connsiteX62" fmla="*/ 4709160 w 4709160"/>
              <a:gd name="connsiteY62" fmla="*/ 0 h 3226715"/>
              <a:gd name="connsiteX0" fmla="*/ 0 w 4709160"/>
              <a:gd name="connsiteY0" fmla="*/ 3180806 h 3226715"/>
              <a:gd name="connsiteX1" fmla="*/ 1476102 w 4709160"/>
              <a:gd name="connsiteY1" fmla="*/ 3213463 h 3226715"/>
              <a:gd name="connsiteX2" fmla="*/ 1652451 w 4709160"/>
              <a:gd name="connsiteY2" fmla="*/ 3219995 h 3226715"/>
              <a:gd name="connsiteX3" fmla="*/ 1737360 w 4709160"/>
              <a:gd name="connsiteY3" fmla="*/ 3226526 h 3226715"/>
              <a:gd name="connsiteX4" fmla="*/ 1939834 w 4709160"/>
              <a:gd name="connsiteY4" fmla="*/ 3206932 h 3226715"/>
              <a:gd name="connsiteX5" fmla="*/ 2181497 w 4709160"/>
              <a:gd name="connsiteY5" fmla="*/ 3141617 h 3226715"/>
              <a:gd name="connsiteX6" fmla="*/ 2286000 w 4709160"/>
              <a:gd name="connsiteY6" fmla="*/ 3102429 h 3226715"/>
              <a:gd name="connsiteX7" fmla="*/ 2305594 w 4709160"/>
              <a:gd name="connsiteY7" fmla="*/ 3095897 h 3226715"/>
              <a:gd name="connsiteX8" fmla="*/ 2383971 w 4709160"/>
              <a:gd name="connsiteY8" fmla="*/ 3063240 h 3226715"/>
              <a:gd name="connsiteX9" fmla="*/ 2423160 w 4709160"/>
              <a:gd name="connsiteY9" fmla="*/ 3050177 h 3226715"/>
              <a:gd name="connsiteX10" fmla="*/ 2442754 w 4709160"/>
              <a:gd name="connsiteY10" fmla="*/ 3037115 h 3226715"/>
              <a:gd name="connsiteX11" fmla="*/ 2508068 w 4709160"/>
              <a:gd name="connsiteY11" fmla="*/ 3024052 h 3226715"/>
              <a:gd name="connsiteX12" fmla="*/ 2560320 w 4709160"/>
              <a:gd name="connsiteY12" fmla="*/ 3004457 h 3226715"/>
              <a:gd name="connsiteX13" fmla="*/ 2586445 w 4709160"/>
              <a:gd name="connsiteY13" fmla="*/ 2991395 h 3226715"/>
              <a:gd name="connsiteX14" fmla="*/ 2651760 w 4709160"/>
              <a:gd name="connsiteY14" fmla="*/ 2978332 h 3226715"/>
              <a:gd name="connsiteX15" fmla="*/ 2769325 w 4709160"/>
              <a:gd name="connsiteY15" fmla="*/ 2932612 h 3226715"/>
              <a:gd name="connsiteX16" fmla="*/ 2788920 w 4709160"/>
              <a:gd name="connsiteY16" fmla="*/ 2919549 h 3226715"/>
              <a:gd name="connsiteX17" fmla="*/ 2815045 w 4709160"/>
              <a:gd name="connsiteY17" fmla="*/ 2906486 h 3226715"/>
              <a:gd name="connsiteX18" fmla="*/ 2873828 w 4709160"/>
              <a:gd name="connsiteY18" fmla="*/ 2834640 h 3226715"/>
              <a:gd name="connsiteX19" fmla="*/ 2965268 w 4709160"/>
              <a:gd name="connsiteY19" fmla="*/ 2762795 h 3226715"/>
              <a:gd name="connsiteX20" fmla="*/ 2991394 w 4709160"/>
              <a:gd name="connsiteY20" fmla="*/ 2717075 h 3226715"/>
              <a:gd name="connsiteX21" fmla="*/ 3037114 w 4709160"/>
              <a:gd name="connsiteY21" fmla="*/ 2658292 h 3226715"/>
              <a:gd name="connsiteX22" fmla="*/ 3056708 w 4709160"/>
              <a:gd name="connsiteY22" fmla="*/ 2638697 h 3226715"/>
              <a:gd name="connsiteX23" fmla="*/ 3141617 w 4709160"/>
              <a:gd name="connsiteY23" fmla="*/ 2527663 h 3226715"/>
              <a:gd name="connsiteX24" fmla="*/ 3219994 w 4709160"/>
              <a:gd name="connsiteY24" fmla="*/ 2449286 h 3226715"/>
              <a:gd name="connsiteX25" fmla="*/ 3233057 w 4709160"/>
              <a:gd name="connsiteY25" fmla="*/ 2429692 h 3226715"/>
              <a:gd name="connsiteX26" fmla="*/ 3304902 w 4709160"/>
              <a:gd name="connsiteY26" fmla="*/ 2344783 h 3226715"/>
              <a:gd name="connsiteX27" fmla="*/ 3304902 w 4709160"/>
              <a:gd name="connsiteY27" fmla="*/ 2227217 h 3226715"/>
              <a:gd name="connsiteX28" fmla="*/ 3324497 w 4709160"/>
              <a:gd name="connsiteY28" fmla="*/ 2070463 h 3226715"/>
              <a:gd name="connsiteX29" fmla="*/ 3337560 w 4709160"/>
              <a:gd name="connsiteY29" fmla="*/ 2044337 h 3226715"/>
              <a:gd name="connsiteX30" fmla="*/ 3357154 w 4709160"/>
              <a:gd name="connsiteY30" fmla="*/ 1998617 h 3226715"/>
              <a:gd name="connsiteX31" fmla="*/ 3383280 w 4709160"/>
              <a:gd name="connsiteY31" fmla="*/ 1979023 h 3226715"/>
              <a:gd name="connsiteX32" fmla="*/ 3448594 w 4709160"/>
              <a:gd name="connsiteY32" fmla="*/ 1946366 h 3226715"/>
              <a:gd name="connsiteX33" fmla="*/ 3559628 w 4709160"/>
              <a:gd name="connsiteY33" fmla="*/ 1874520 h 3226715"/>
              <a:gd name="connsiteX34" fmla="*/ 3605348 w 4709160"/>
              <a:gd name="connsiteY34" fmla="*/ 1854926 h 3226715"/>
              <a:gd name="connsiteX35" fmla="*/ 3624942 w 4709160"/>
              <a:gd name="connsiteY35" fmla="*/ 1841863 h 3226715"/>
              <a:gd name="connsiteX36" fmla="*/ 3651068 w 4709160"/>
              <a:gd name="connsiteY36" fmla="*/ 1828800 h 3226715"/>
              <a:gd name="connsiteX37" fmla="*/ 3788228 w 4709160"/>
              <a:gd name="connsiteY37" fmla="*/ 1711235 h 3226715"/>
              <a:gd name="connsiteX38" fmla="*/ 3833948 w 4709160"/>
              <a:gd name="connsiteY38" fmla="*/ 1658983 h 3226715"/>
              <a:gd name="connsiteX39" fmla="*/ 3944982 w 4709160"/>
              <a:gd name="connsiteY39" fmla="*/ 1561012 h 3226715"/>
              <a:gd name="connsiteX40" fmla="*/ 3990702 w 4709160"/>
              <a:gd name="connsiteY40" fmla="*/ 1515292 h 3226715"/>
              <a:gd name="connsiteX41" fmla="*/ 4140925 w 4709160"/>
              <a:gd name="connsiteY41" fmla="*/ 1404257 h 3226715"/>
              <a:gd name="connsiteX42" fmla="*/ 4193177 w 4709160"/>
              <a:gd name="connsiteY42" fmla="*/ 1365069 h 3226715"/>
              <a:gd name="connsiteX43" fmla="*/ 4212771 w 4709160"/>
              <a:gd name="connsiteY43" fmla="*/ 1345475 h 3226715"/>
              <a:gd name="connsiteX44" fmla="*/ 4245428 w 4709160"/>
              <a:gd name="connsiteY44" fmla="*/ 1325880 h 3226715"/>
              <a:gd name="connsiteX45" fmla="*/ 4395651 w 4709160"/>
              <a:gd name="connsiteY45" fmla="*/ 1247503 h 3226715"/>
              <a:gd name="connsiteX46" fmla="*/ 4467497 w 4709160"/>
              <a:gd name="connsiteY46" fmla="*/ 1175657 h 3226715"/>
              <a:gd name="connsiteX47" fmla="*/ 4474028 w 4709160"/>
              <a:gd name="connsiteY47" fmla="*/ 1143000 h 3226715"/>
              <a:gd name="connsiteX48" fmla="*/ 4506685 w 4709160"/>
              <a:gd name="connsiteY48" fmla="*/ 1038497 h 3226715"/>
              <a:gd name="connsiteX49" fmla="*/ 4513217 w 4709160"/>
              <a:gd name="connsiteY49" fmla="*/ 999309 h 3226715"/>
              <a:gd name="connsiteX50" fmla="*/ 4519748 w 4709160"/>
              <a:gd name="connsiteY50" fmla="*/ 947057 h 3226715"/>
              <a:gd name="connsiteX51" fmla="*/ 4539342 w 4709160"/>
              <a:gd name="connsiteY51" fmla="*/ 881743 h 3226715"/>
              <a:gd name="connsiteX52" fmla="*/ 4545874 w 4709160"/>
              <a:gd name="connsiteY52" fmla="*/ 809897 h 3226715"/>
              <a:gd name="connsiteX53" fmla="*/ 4578531 w 4709160"/>
              <a:gd name="connsiteY53" fmla="*/ 705395 h 3226715"/>
              <a:gd name="connsiteX54" fmla="*/ 4604657 w 4709160"/>
              <a:gd name="connsiteY54" fmla="*/ 574766 h 3226715"/>
              <a:gd name="connsiteX55" fmla="*/ 4630782 w 4709160"/>
              <a:gd name="connsiteY55" fmla="*/ 489857 h 3226715"/>
              <a:gd name="connsiteX56" fmla="*/ 4630782 w 4709160"/>
              <a:gd name="connsiteY56" fmla="*/ 339635 h 3226715"/>
              <a:gd name="connsiteX57" fmla="*/ 4643845 w 4709160"/>
              <a:gd name="connsiteY57" fmla="*/ 320040 h 3226715"/>
              <a:gd name="connsiteX58" fmla="*/ 4689565 w 4709160"/>
              <a:gd name="connsiteY58" fmla="*/ 209006 h 3226715"/>
              <a:gd name="connsiteX59" fmla="*/ 4689565 w 4709160"/>
              <a:gd name="connsiteY59" fmla="*/ 65315 h 3226715"/>
              <a:gd name="connsiteX60" fmla="*/ 4696097 w 4709160"/>
              <a:gd name="connsiteY60" fmla="*/ 39189 h 3226715"/>
              <a:gd name="connsiteX61" fmla="*/ 4709160 w 4709160"/>
              <a:gd name="connsiteY61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19748 w 4709160"/>
              <a:gd name="connsiteY49" fmla="*/ 947057 h 3226715"/>
              <a:gd name="connsiteX50" fmla="*/ 4539342 w 4709160"/>
              <a:gd name="connsiteY50" fmla="*/ 881743 h 3226715"/>
              <a:gd name="connsiteX51" fmla="*/ 4545874 w 4709160"/>
              <a:gd name="connsiteY51" fmla="*/ 809897 h 3226715"/>
              <a:gd name="connsiteX52" fmla="*/ 4578531 w 4709160"/>
              <a:gd name="connsiteY52" fmla="*/ 705395 h 3226715"/>
              <a:gd name="connsiteX53" fmla="*/ 4604657 w 4709160"/>
              <a:gd name="connsiteY53" fmla="*/ 574766 h 3226715"/>
              <a:gd name="connsiteX54" fmla="*/ 4630782 w 4709160"/>
              <a:gd name="connsiteY54" fmla="*/ 489857 h 3226715"/>
              <a:gd name="connsiteX55" fmla="*/ 4630782 w 4709160"/>
              <a:gd name="connsiteY55" fmla="*/ 339635 h 3226715"/>
              <a:gd name="connsiteX56" fmla="*/ 4643845 w 4709160"/>
              <a:gd name="connsiteY56" fmla="*/ 320040 h 3226715"/>
              <a:gd name="connsiteX57" fmla="*/ 4689565 w 4709160"/>
              <a:gd name="connsiteY57" fmla="*/ 209006 h 3226715"/>
              <a:gd name="connsiteX58" fmla="*/ 4689565 w 4709160"/>
              <a:gd name="connsiteY58" fmla="*/ 65315 h 3226715"/>
              <a:gd name="connsiteX59" fmla="*/ 4696097 w 4709160"/>
              <a:gd name="connsiteY59" fmla="*/ 39189 h 3226715"/>
              <a:gd name="connsiteX60" fmla="*/ 4709160 w 4709160"/>
              <a:gd name="connsiteY60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19748 w 4709160"/>
              <a:gd name="connsiteY49" fmla="*/ 947057 h 3226715"/>
              <a:gd name="connsiteX50" fmla="*/ 4539342 w 4709160"/>
              <a:gd name="connsiteY50" fmla="*/ 881743 h 3226715"/>
              <a:gd name="connsiteX51" fmla="*/ 4545874 w 4709160"/>
              <a:gd name="connsiteY51" fmla="*/ 809897 h 3226715"/>
              <a:gd name="connsiteX52" fmla="*/ 4578531 w 4709160"/>
              <a:gd name="connsiteY52" fmla="*/ 705395 h 3226715"/>
              <a:gd name="connsiteX53" fmla="*/ 4604657 w 4709160"/>
              <a:gd name="connsiteY53" fmla="*/ 574766 h 3226715"/>
              <a:gd name="connsiteX54" fmla="*/ 4630782 w 4709160"/>
              <a:gd name="connsiteY54" fmla="*/ 489857 h 3226715"/>
              <a:gd name="connsiteX55" fmla="*/ 4630782 w 4709160"/>
              <a:gd name="connsiteY55" fmla="*/ 339635 h 3226715"/>
              <a:gd name="connsiteX56" fmla="*/ 4643845 w 4709160"/>
              <a:gd name="connsiteY56" fmla="*/ 320040 h 3226715"/>
              <a:gd name="connsiteX57" fmla="*/ 4689565 w 4709160"/>
              <a:gd name="connsiteY57" fmla="*/ 209006 h 3226715"/>
              <a:gd name="connsiteX58" fmla="*/ 4689565 w 4709160"/>
              <a:gd name="connsiteY58" fmla="*/ 65315 h 3226715"/>
              <a:gd name="connsiteX59" fmla="*/ 4709160 w 4709160"/>
              <a:gd name="connsiteY59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19748 w 4709160"/>
              <a:gd name="connsiteY49" fmla="*/ 947057 h 3226715"/>
              <a:gd name="connsiteX50" fmla="*/ 4539342 w 4709160"/>
              <a:gd name="connsiteY50" fmla="*/ 881743 h 3226715"/>
              <a:gd name="connsiteX51" fmla="*/ 4545874 w 4709160"/>
              <a:gd name="connsiteY51" fmla="*/ 809897 h 3226715"/>
              <a:gd name="connsiteX52" fmla="*/ 4578531 w 4709160"/>
              <a:gd name="connsiteY52" fmla="*/ 705395 h 3226715"/>
              <a:gd name="connsiteX53" fmla="*/ 4604657 w 4709160"/>
              <a:gd name="connsiteY53" fmla="*/ 574766 h 3226715"/>
              <a:gd name="connsiteX54" fmla="*/ 4630782 w 4709160"/>
              <a:gd name="connsiteY54" fmla="*/ 489857 h 3226715"/>
              <a:gd name="connsiteX55" fmla="*/ 4630782 w 4709160"/>
              <a:gd name="connsiteY55" fmla="*/ 339635 h 3226715"/>
              <a:gd name="connsiteX56" fmla="*/ 4643845 w 4709160"/>
              <a:gd name="connsiteY56" fmla="*/ 320040 h 3226715"/>
              <a:gd name="connsiteX57" fmla="*/ 4689565 w 4709160"/>
              <a:gd name="connsiteY57" fmla="*/ 209006 h 3226715"/>
              <a:gd name="connsiteX58" fmla="*/ 4709160 w 4709160"/>
              <a:gd name="connsiteY58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19748 w 4709160"/>
              <a:gd name="connsiteY49" fmla="*/ 947057 h 3226715"/>
              <a:gd name="connsiteX50" fmla="*/ 4539342 w 4709160"/>
              <a:gd name="connsiteY50" fmla="*/ 881743 h 3226715"/>
              <a:gd name="connsiteX51" fmla="*/ 4545874 w 4709160"/>
              <a:gd name="connsiteY51" fmla="*/ 809897 h 3226715"/>
              <a:gd name="connsiteX52" fmla="*/ 4578531 w 4709160"/>
              <a:gd name="connsiteY52" fmla="*/ 705395 h 3226715"/>
              <a:gd name="connsiteX53" fmla="*/ 4604657 w 4709160"/>
              <a:gd name="connsiteY53" fmla="*/ 574766 h 3226715"/>
              <a:gd name="connsiteX54" fmla="*/ 4630782 w 4709160"/>
              <a:gd name="connsiteY54" fmla="*/ 489857 h 3226715"/>
              <a:gd name="connsiteX55" fmla="*/ 4630782 w 4709160"/>
              <a:gd name="connsiteY55" fmla="*/ 339635 h 3226715"/>
              <a:gd name="connsiteX56" fmla="*/ 4643845 w 4709160"/>
              <a:gd name="connsiteY56" fmla="*/ 320040 h 3226715"/>
              <a:gd name="connsiteX57" fmla="*/ 4709160 w 4709160"/>
              <a:gd name="connsiteY57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19748 w 4709160"/>
              <a:gd name="connsiteY49" fmla="*/ 947057 h 3226715"/>
              <a:gd name="connsiteX50" fmla="*/ 4539342 w 4709160"/>
              <a:gd name="connsiteY50" fmla="*/ 881743 h 3226715"/>
              <a:gd name="connsiteX51" fmla="*/ 4545874 w 4709160"/>
              <a:gd name="connsiteY51" fmla="*/ 809897 h 3226715"/>
              <a:gd name="connsiteX52" fmla="*/ 4578531 w 4709160"/>
              <a:gd name="connsiteY52" fmla="*/ 705395 h 3226715"/>
              <a:gd name="connsiteX53" fmla="*/ 4604657 w 4709160"/>
              <a:gd name="connsiteY53" fmla="*/ 574766 h 3226715"/>
              <a:gd name="connsiteX54" fmla="*/ 4630782 w 4709160"/>
              <a:gd name="connsiteY54" fmla="*/ 489857 h 3226715"/>
              <a:gd name="connsiteX55" fmla="*/ 4630782 w 4709160"/>
              <a:gd name="connsiteY55" fmla="*/ 339635 h 3226715"/>
              <a:gd name="connsiteX56" fmla="*/ 4709160 w 4709160"/>
              <a:gd name="connsiteY56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19748 w 4709160"/>
              <a:gd name="connsiteY49" fmla="*/ 947057 h 3226715"/>
              <a:gd name="connsiteX50" fmla="*/ 4539342 w 4709160"/>
              <a:gd name="connsiteY50" fmla="*/ 881743 h 3226715"/>
              <a:gd name="connsiteX51" fmla="*/ 4545874 w 4709160"/>
              <a:gd name="connsiteY51" fmla="*/ 809897 h 3226715"/>
              <a:gd name="connsiteX52" fmla="*/ 4578531 w 4709160"/>
              <a:gd name="connsiteY52" fmla="*/ 705395 h 3226715"/>
              <a:gd name="connsiteX53" fmla="*/ 4604657 w 4709160"/>
              <a:gd name="connsiteY53" fmla="*/ 574766 h 3226715"/>
              <a:gd name="connsiteX54" fmla="*/ 4630782 w 4709160"/>
              <a:gd name="connsiteY54" fmla="*/ 339635 h 3226715"/>
              <a:gd name="connsiteX55" fmla="*/ 4709160 w 4709160"/>
              <a:gd name="connsiteY55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19748 w 4709160"/>
              <a:gd name="connsiteY49" fmla="*/ 947057 h 3226715"/>
              <a:gd name="connsiteX50" fmla="*/ 4539342 w 4709160"/>
              <a:gd name="connsiteY50" fmla="*/ 881743 h 3226715"/>
              <a:gd name="connsiteX51" fmla="*/ 4545874 w 4709160"/>
              <a:gd name="connsiteY51" fmla="*/ 809897 h 3226715"/>
              <a:gd name="connsiteX52" fmla="*/ 4578531 w 4709160"/>
              <a:gd name="connsiteY52" fmla="*/ 705395 h 3226715"/>
              <a:gd name="connsiteX53" fmla="*/ 4630782 w 4709160"/>
              <a:gd name="connsiteY53" fmla="*/ 339635 h 3226715"/>
              <a:gd name="connsiteX54" fmla="*/ 4709160 w 4709160"/>
              <a:gd name="connsiteY54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19748 w 4709160"/>
              <a:gd name="connsiteY49" fmla="*/ 947057 h 3226715"/>
              <a:gd name="connsiteX50" fmla="*/ 4545874 w 4709160"/>
              <a:gd name="connsiteY50" fmla="*/ 809897 h 3226715"/>
              <a:gd name="connsiteX51" fmla="*/ 4578531 w 4709160"/>
              <a:gd name="connsiteY51" fmla="*/ 705395 h 3226715"/>
              <a:gd name="connsiteX52" fmla="*/ 4630782 w 4709160"/>
              <a:gd name="connsiteY52" fmla="*/ 339635 h 3226715"/>
              <a:gd name="connsiteX53" fmla="*/ 4709160 w 4709160"/>
              <a:gd name="connsiteY53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19748 w 4709160"/>
              <a:gd name="connsiteY49" fmla="*/ 947057 h 3226715"/>
              <a:gd name="connsiteX50" fmla="*/ 4578531 w 4709160"/>
              <a:gd name="connsiteY50" fmla="*/ 705395 h 3226715"/>
              <a:gd name="connsiteX51" fmla="*/ 4630782 w 4709160"/>
              <a:gd name="connsiteY51" fmla="*/ 339635 h 3226715"/>
              <a:gd name="connsiteX52" fmla="*/ 4709160 w 4709160"/>
              <a:gd name="connsiteY52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13217 w 4709160"/>
              <a:gd name="connsiteY48" fmla="*/ 999309 h 3226715"/>
              <a:gd name="connsiteX49" fmla="*/ 4578531 w 4709160"/>
              <a:gd name="connsiteY49" fmla="*/ 705395 h 3226715"/>
              <a:gd name="connsiteX50" fmla="*/ 4630782 w 4709160"/>
              <a:gd name="connsiteY50" fmla="*/ 339635 h 3226715"/>
              <a:gd name="connsiteX51" fmla="*/ 4709160 w 4709160"/>
              <a:gd name="connsiteY51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474028 w 4709160"/>
              <a:gd name="connsiteY46" fmla="*/ 1143000 h 3226715"/>
              <a:gd name="connsiteX47" fmla="*/ 4506685 w 4709160"/>
              <a:gd name="connsiteY47" fmla="*/ 1038497 h 3226715"/>
              <a:gd name="connsiteX48" fmla="*/ 4578531 w 4709160"/>
              <a:gd name="connsiteY48" fmla="*/ 705395 h 3226715"/>
              <a:gd name="connsiteX49" fmla="*/ 4630782 w 4709160"/>
              <a:gd name="connsiteY49" fmla="*/ 339635 h 3226715"/>
              <a:gd name="connsiteX50" fmla="*/ 4709160 w 4709160"/>
              <a:gd name="connsiteY50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467497 w 4709160"/>
              <a:gd name="connsiteY45" fmla="*/ 1175657 h 3226715"/>
              <a:gd name="connsiteX46" fmla="*/ 4506685 w 4709160"/>
              <a:gd name="connsiteY46" fmla="*/ 1038497 h 3226715"/>
              <a:gd name="connsiteX47" fmla="*/ 4578531 w 4709160"/>
              <a:gd name="connsiteY47" fmla="*/ 705395 h 3226715"/>
              <a:gd name="connsiteX48" fmla="*/ 4630782 w 4709160"/>
              <a:gd name="connsiteY48" fmla="*/ 339635 h 3226715"/>
              <a:gd name="connsiteX49" fmla="*/ 4709160 w 4709160"/>
              <a:gd name="connsiteY49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395651 w 4709160"/>
              <a:gd name="connsiteY44" fmla="*/ 1247503 h 3226715"/>
              <a:gd name="connsiteX45" fmla="*/ 4506685 w 4709160"/>
              <a:gd name="connsiteY45" fmla="*/ 1038497 h 3226715"/>
              <a:gd name="connsiteX46" fmla="*/ 4578531 w 4709160"/>
              <a:gd name="connsiteY46" fmla="*/ 705395 h 3226715"/>
              <a:gd name="connsiteX47" fmla="*/ 4630782 w 4709160"/>
              <a:gd name="connsiteY47" fmla="*/ 339635 h 3226715"/>
              <a:gd name="connsiteX48" fmla="*/ 4709160 w 4709160"/>
              <a:gd name="connsiteY48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12771 w 4709160"/>
              <a:gd name="connsiteY42" fmla="*/ 1345475 h 3226715"/>
              <a:gd name="connsiteX43" fmla="*/ 4245428 w 4709160"/>
              <a:gd name="connsiteY43" fmla="*/ 1325880 h 3226715"/>
              <a:gd name="connsiteX44" fmla="*/ 4506685 w 4709160"/>
              <a:gd name="connsiteY44" fmla="*/ 1038497 h 3226715"/>
              <a:gd name="connsiteX45" fmla="*/ 4578531 w 4709160"/>
              <a:gd name="connsiteY45" fmla="*/ 705395 h 3226715"/>
              <a:gd name="connsiteX46" fmla="*/ 4630782 w 4709160"/>
              <a:gd name="connsiteY46" fmla="*/ 339635 h 3226715"/>
              <a:gd name="connsiteX47" fmla="*/ 4709160 w 4709160"/>
              <a:gd name="connsiteY47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245428 w 4709160"/>
              <a:gd name="connsiteY42" fmla="*/ 1325880 h 3226715"/>
              <a:gd name="connsiteX43" fmla="*/ 4506685 w 4709160"/>
              <a:gd name="connsiteY43" fmla="*/ 1038497 h 3226715"/>
              <a:gd name="connsiteX44" fmla="*/ 4578531 w 4709160"/>
              <a:gd name="connsiteY44" fmla="*/ 705395 h 3226715"/>
              <a:gd name="connsiteX45" fmla="*/ 4630782 w 4709160"/>
              <a:gd name="connsiteY45" fmla="*/ 339635 h 3226715"/>
              <a:gd name="connsiteX46" fmla="*/ 4709160 w 4709160"/>
              <a:gd name="connsiteY46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40925 w 4709160"/>
              <a:gd name="connsiteY40" fmla="*/ 1404257 h 3226715"/>
              <a:gd name="connsiteX41" fmla="*/ 4193177 w 4709160"/>
              <a:gd name="connsiteY41" fmla="*/ 1365069 h 3226715"/>
              <a:gd name="connsiteX42" fmla="*/ 4506685 w 4709160"/>
              <a:gd name="connsiteY42" fmla="*/ 1038497 h 3226715"/>
              <a:gd name="connsiteX43" fmla="*/ 4578531 w 4709160"/>
              <a:gd name="connsiteY43" fmla="*/ 705395 h 3226715"/>
              <a:gd name="connsiteX44" fmla="*/ 4630782 w 4709160"/>
              <a:gd name="connsiteY44" fmla="*/ 339635 h 3226715"/>
              <a:gd name="connsiteX45" fmla="*/ 4709160 w 4709160"/>
              <a:gd name="connsiteY45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3990702 w 4709160"/>
              <a:gd name="connsiteY39" fmla="*/ 1515292 h 3226715"/>
              <a:gd name="connsiteX40" fmla="*/ 4193177 w 4709160"/>
              <a:gd name="connsiteY40" fmla="*/ 1365069 h 3226715"/>
              <a:gd name="connsiteX41" fmla="*/ 4506685 w 4709160"/>
              <a:gd name="connsiteY41" fmla="*/ 1038497 h 3226715"/>
              <a:gd name="connsiteX42" fmla="*/ 4578531 w 4709160"/>
              <a:gd name="connsiteY42" fmla="*/ 705395 h 3226715"/>
              <a:gd name="connsiteX43" fmla="*/ 4630782 w 4709160"/>
              <a:gd name="connsiteY43" fmla="*/ 339635 h 3226715"/>
              <a:gd name="connsiteX44" fmla="*/ 4709160 w 4709160"/>
              <a:gd name="connsiteY44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44982 w 4709160"/>
              <a:gd name="connsiteY38" fmla="*/ 1561012 h 3226715"/>
              <a:gd name="connsiteX39" fmla="*/ 4193177 w 4709160"/>
              <a:gd name="connsiteY39" fmla="*/ 1365069 h 3226715"/>
              <a:gd name="connsiteX40" fmla="*/ 4506685 w 4709160"/>
              <a:gd name="connsiteY40" fmla="*/ 1038497 h 3226715"/>
              <a:gd name="connsiteX41" fmla="*/ 4578531 w 4709160"/>
              <a:gd name="connsiteY41" fmla="*/ 705395 h 3226715"/>
              <a:gd name="connsiteX42" fmla="*/ 4630782 w 4709160"/>
              <a:gd name="connsiteY42" fmla="*/ 339635 h 3226715"/>
              <a:gd name="connsiteX43" fmla="*/ 4709160 w 4709160"/>
              <a:gd name="connsiteY43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64032 w 4709160"/>
              <a:gd name="connsiteY38" fmla="*/ 1630862 h 3226715"/>
              <a:gd name="connsiteX39" fmla="*/ 4193177 w 4709160"/>
              <a:gd name="connsiteY39" fmla="*/ 1365069 h 3226715"/>
              <a:gd name="connsiteX40" fmla="*/ 4506685 w 4709160"/>
              <a:gd name="connsiteY40" fmla="*/ 1038497 h 3226715"/>
              <a:gd name="connsiteX41" fmla="*/ 4578531 w 4709160"/>
              <a:gd name="connsiteY41" fmla="*/ 705395 h 3226715"/>
              <a:gd name="connsiteX42" fmla="*/ 4630782 w 4709160"/>
              <a:gd name="connsiteY42" fmla="*/ 339635 h 3226715"/>
              <a:gd name="connsiteX43" fmla="*/ 4709160 w 4709160"/>
              <a:gd name="connsiteY43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833948 w 4709160"/>
              <a:gd name="connsiteY37" fmla="*/ 1658983 h 3226715"/>
              <a:gd name="connsiteX38" fmla="*/ 3964032 w 4709160"/>
              <a:gd name="connsiteY38" fmla="*/ 1630862 h 3226715"/>
              <a:gd name="connsiteX39" fmla="*/ 4234452 w 4709160"/>
              <a:gd name="connsiteY39" fmla="*/ 1374594 h 3226715"/>
              <a:gd name="connsiteX40" fmla="*/ 4506685 w 4709160"/>
              <a:gd name="connsiteY40" fmla="*/ 1038497 h 3226715"/>
              <a:gd name="connsiteX41" fmla="*/ 4578531 w 4709160"/>
              <a:gd name="connsiteY41" fmla="*/ 705395 h 3226715"/>
              <a:gd name="connsiteX42" fmla="*/ 4630782 w 4709160"/>
              <a:gd name="connsiteY42" fmla="*/ 339635 h 3226715"/>
              <a:gd name="connsiteX43" fmla="*/ 4709160 w 4709160"/>
              <a:gd name="connsiteY43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788228 w 4709160"/>
              <a:gd name="connsiteY36" fmla="*/ 1711235 h 3226715"/>
              <a:gd name="connsiteX37" fmla="*/ 3964032 w 4709160"/>
              <a:gd name="connsiteY37" fmla="*/ 1630862 h 3226715"/>
              <a:gd name="connsiteX38" fmla="*/ 4234452 w 4709160"/>
              <a:gd name="connsiteY38" fmla="*/ 1374594 h 3226715"/>
              <a:gd name="connsiteX39" fmla="*/ 4506685 w 4709160"/>
              <a:gd name="connsiteY39" fmla="*/ 1038497 h 3226715"/>
              <a:gd name="connsiteX40" fmla="*/ 4578531 w 4709160"/>
              <a:gd name="connsiteY40" fmla="*/ 705395 h 3226715"/>
              <a:gd name="connsiteX41" fmla="*/ 4630782 w 4709160"/>
              <a:gd name="connsiteY41" fmla="*/ 339635 h 3226715"/>
              <a:gd name="connsiteX42" fmla="*/ 4709160 w 4709160"/>
              <a:gd name="connsiteY42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24942 w 4709160"/>
              <a:gd name="connsiteY34" fmla="*/ 1841863 h 3226715"/>
              <a:gd name="connsiteX35" fmla="*/ 3651068 w 4709160"/>
              <a:gd name="connsiteY35" fmla="*/ 1828800 h 3226715"/>
              <a:gd name="connsiteX36" fmla="*/ 3819978 w 4709160"/>
              <a:gd name="connsiteY36" fmla="*/ 1742985 h 3226715"/>
              <a:gd name="connsiteX37" fmla="*/ 3964032 w 4709160"/>
              <a:gd name="connsiteY37" fmla="*/ 1630862 h 3226715"/>
              <a:gd name="connsiteX38" fmla="*/ 4234452 w 4709160"/>
              <a:gd name="connsiteY38" fmla="*/ 1374594 h 3226715"/>
              <a:gd name="connsiteX39" fmla="*/ 4506685 w 4709160"/>
              <a:gd name="connsiteY39" fmla="*/ 1038497 h 3226715"/>
              <a:gd name="connsiteX40" fmla="*/ 4578531 w 4709160"/>
              <a:gd name="connsiteY40" fmla="*/ 705395 h 3226715"/>
              <a:gd name="connsiteX41" fmla="*/ 4630782 w 4709160"/>
              <a:gd name="connsiteY41" fmla="*/ 339635 h 3226715"/>
              <a:gd name="connsiteX42" fmla="*/ 4709160 w 4709160"/>
              <a:gd name="connsiteY42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651068 w 4709160"/>
              <a:gd name="connsiteY34" fmla="*/ 1828800 h 3226715"/>
              <a:gd name="connsiteX35" fmla="*/ 3819978 w 4709160"/>
              <a:gd name="connsiteY35" fmla="*/ 1742985 h 3226715"/>
              <a:gd name="connsiteX36" fmla="*/ 3964032 w 4709160"/>
              <a:gd name="connsiteY36" fmla="*/ 1630862 h 3226715"/>
              <a:gd name="connsiteX37" fmla="*/ 4234452 w 4709160"/>
              <a:gd name="connsiteY37" fmla="*/ 1374594 h 3226715"/>
              <a:gd name="connsiteX38" fmla="*/ 4506685 w 4709160"/>
              <a:gd name="connsiteY38" fmla="*/ 1038497 h 3226715"/>
              <a:gd name="connsiteX39" fmla="*/ 4578531 w 4709160"/>
              <a:gd name="connsiteY39" fmla="*/ 705395 h 3226715"/>
              <a:gd name="connsiteX40" fmla="*/ 4630782 w 4709160"/>
              <a:gd name="connsiteY40" fmla="*/ 339635 h 3226715"/>
              <a:gd name="connsiteX41" fmla="*/ 4709160 w 4709160"/>
              <a:gd name="connsiteY41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05348 w 4709160"/>
              <a:gd name="connsiteY33" fmla="*/ 1854926 h 3226715"/>
              <a:gd name="connsiteX34" fmla="*/ 3819978 w 4709160"/>
              <a:gd name="connsiteY34" fmla="*/ 1742985 h 3226715"/>
              <a:gd name="connsiteX35" fmla="*/ 3964032 w 4709160"/>
              <a:gd name="connsiteY35" fmla="*/ 1630862 h 3226715"/>
              <a:gd name="connsiteX36" fmla="*/ 4234452 w 4709160"/>
              <a:gd name="connsiteY36" fmla="*/ 1374594 h 3226715"/>
              <a:gd name="connsiteX37" fmla="*/ 4506685 w 4709160"/>
              <a:gd name="connsiteY37" fmla="*/ 1038497 h 3226715"/>
              <a:gd name="connsiteX38" fmla="*/ 4578531 w 4709160"/>
              <a:gd name="connsiteY38" fmla="*/ 705395 h 3226715"/>
              <a:gd name="connsiteX39" fmla="*/ 4630782 w 4709160"/>
              <a:gd name="connsiteY39" fmla="*/ 339635 h 3226715"/>
              <a:gd name="connsiteX40" fmla="*/ 4709160 w 4709160"/>
              <a:gd name="connsiteY40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559628 w 4709160"/>
              <a:gd name="connsiteY32" fmla="*/ 1874520 h 3226715"/>
              <a:gd name="connsiteX33" fmla="*/ 3652973 w 4709160"/>
              <a:gd name="connsiteY33" fmla="*/ 1893026 h 3226715"/>
              <a:gd name="connsiteX34" fmla="*/ 3819978 w 4709160"/>
              <a:gd name="connsiteY34" fmla="*/ 1742985 h 3226715"/>
              <a:gd name="connsiteX35" fmla="*/ 3964032 w 4709160"/>
              <a:gd name="connsiteY35" fmla="*/ 1630862 h 3226715"/>
              <a:gd name="connsiteX36" fmla="*/ 4234452 w 4709160"/>
              <a:gd name="connsiteY36" fmla="*/ 1374594 h 3226715"/>
              <a:gd name="connsiteX37" fmla="*/ 4506685 w 4709160"/>
              <a:gd name="connsiteY37" fmla="*/ 1038497 h 3226715"/>
              <a:gd name="connsiteX38" fmla="*/ 4578531 w 4709160"/>
              <a:gd name="connsiteY38" fmla="*/ 705395 h 3226715"/>
              <a:gd name="connsiteX39" fmla="*/ 4630782 w 4709160"/>
              <a:gd name="connsiteY39" fmla="*/ 339635 h 3226715"/>
              <a:gd name="connsiteX40" fmla="*/ 4709160 w 4709160"/>
              <a:gd name="connsiteY40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448594 w 4709160"/>
              <a:gd name="connsiteY31" fmla="*/ 1946366 h 3226715"/>
              <a:gd name="connsiteX32" fmla="*/ 3652973 w 4709160"/>
              <a:gd name="connsiteY32" fmla="*/ 1893026 h 3226715"/>
              <a:gd name="connsiteX33" fmla="*/ 3819978 w 4709160"/>
              <a:gd name="connsiteY33" fmla="*/ 1742985 h 3226715"/>
              <a:gd name="connsiteX34" fmla="*/ 3964032 w 4709160"/>
              <a:gd name="connsiteY34" fmla="*/ 1630862 h 3226715"/>
              <a:gd name="connsiteX35" fmla="*/ 4234452 w 4709160"/>
              <a:gd name="connsiteY35" fmla="*/ 1374594 h 3226715"/>
              <a:gd name="connsiteX36" fmla="*/ 4506685 w 4709160"/>
              <a:gd name="connsiteY36" fmla="*/ 1038497 h 3226715"/>
              <a:gd name="connsiteX37" fmla="*/ 4578531 w 4709160"/>
              <a:gd name="connsiteY37" fmla="*/ 705395 h 3226715"/>
              <a:gd name="connsiteX38" fmla="*/ 4630782 w 4709160"/>
              <a:gd name="connsiteY38" fmla="*/ 339635 h 3226715"/>
              <a:gd name="connsiteX39" fmla="*/ 4709160 w 4709160"/>
              <a:gd name="connsiteY39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383280 w 4709160"/>
              <a:gd name="connsiteY30" fmla="*/ 1979023 h 3226715"/>
              <a:gd name="connsiteX31" fmla="*/ 3652973 w 4709160"/>
              <a:gd name="connsiteY31" fmla="*/ 1893026 h 3226715"/>
              <a:gd name="connsiteX32" fmla="*/ 3819978 w 4709160"/>
              <a:gd name="connsiteY32" fmla="*/ 1742985 h 3226715"/>
              <a:gd name="connsiteX33" fmla="*/ 3964032 w 4709160"/>
              <a:gd name="connsiteY33" fmla="*/ 1630862 h 3226715"/>
              <a:gd name="connsiteX34" fmla="*/ 4234452 w 4709160"/>
              <a:gd name="connsiteY34" fmla="*/ 1374594 h 3226715"/>
              <a:gd name="connsiteX35" fmla="*/ 4506685 w 4709160"/>
              <a:gd name="connsiteY35" fmla="*/ 1038497 h 3226715"/>
              <a:gd name="connsiteX36" fmla="*/ 4578531 w 4709160"/>
              <a:gd name="connsiteY36" fmla="*/ 705395 h 3226715"/>
              <a:gd name="connsiteX37" fmla="*/ 4630782 w 4709160"/>
              <a:gd name="connsiteY37" fmla="*/ 339635 h 3226715"/>
              <a:gd name="connsiteX38" fmla="*/ 4709160 w 4709160"/>
              <a:gd name="connsiteY38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37560 w 4709160"/>
              <a:gd name="connsiteY28" fmla="*/ 2044337 h 3226715"/>
              <a:gd name="connsiteX29" fmla="*/ 3357154 w 4709160"/>
              <a:gd name="connsiteY29" fmla="*/ 1998617 h 3226715"/>
              <a:gd name="connsiteX30" fmla="*/ 3652973 w 4709160"/>
              <a:gd name="connsiteY30" fmla="*/ 1893026 h 3226715"/>
              <a:gd name="connsiteX31" fmla="*/ 3819978 w 4709160"/>
              <a:gd name="connsiteY31" fmla="*/ 1742985 h 3226715"/>
              <a:gd name="connsiteX32" fmla="*/ 3964032 w 4709160"/>
              <a:gd name="connsiteY32" fmla="*/ 1630862 h 3226715"/>
              <a:gd name="connsiteX33" fmla="*/ 4234452 w 4709160"/>
              <a:gd name="connsiteY33" fmla="*/ 1374594 h 3226715"/>
              <a:gd name="connsiteX34" fmla="*/ 4506685 w 4709160"/>
              <a:gd name="connsiteY34" fmla="*/ 1038497 h 3226715"/>
              <a:gd name="connsiteX35" fmla="*/ 4578531 w 4709160"/>
              <a:gd name="connsiteY35" fmla="*/ 705395 h 3226715"/>
              <a:gd name="connsiteX36" fmla="*/ 4630782 w 4709160"/>
              <a:gd name="connsiteY36" fmla="*/ 339635 h 3226715"/>
              <a:gd name="connsiteX37" fmla="*/ 4709160 w 4709160"/>
              <a:gd name="connsiteY37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357154 w 4709160"/>
              <a:gd name="connsiteY28" fmla="*/ 1998617 h 3226715"/>
              <a:gd name="connsiteX29" fmla="*/ 3652973 w 4709160"/>
              <a:gd name="connsiteY29" fmla="*/ 1893026 h 3226715"/>
              <a:gd name="connsiteX30" fmla="*/ 3819978 w 4709160"/>
              <a:gd name="connsiteY30" fmla="*/ 1742985 h 3226715"/>
              <a:gd name="connsiteX31" fmla="*/ 3964032 w 4709160"/>
              <a:gd name="connsiteY31" fmla="*/ 1630862 h 3226715"/>
              <a:gd name="connsiteX32" fmla="*/ 4234452 w 4709160"/>
              <a:gd name="connsiteY32" fmla="*/ 1374594 h 3226715"/>
              <a:gd name="connsiteX33" fmla="*/ 4506685 w 4709160"/>
              <a:gd name="connsiteY33" fmla="*/ 1038497 h 3226715"/>
              <a:gd name="connsiteX34" fmla="*/ 4578531 w 4709160"/>
              <a:gd name="connsiteY34" fmla="*/ 705395 h 3226715"/>
              <a:gd name="connsiteX35" fmla="*/ 4630782 w 4709160"/>
              <a:gd name="connsiteY35" fmla="*/ 339635 h 3226715"/>
              <a:gd name="connsiteX36" fmla="*/ 4709160 w 4709160"/>
              <a:gd name="connsiteY36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24497 w 4709160"/>
              <a:gd name="connsiteY27" fmla="*/ 2070463 h 3226715"/>
              <a:gd name="connsiteX28" fmla="*/ 3652973 w 4709160"/>
              <a:gd name="connsiteY28" fmla="*/ 1893026 h 3226715"/>
              <a:gd name="connsiteX29" fmla="*/ 3819978 w 4709160"/>
              <a:gd name="connsiteY29" fmla="*/ 1742985 h 3226715"/>
              <a:gd name="connsiteX30" fmla="*/ 3964032 w 4709160"/>
              <a:gd name="connsiteY30" fmla="*/ 1630862 h 3226715"/>
              <a:gd name="connsiteX31" fmla="*/ 4234452 w 4709160"/>
              <a:gd name="connsiteY31" fmla="*/ 1374594 h 3226715"/>
              <a:gd name="connsiteX32" fmla="*/ 4506685 w 4709160"/>
              <a:gd name="connsiteY32" fmla="*/ 1038497 h 3226715"/>
              <a:gd name="connsiteX33" fmla="*/ 4578531 w 4709160"/>
              <a:gd name="connsiteY33" fmla="*/ 705395 h 3226715"/>
              <a:gd name="connsiteX34" fmla="*/ 4630782 w 4709160"/>
              <a:gd name="connsiteY34" fmla="*/ 339635 h 3226715"/>
              <a:gd name="connsiteX35" fmla="*/ 4709160 w 4709160"/>
              <a:gd name="connsiteY35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04902 w 4709160"/>
              <a:gd name="connsiteY26" fmla="*/ 2227217 h 3226715"/>
              <a:gd name="connsiteX27" fmla="*/ 3346722 w 4709160"/>
              <a:gd name="connsiteY27" fmla="*/ 2095863 h 3226715"/>
              <a:gd name="connsiteX28" fmla="*/ 3652973 w 4709160"/>
              <a:gd name="connsiteY28" fmla="*/ 1893026 h 3226715"/>
              <a:gd name="connsiteX29" fmla="*/ 3819978 w 4709160"/>
              <a:gd name="connsiteY29" fmla="*/ 1742985 h 3226715"/>
              <a:gd name="connsiteX30" fmla="*/ 3964032 w 4709160"/>
              <a:gd name="connsiteY30" fmla="*/ 1630862 h 3226715"/>
              <a:gd name="connsiteX31" fmla="*/ 4234452 w 4709160"/>
              <a:gd name="connsiteY31" fmla="*/ 1374594 h 3226715"/>
              <a:gd name="connsiteX32" fmla="*/ 4506685 w 4709160"/>
              <a:gd name="connsiteY32" fmla="*/ 1038497 h 3226715"/>
              <a:gd name="connsiteX33" fmla="*/ 4578531 w 4709160"/>
              <a:gd name="connsiteY33" fmla="*/ 705395 h 3226715"/>
              <a:gd name="connsiteX34" fmla="*/ 4630782 w 4709160"/>
              <a:gd name="connsiteY34" fmla="*/ 339635 h 3226715"/>
              <a:gd name="connsiteX35" fmla="*/ 4709160 w 4709160"/>
              <a:gd name="connsiteY35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04902 w 4709160"/>
              <a:gd name="connsiteY25" fmla="*/ 2344783 h 3226715"/>
              <a:gd name="connsiteX26" fmla="*/ 3346722 w 4709160"/>
              <a:gd name="connsiteY26" fmla="*/ 2095863 h 3226715"/>
              <a:gd name="connsiteX27" fmla="*/ 3652973 w 4709160"/>
              <a:gd name="connsiteY27" fmla="*/ 1893026 h 3226715"/>
              <a:gd name="connsiteX28" fmla="*/ 3819978 w 4709160"/>
              <a:gd name="connsiteY28" fmla="*/ 1742985 h 3226715"/>
              <a:gd name="connsiteX29" fmla="*/ 3964032 w 4709160"/>
              <a:gd name="connsiteY29" fmla="*/ 1630862 h 3226715"/>
              <a:gd name="connsiteX30" fmla="*/ 4234452 w 4709160"/>
              <a:gd name="connsiteY30" fmla="*/ 1374594 h 3226715"/>
              <a:gd name="connsiteX31" fmla="*/ 4506685 w 4709160"/>
              <a:gd name="connsiteY31" fmla="*/ 1038497 h 3226715"/>
              <a:gd name="connsiteX32" fmla="*/ 4578531 w 4709160"/>
              <a:gd name="connsiteY32" fmla="*/ 705395 h 3226715"/>
              <a:gd name="connsiteX33" fmla="*/ 4630782 w 4709160"/>
              <a:gd name="connsiteY33" fmla="*/ 339635 h 3226715"/>
              <a:gd name="connsiteX34" fmla="*/ 4709160 w 4709160"/>
              <a:gd name="connsiteY34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233057 w 4709160"/>
              <a:gd name="connsiteY24" fmla="*/ 2429692 h 3226715"/>
              <a:gd name="connsiteX25" fmla="*/ 3346722 w 4709160"/>
              <a:gd name="connsiteY25" fmla="*/ 2095863 h 3226715"/>
              <a:gd name="connsiteX26" fmla="*/ 3652973 w 4709160"/>
              <a:gd name="connsiteY26" fmla="*/ 1893026 h 3226715"/>
              <a:gd name="connsiteX27" fmla="*/ 3819978 w 4709160"/>
              <a:gd name="connsiteY27" fmla="*/ 1742985 h 3226715"/>
              <a:gd name="connsiteX28" fmla="*/ 3964032 w 4709160"/>
              <a:gd name="connsiteY28" fmla="*/ 1630862 h 3226715"/>
              <a:gd name="connsiteX29" fmla="*/ 4234452 w 4709160"/>
              <a:gd name="connsiteY29" fmla="*/ 1374594 h 3226715"/>
              <a:gd name="connsiteX30" fmla="*/ 4506685 w 4709160"/>
              <a:gd name="connsiteY30" fmla="*/ 1038497 h 3226715"/>
              <a:gd name="connsiteX31" fmla="*/ 4578531 w 4709160"/>
              <a:gd name="connsiteY31" fmla="*/ 705395 h 3226715"/>
              <a:gd name="connsiteX32" fmla="*/ 4630782 w 4709160"/>
              <a:gd name="connsiteY32" fmla="*/ 339635 h 3226715"/>
              <a:gd name="connsiteX33" fmla="*/ 4709160 w 4709160"/>
              <a:gd name="connsiteY33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219994 w 4709160"/>
              <a:gd name="connsiteY23" fmla="*/ 2449286 h 3226715"/>
              <a:gd name="connsiteX24" fmla="*/ 3346722 w 4709160"/>
              <a:gd name="connsiteY24" fmla="*/ 2095863 h 3226715"/>
              <a:gd name="connsiteX25" fmla="*/ 3652973 w 4709160"/>
              <a:gd name="connsiteY25" fmla="*/ 1893026 h 3226715"/>
              <a:gd name="connsiteX26" fmla="*/ 3819978 w 4709160"/>
              <a:gd name="connsiteY26" fmla="*/ 1742985 h 3226715"/>
              <a:gd name="connsiteX27" fmla="*/ 3964032 w 4709160"/>
              <a:gd name="connsiteY27" fmla="*/ 1630862 h 3226715"/>
              <a:gd name="connsiteX28" fmla="*/ 4234452 w 4709160"/>
              <a:gd name="connsiteY28" fmla="*/ 1374594 h 3226715"/>
              <a:gd name="connsiteX29" fmla="*/ 4506685 w 4709160"/>
              <a:gd name="connsiteY29" fmla="*/ 1038497 h 3226715"/>
              <a:gd name="connsiteX30" fmla="*/ 4578531 w 4709160"/>
              <a:gd name="connsiteY30" fmla="*/ 705395 h 3226715"/>
              <a:gd name="connsiteX31" fmla="*/ 4630782 w 4709160"/>
              <a:gd name="connsiteY31" fmla="*/ 339635 h 3226715"/>
              <a:gd name="connsiteX32" fmla="*/ 4709160 w 4709160"/>
              <a:gd name="connsiteY32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41617 w 4709160"/>
              <a:gd name="connsiteY22" fmla="*/ 2527663 h 3226715"/>
              <a:gd name="connsiteX23" fmla="*/ 3172369 w 4709160"/>
              <a:gd name="connsiteY23" fmla="*/ 2465161 h 3226715"/>
              <a:gd name="connsiteX24" fmla="*/ 3346722 w 4709160"/>
              <a:gd name="connsiteY24" fmla="*/ 2095863 h 3226715"/>
              <a:gd name="connsiteX25" fmla="*/ 3652973 w 4709160"/>
              <a:gd name="connsiteY25" fmla="*/ 1893026 h 3226715"/>
              <a:gd name="connsiteX26" fmla="*/ 3819978 w 4709160"/>
              <a:gd name="connsiteY26" fmla="*/ 1742985 h 3226715"/>
              <a:gd name="connsiteX27" fmla="*/ 3964032 w 4709160"/>
              <a:gd name="connsiteY27" fmla="*/ 1630862 h 3226715"/>
              <a:gd name="connsiteX28" fmla="*/ 4234452 w 4709160"/>
              <a:gd name="connsiteY28" fmla="*/ 1374594 h 3226715"/>
              <a:gd name="connsiteX29" fmla="*/ 4506685 w 4709160"/>
              <a:gd name="connsiteY29" fmla="*/ 1038497 h 3226715"/>
              <a:gd name="connsiteX30" fmla="*/ 4578531 w 4709160"/>
              <a:gd name="connsiteY30" fmla="*/ 705395 h 3226715"/>
              <a:gd name="connsiteX31" fmla="*/ 4630782 w 4709160"/>
              <a:gd name="connsiteY31" fmla="*/ 339635 h 3226715"/>
              <a:gd name="connsiteX32" fmla="*/ 4709160 w 4709160"/>
              <a:gd name="connsiteY32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056708 w 4709160"/>
              <a:gd name="connsiteY21" fmla="*/ 2638697 h 3226715"/>
              <a:gd name="connsiteX22" fmla="*/ 3172369 w 4709160"/>
              <a:gd name="connsiteY22" fmla="*/ 2465161 h 3226715"/>
              <a:gd name="connsiteX23" fmla="*/ 3346722 w 4709160"/>
              <a:gd name="connsiteY23" fmla="*/ 2095863 h 3226715"/>
              <a:gd name="connsiteX24" fmla="*/ 3652973 w 4709160"/>
              <a:gd name="connsiteY24" fmla="*/ 1893026 h 3226715"/>
              <a:gd name="connsiteX25" fmla="*/ 3819978 w 4709160"/>
              <a:gd name="connsiteY25" fmla="*/ 1742985 h 3226715"/>
              <a:gd name="connsiteX26" fmla="*/ 3964032 w 4709160"/>
              <a:gd name="connsiteY26" fmla="*/ 1630862 h 3226715"/>
              <a:gd name="connsiteX27" fmla="*/ 4234452 w 4709160"/>
              <a:gd name="connsiteY27" fmla="*/ 1374594 h 3226715"/>
              <a:gd name="connsiteX28" fmla="*/ 4506685 w 4709160"/>
              <a:gd name="connsiteY28" fmla="*/ 1038497 h 3226715"/>
              <a:gd name="connsiteX29" fmla="*/ 4578531 w 4709160"/>
              <a:gd name="connsiteY29" fmla="*/ 705395 h 3226715"/>
              <a:gd name="connsiteX30" fmla="*/ 4630782 w 4709160"/>
              <a:gd name="connsiteY30" fmla="*/ 339635 h 3226715"/>
              <a:gd name="connsiteX31" fmla="*/ 4709160 w 4709160"/>
              <a:gd name="connsiteY31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037114 w 4709160"/>
              <a:gd name="connsiteY20" fmla="*/ 2658292 h 3226715"/>
              <a:gd name="connsiteX21" fmla="*/ 3172369 w 4709160"/>
              <a:gd name="connsiteY21" fmla="*/ 2465161 h 3226715"/>
              <a:gd name="connsiteX22" fmla="*/ 3346722 w 4709160"/>
              <a:gd name="connsiteY22" fmla="*/ 2095863 h 3226715"/>
              <a:gd name="connsiteX23" fmla="*/ 3652973 w 4709160"/>
              <a:gd name="connsiteY23" fmla="*/ 1893026 h 3226715"/>
              <a:gd name="connsiteX24" fmla="*/ 3819978 w 4709160"/>
              <a:gd name="connsiteY24" fmla="*/ 1742985 h 3226715"/>
              <a:gd name="connsiteX25" fmla="*/ 3964032 w 4709160"/>
              <a:gd name="connsiteY25" fmla="*/ 1630862 h 3226715"/>
              <a:gd name="connsiteX26" fmla="*/ 4234452 w 4709160"/>
              <a:gd name="connsiteY26" fmla="*/ 1374594 h 3226715"/>
              <a:gd name="connsiteX27" fmla="*/ 4506685 w 4709160"/>
              <a:gd name="connsiteY27" fmla="*/ 1038497 h 3226715"/>
              <a:gd name="connsiteX28" fmla="*/ 4578531 w 4709160"/>
              <a:gd name="connsiteY28" fmla="*/ 705395 h 3226715"/>
              <a:gd name="connsiteX29" fmla="*/ 4630782 w 4709160"/>
              <a:gd name="connsiteY29" fmla="*/ 339635 h 3226715"/>
              <a:gd name="connsiteX30" fmla="*/ 4709160 w 4709160"/>
              <a:gd name="connsiteY30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2991394 w 4709160"/>
              <a:gd name="connsiteY19" fmla="*/ 2717075 h 3226715"/>
              <a:gd name="connsiteX20" fmla="*/ 3172369 w 4709160"/>
              <a:gd name="connsiteY20" fmla="*/ 2465161 h 3226715"/>
              <a:gd name="connsiteX21" fmla="*/ 3346722 w 4709160"/>
              <a:gd name="connsiteY21" fmla="*/ 2095863 h 3226715"/>
              <a:gd name="connsiteX22" fmla="*/ 3652973 w 4709160"/>
              <a:gd name="connsiteY22" fmla="*/ 1893026 h 3226715"/>
              <a:gd name="connsiteX23" fmla="*/ 3819978 w 4709160"/>
              <a:gd name="connsiteY23" fmla="*/ 1742985 h 3226715"/>
              <a:gd name="connsiteX24" fmla="*/ 3964032 w 4709160"/>
              <a:gd name="connsiteY24" fmla="*/ 1630862 h 3226715"/>
              <a:gd name="connsiteX25" fmla="*/ 4234452 w 4709160"/>
              <a:gd name="connsiteY25" fmla="*/ 1374594 h 3226715"/>
              <a:gd name="connsiteX26" fmla="*/ 4506685 w 4709160"/>
              <a:gd name="connsiteY26" fmla="*/ 1038497 h 3226715"/>
              <a:gd name="connsiteX27" fmla="*/ 4578531 w 4709160"/>
              <a:gd name="connsiteY27" fmla="*/ 705395 h 3226715"/>
              <a:gd name="connsiteX28" fmla="*/ 4630782 w 4709160"/>
              <a:gd name="connsiteY28" fmla="*/ 339635 h 3226715"/>
              <a:gd name="connsiteX29" fmla="*/ 4709160 w 4709160"/>
              <a:gd name="connsiteY29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2965268 w 4709160"/>
              <a:gd name="connsiteY18" fmla="*/ 2762795 h 3226715"/>
              <a:gd name="connsiteX19" fmla="*/ 3172369 w 4709160"/>
              <a:gd name="connsiteY19" fmla="*/ 2465161 h 3226715"/>
              <a:gd name="connsiteX20" fmla="*/ 3346722 w 4709160"/>
              <a:gd name="connsiteY20" fmla="*/ 2095863 h 3226715"/>
              <a:gd name="connsiteX21" fmla="*/ 3652973 w 4709160"/>
              <a:gd name="connsiteY21" fmla="*/ 1893026 h 3226715"/>
              <a:gd name="connsiteX22" fmla="*/ 3819978 w 4709160"/>
              <a:gd name="connsiteY22" fmla="*/ 1742985 h 3226715"/>
              <a:gd name="connsiteX23" fmla="*/ 3964032 w 4709160"/>
              <a:gd name="connsiteY23" fmla="*/ 1630862 h 3226715"/>
              <a:gd name="connsiteX24" fmla="*/ 4234452 w 4709160"/>
              <a:gd name="connsiteY24" fmla="*/ 1374594 h 3226715"/>
              <a:gd name="connsiteX25" fmla="*/ 4506685 w 4709160"/>
              <a:gd name="connsiteY25" fmla="*/ 1038497 h 3226715"/>
              <a:gd name="connsiteX26" fmla="*/ 4578531 w 4709160"/>
              <a:gd name="connsiteY26" fmla="*/ 705395 h 3226715"/>
              <a:gd name="connsiteX27" fmla="*/ 4630782 w 4709160"/>
              <a:gd name="connsiteY27" fmla="*/ 339635 h 3226715"/>
              <a:gd name="connsiteX28" fmla="*/ 4709160 w 4709160"/>
              <a:gd name="connsiteY28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15045 w 4709160"/>
              <a:gd name="connsiteY16" fmla="*/ 2906486 h 3226715"/>
              <a:gd name="connsiteX17" fmla="*/ 2873828 w 4709160"/>
              <a:gd name="connsiteY17" fmla="*/ 2834640 h 3226715"/>
              <a:gd name="connsiteX18" fmla="*/ 3172369 w 4709160"/>
              <a:gd name="connsiteY18" fmla="*/ 2465161 h 3226715"/>
              <a:gd name="connsiteX19" fmla="*/ 3346722 w 4709160"/>
              <a:gd name="connsiteY19" fmla="*/ 2095863 h 3226715"/>
              <a:gd name="connsiteX20" fmla="*/ 3652973 w 4709160"/>
              <a:gd name="connsiteY20" fmla="*/ 1893026 h 3226715"/>
              <a:gd name="connsiteX21" fmla="*/ 3819978 w 4709160"/>
              <a:gd name="connsiteY21" fmla="*/ 1742985 h 3226715"/>
              <a:gd name="connsiteX22" fmla="*/ 3964032 w 4709160"/>
              <a:gd name="connsiteY22" fmla="*/ 1630862 h 3226715"/>
              <a:gd name="connsiteX23" fmla="*/ 4234452 w 4709160"/>
              <a:gd name="connsiteY23" fmla="*/ 1374594 h 3226715"/>
              <a:gd name="connsiteX24" fmla="*/ 4506685 w 4709160"/>
              <a:gd name="connsiteY24" fmla="*/ 1038497 h 3226715"/>
              <a:gd name="connsiteX25" fmla="*/ 4578531 w 4709160"/>
              <a:gd name="connsiteY25" fmla="*/ 705395 h 3226715"/>
              <a:gd name="connsiteX26" fmla="*/ 4630782 w 4709160"/>
              <a:gd name="connsiteY26" fmla="*/ 339635 h 3226715"/>
              <a:gd name="connsiteX27" fmla="*/ 4709160 w 4709160"/>
              <a:gd name="connsiteY27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788920 w 4709160"/>
              <a:gd name="connsiteY15" fmla="*/ 2919549 h 3226715"/>
              <a:gd name="connsiteX16" fmla="*/ 2873828 w 4709160"/>
              <a:gd name="connsiteY16" fmla="*/ 2834640 h 3226715"/>
              <a:gd name="connsiteX17" fmla="*/ 3172369 w 4709160"/>
              <a:gd name="connsiteY17" fmla="*/ 2465161 h 3226715"/>
              <a:gd name="connsiteX18" fmla="*/ 3346722 w 4709160"/>
              <a:gd name="connsiteY18" fmla="*/ 2095863 h 3226715"/>
              <a:gd name="connsiteX19" fmla="*/ 3652973 w 4709160"/>
              <a:gd name="connsiteY19" fmla="*/ 1893026 h 3226715"/>
              <a:gd name="connsiteX20" fmla="*/ 3819978 w 4709160"/>
              <a:gd name="connsiteY20" fmla="*/ 1742985 h 3226715"/>
              <a:gd name="connsiteX21" fmla="*/ 3964032 w 4709160"/>
              <a:gd name="connsiteY21" fmla="*/ 1630862 h 3226715"/>
              <a:gd name="connsiteX22" fmla="*/ 4234452 w 4709160"/>
              <a:gd name="connsiteY22" fmla="*/ 1374594 h 3226715"/>
              <a:gd name="connsiteX23" fmla="*/ 4506685 w 4709160"/>
              <a:gd name="connsiteY23" fmla="*/ 1038497 h 3226715"/>
              <a:gd name="connsiteX24" fmla="*/ 4578531 w 4709160"/>
              <a:gd name="connsiteY24" fmla="*/ 705395 h 3226715"/>
              <a:gd name="connsiteX25" fmla="*/ 4630782 w 4709160"/>
              <a:gd name="connsiteY25" fmla="*/ 339635 h 3226715"/>
              <a:gd name="connsiteX26" fmla="*/ 4709160 w 4709160"/>
              <a:gd name="connsiteY26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769325 w 4709160"/>
              <a:gd name="connsiteY14" fmla="*/ 2932612 h 3226715"/>
              <a:gd name="connsiteX15" fmla="*/ 2873828 w 4709160"/>
              <a:gd name="connsiteY15" fmla="*/ 2834640 h 3226715"/>
              <a:gd name="connsiteX16" fmla="*/ 3172369 w 4709160"/>
              <a:gd name="connsiteY16" fmla="*/ 2465161 h 3226715"/>
              <a:gd name="connsiteX17" fmla="*/ 3346722 w 4709160"/>
              <a:gd name="connsiteY17" fmla="*/ 2095863 h 3226715"/>
              <a:gd name="connsiteX18" fmla="*/ 3652973 w 4709160"/>
              <a:gd name="connsiteY18" fmla="*/ 1893026 h 3226715"/>
              <a:gd name="connsiteX19" fmla="*/ 3819978 w 4709160"/>
              <a:gd name="connsiteY19" fmla="*/ 1742985 h 3226715"/>
              <a:gd name="connsiteX20" fmla="*/ 3964032 w 4709160"/>
              <a:gd name="connsiteY20" fmla="*/ 1630862 h 3226715"/>
              <a:gd name="connsiteX21" fmla="*/ 4234452 w 4709160"/>
              <a:gd name="connsiteY21" fmla="*/ 1374594 h 3226715"/>
              <a:gd name="connsiteX22" fmla="*/ 4506685 w 4709160"/>
              <a:gd name="connsiteY22" fmla="*/ 1038497 h 3226715"/>
              <a:gd name="connsiteX23" fmla="*/ 4578531 w 4709160"/>
              <a:gd name="connsiteY23" fmla="*/ 705395 h 3226715"/>
              <a:gd name="connsiteX24" fmla="*/ 4630782 w 4709160"/>
              <a:gd name="connsiteY24" fmla="*/ 339635 h 3226715"/>
              <a:gd name="connsiteX25" fmla="*/ 4709160 w 4709160"/>
              <a:gd name="connsiteY25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873828 w 4709160"/>
              <a:gd name="connsiteY14" fmla="*/ 2834640 h 3226715"/>
              <a:gd name="connsiteX15" fmla="*/ 3172369 w 4709160"/>
              <a:gd name="connsiteY15" fmla="*/ 2465161 h 3226715"/>
              <a:gd name="connsiteX16" fmla="*/ 3346722 w 4709160"/>
              <a:gd name="connsiteY16" fmla="*/ 2095863 h 3226715"/>
              <a:gd name="connsiteX17" fmla="*/ 3652973 w 4709160"/>
              <a:gd name="connsiteY17" fmla="*/ 1893026 h 3226715"/>
              <a:gd name="connsiteX18" fmla="*/ 3819978 w 4709160"/>
              <a:gd name="connsiteY18" fmla="*/ 1742985 h 3226715"/>
              <a:gd name="connsiteX19" fmla="*/ 3964032 w 4709160"/>
              <a:gd name="connsiteY19" fmla="*/ 1630862 h 3226715"/>
              <a:gd name="connsiteX20" fmla="*/ 4234452 w 4709160"/>
              <a:gd name="connsiteY20" fmla="*/ 1374594 h 3226715"/>
              <a:gd name="connsiteX21" fmla="*/ 4506685 w 4709160"/>
              <a:gd name="connsiteY21" fmla="*/ 1038497 h 3226715"/>
              <a:gd name="connsiteX22" fmla="*/ 4578531 w 4709160"/>
              <a:gd name="connsiteY22" fmla="*/ 705395 h 3226715"/>
              <a:gd name="connsiteX23" fmla="*/ 4630782 w 4709160"/>
              <a:gd name="connsiteY23" fmla="*/ 339635 h 3226715"/>
              <a:gd name="connsiteX24" fmla="*/ 4709160 w 4709160"/>
              <a:gd name="connsiteY24" fmla="*/ 0 h 3226715"/>
              <a:gd name="connsiteX0" fmla="*/ 0 w 4709160"/>
              <a:gd name="connsiteY0" fmla="*/ 3180806 h 3226715"/>
              <a:gd name="connsiteX1" fmla="*/ 1652451 w 4709160"/>
              <a:gd name="connsiteY1" fmla="*/ 3219995 h 3226715"/>
              <a:gd name="connsiteX2" fmla="*/ 1737360 w 4709160"/>
              <a:gd name="connsiteY2" fmla="*/ 3226526 h 3226715"/>
              <a:gd name="connsiteX3" fmla="*/ 1939834 w 4709160"/>
              <a:gd name="connsiteY3" fmla="*/ 3206932 h 3226715"/>
              <a:gd name="connsiteX4" fmla="*/ 2181497 w 4709160"/>
              <a:gd name="connsiteY4" fmla="*/ 3141617 h 3226715"/>
              <a:gd name="connsiteX5" fmla="*/ 2286000 w 4709160"/>
              <a:gd name="connsiteY5" fmla="*/ 3102429 h 3226715"/>
              <a:gd name="connsiteX6" fmla="*/ 2305594 w 4709160"/>
              <a:gd name="connsiteY6" fmla="*/ 3095897 h 3226715"/>
              <a:gd name="connsiteX7" fmla="*/ 2383971 w 4709160"/>
              <a:gd name="connsiteY7" fmla="*/ 3063240 h 3226715"/>
              <a:gd name="connsiteX8" fmla="*/ 2423160 w 4709160"/>
              <a:gd name="connsiteY8" fmla="*/ 3050177 h 3226715"/>
              <a:gd name="connsiteX9" fmla="*/ 2442754 w 4709160"/>
              <a:gd name="connsiteY9" fmla="*/ 3037115 h 3226715"/>
              <a:gd name="connsiteX10" fmla="*/ 2508068 w 4709160"/>
              <a:gd name="connsiteY10" fmla="*/ 3024052 h 3226715"/>
              <a:gd name="connsiteX11" fmla="*/ 2560320 w 4709160"/>
              <a:gd name="connsiteY11" fmla="*/ 3004457 h 3226715"/>
              <a:gd name="connsiteX12" fmla="*/ 2586445 w 4709160"/>
              <a:gd name="connsiteY12" fmla="*/ 2991395 h 3226715"/>
              <a:gd name="connsiteX13" fmla="*/ 2651760 w 4709160"/>
              <a:gd name="connsiteY13" fmla="*/ 2978332 h 3226715"/>
              <a:gd name="connsiteX14" fmla="*/ 2823028 w 4709160"/>
              <a:gd name="connsiteY14" fmla="*/ 2850515 h 3226715"/>
              <a:gd name="connsiteX15" fmla="*/ 3172369 w 4709160"/>
              <a:gd name="connsiteY15" fmla="*/ 2465161 h 3226715"/>
              <a:gd name="connsiteX16" fmla="*/ 3346722 w 4709160"/>
              <a:gd name="connsiteY16" fmla="*/ 2095863 h 3226715"/>
              <a:gd name="connsiteX17" fmla="*/ 3652973 w 4709160"/>
              <a:gd name="connsiteY17" fmla="*/ 1893026 h 3226715"/>
              <a:gd name="connsiteX18" fmla="*/ 3819978 w 4709160"/>
              <a:gd name="connsiteY18" fmla="*/ 1742985 h 3226715"/>
              <a:gd name="connsiteX19" fmla="*/ 3964032 w 4709160"/>
              <a:gd name="connsiteY19" fmla="*/ 1630862 h 3226715"/>
              <a:gd name="connsiteX20" fmla="*/ 4234452 w 4709160"/>
              <a:gd name="connsiteY20" fmla="*/ 1374594 h 3226715"/>
              <a:gd name="connsiteX21" fmla="*/ 4506685 w 4709160"/>
              <a:gd name="connsiteY21" fmla="*/ 1038497 h 3226715"/>
              <a:gd name="connsiteX22" fmla="*/ 4578531 w 4709160"/>
              <a:gd name="connsiteY22" fmla="*/ 705395 h 3226715"/>
              <a:gd name="connsiteX23" fmla="*/ 4630782 w 4709160"/>
              <a:gd name="connsiteY23" fmla="*/ 339635 h 3226715"/>
              <a:gd name="connsiteX24" fmla="*/ 4709160 w 4709160"/>
              <a:gd name="connsiteY24" fmla="*/ 0 h 3226715"/>
              <a:gd name="connsiteX0" fmla="*/ 0 w 4709160"/>
              <a:gd name="connsiteY0" fmla="*/ 3180806 h 3226526"/>
              <a:gd name="connsiteX1" fmla="*/ 1737360 w 4709160"/>
              <a:gd name="connsiteY1" fmla="*/ 3226526 h 3226526"/>
              <a:gd name="connsiteX2" fmla="*/ 1939834 w 4709160"/>
              <a:gd name="connsiteY2" fmla="*/ 3206932 h 3226526"/>
              <a:gd name="connsiteX3" fmla="*/ 2181497 w 4709160"/>
              <a:gd name="connsiteY3" fmla="*/ 3141617 h 3226526"/>
              <a:gd name="connsiteX4" fmla="*/ 2286000 w 4709160"/>
              <a:gd name="connsiteY4" fmla="*/ 3102429 h 3226526"/>
              <a:gd name="connsiteX5" fmla="*/ 2305594 w 4709160"/>
              <a:gd name="connsiteY5" fmla="*/ 3095897 h 3226526"/>
              <a:gd name="connsiteX6" fmla="*/ 2383971 w 4709160"/>
              <a:gd name="connsiteY6" fmla="*/ 3063240 h 3226526"/>
              <a:gd name="connsiteX7" fmla="*/ 2423160 w 4709160"/>
              <a:gd name="connsiteY7" fmla="*/ 3050177 h 3226526"/>
              <a:gd name="connsiteX8" fmla="*/ 2442754 w 4709160"/>
              <a:gd name="connsiteY8" fmla="*/ 3037115 h 3226526"/>
              <a:gd name="connsiteX9" fmla="*/ 2508068 w 4709160"/>
              <a:gd name="connsiteY9" fmla="*/ 3024052 h 3226526"/>
              <a:gd name="connsiteX10" fmla="*/ 2560320 w 4709160"/>
              <a:gd name="connsiteY10" fmla="*/ 3004457 h 3226526"/>
              <a:gd name="connsiteX11" fmla="*/ 2586445 w 4709160"/>
              <a:gd name="connsiteY11" fmla="*/ 2991395 h 3226526"/>
              <a:gd name="connsiteX12" fmla="*/ 2651760 w 4709160"/>
              <a:gd name="connsiteY12" fmla="*/ 2978332 h 3226526"/>
              <a:gd name="connsiteX13" fmla="*/ 2823028 w 4709160"/>
              <a:gd name="connsiteY13" fmla="*/ 2850515 h 3226526"/>
              <a:gd name="connsiteX14" fmla="*/ 3172369 w 4709160"/>
              <a:gd name="connsiteY14" fmla="*/ 2465161 h 3226526"/>
              <a:gd name="connsiteX15" fmla="*/ 3346722 w 4709160"/>
              <a:gd name="connsiteY15" fmla="*/ 2095863 h 3226526"/>
              <a:gd name="connsiteX16" fmla="*/ 3652973 w 4709160"/>
              <a:gd name="connsiteY16" fmla="*/ 1893026 h 3226526"/>
              <a:gd name="connsiteX17" fmla="*/ 3819978 w 4709160"/>
              <a:gd name="connsiteY17" fmla="*/ 1742985 h 3226526"/>
              <a:gd name="connsiteX18" fmla="*/ 3964032 w 4709160"/>
              <a:gd name="connsiteY18" fmla="*/ 1630862 h 3226526"/>
              <a:gd name="connsiteX19" fmla="*/ 4234452 w 4709160"/>
              <a:gd name="connsiteY19" fmla="*/ 1374594 h 3226526"/>
              <a:gd name="connsiteX20" fmla="*/ 4506685 w 4709160"/>
              <a:gd name="connsiteY20" fmla="*/ 1038497 h 3226526"/>
              <a:gd name="connsiteX21" fmla="*/ 4578531 w 4709160"/>
              <a:gd name="connsiteY21" fmla="*/ 705395 h 3226526"/>
              <a:gd name="connsiteX22" fmla="*/ 4630782 w 4709160"/>
              <a:gd name="connsiteY22" fmla="*/ 339635 h 3226526"/>
              <a:gd name="connsiteX23" fmla="*/ 4709160 w 4709160"/>
              <a:gd name="connsiteY23" fmla="*/ 0 h 3226526"/>
              <a:gd name="connsiteX0" fmla="*/ 0 w 4709160"/>
              <a:gd name="connsiteY0" fmla="*/ 3180806 h 3206932"/>
              <a:gd name="connsiteX1" fmla="*/ 1939834 w 4709160"/>
              <a:gd name="connsiteY1" fmla="*/ 3206932 h 3206932"/>
              <a:gd name="connsiteX2" fmla="*/ 2181497 w 4709160"/>
              <a:gd name="connsiteY2" fmla="*/ 3141617 h 3206932"/>
              <a:gd name="connsiteX3" fmla="*/ 2286000 w 4709160"/>
              <a:gd name="connsiteY3" fmla="*/ 3102429 h 3206932"/>
              <a:gd name="connsiteX4" fmla="*/ 2305594 w 4709160"/>
              <a:gd name="connsiteY4" fmla="*/ 3095897 h 3206932"/>
              <a:gd name="connsiteX5" fmla="*/ 2383971 w 4709160"/>
              <a:gd name="connsiteY5" fmla="*/ 3063240 h 3206932"/>
              <a:gd name="connsiteX6" fmla="*/ 2423160 w 4709160"/>
              <a:gd name="connsiteY6" fmla="*/ 3050177 h 3206932"/>
              <a:gd name="connsiteX7" fmla="*/ 2442754 w 4709160"/>
              <a:gd name="connsiteY7" fmla="*/ 3037115 h 3206932"/>
              <a:gd name="connsiteX8" fmla="*/ 2508068 w 4709160"/>
              <a:gd name="connsiteY8" fmla="*/ 3024052 h 3206932"/>
              <a:gd name="connsiteX9" fmla="*/ 2560320 w 4709160"/>
              <a:gd name="connsiteY9" fmla="*/ 3004457 h 3206932"/>
              <a:gd name="connsiteX10" fmla="*/ 2586445 w 4709160"/>
              <a:gd name="connsiteY10" fmla="*/ 2991395 h 3206932"/>
              <a:gd name="connsiteX11" fmla="*/ 2651760 w 4709160"/>
              <a:gd name="connsiteY11" fmla="*/ 2978332 h 3206932"/>
              <a:gd name="connsiteX12" fmla="*/ 2823028 w 4709160"/>
              <a:gd name="connsiteY12" fmla="*/ 2850515 h 3206932"/>
              <a:gd name="connsiteX13" fmla="*/ 3172369 w 4709160"/>
              <a:gd name="connsiteY13" fmla="*/ 2465161 h 3206932"/>
              <a:gd name="connsiteX14" fmla="*/ 3346722 w 4709160"/>
              <a:gd name="connsiteY14" fmla="*/ 2095863 h 3206932"/>
              <a:gd name="connsiteX15" fmla="*/ 3652973 w 4709160"/>
              <a:gd name="connsiteY15" fmla="*/ 1893026 h 3206932"/>
              <a:gd name="connsiteX16" fmla="*/ 3819978 w 4709160"/>
              <a:gd name="connsiteY16" fmla="*/ 1742985 h 3206932"/>
              <a:gd name="connsiteX17" fmla="*/ 3964032 w 4709160"/>
              <a:gd name="connsiteY17" fmla="*/ 1630862 h 3206932"/>
              <a:gd name="connsiteX18" fmla="*/ 4234452 w 4709160"/>
              <a:gd name="connsiteY18" fmla="*/ 1374594 h 3206932"/>
              <a:gd name="connsiteX19" fmla="*/ 4506685 w 4709160"/>
              <a:gd name="connsiteY19" fmla="*/ 1038497 h 3206932"/>
              <a:gd name="connsiteX20" fmla="*/ 4578531 w 4709160"/>
              <a:gd name="connsiteY20" fmla="*/ 705395 h 3206932"/>
              <a:gd name="connsiteX21" fmla="*/ 4630782 w 4709160"/>
              <a:gd name="connsiteY21" fmla="*/ 339635 h 3206932"/>
              <a:gd name="connsiteX22" fmla="*/ 4709160 w 4709160"/>
              <a:gd name="connsiteY22" fmla="*/ 0 h 3206932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81497 w 4709160"/>
              <a:gd name="connsiteY2" fmla="*/ 3141617 h 3180806"/>
              <a:gd name="connsiteX3" fmla="*/ 2286000 w 4709160"/>
              <a:gd name="connsiteY3" fmla="*/ 3102429 h 3180806"/>
              <a:gd name="connsiteX4" fmla="*/ 2305594 w 4709160"/>
              <a:gd name="connsiteY4" fmla="*/ 3095897 h 3180806"/>
              <a:gd name="connsiteX5" fmla="*/ 2383971 w 4709160"/>
              <a:gd name="connsiteY5" fmla="*/ 3063240 h 3180806"/>
              <a:gd name="connsiteX6" fmla="*/ 2423160 w 4709160"/>
              <a:gd name="connsiteY6" fmla="*/ 3050177 h 3180806"/>
              <a:gd name="connsiteX7" fmla="*/ 2442754 w 4709160"/>
              <a:gd name="connsiteY7" fmla="*/ 3037115 h 3180806"/>
              <a:gd name="connsiteX8" fmla="*/ 2508068 w 4709160"/>
              <a:gd name="connsiteY8" fmla="*/ 3024052 h 3180806"/>
              <a:gd name="connsiteX9" fmla="*/ 2560320 w 4709160"/>
              <a:gd name="connsiteY9" fmla="*/ 3004457 h 3180806"/>
              <a:gd name="connsiteX10" fmla="*/ 2586445 w 4709160"/>
              <a:gd name="connsiteY10" fmla="*/ 2991395 h 3180806"/>
              <a:gd name="connsiteX11" fmla="*/ 2651760 w 4709160"/>
              <a:gd name="connsiteY11" fmla="*/ 2978332 h 3180806"/>
              <a:gd name="connsiteX12" fmla="*/ 2823028 w 4709160"/>
              <a:gd name="connsiteY12" fmla="*/ 2850515 h 3180806"/>
              <a:gd name="connsiteX13" fmla="*/ 3172369 w 4709160"/>
              <a:gd name="connsiteY13" fmla="*/ 2465161 h 3180806"/>
              <a:gd name="connsiteX14" fmla="*/ 3346722 w 4709160"/>
              <a:gd name="connsiteY14" fmla="*/ 2095863 h 3180806"/>
              <a:gd name="connsiteX15" fmla="*/ 3652973 w 4709160"/>
              <a:gd name="connsiteY15" fmla="*/ 1893026 h 3180806"/>
              <a:gd name="connsiteX16" fmla="*/ 3819978 w 4709160"/>
              <a:gd name="connsiteY16" fmla="*/ 1742985 h 3180806"/>
              <a:gd name="connsiteX17" fmla="*/ 3964032 w 4709160"/>
              <a:gd name="connsiteY17" fmla="*/ 1630862 h 3180806"/>
              <a:gd name="connsiteX18" fmla="*/ 4234452 w 4709160"/>
              <a:gd name="connsiteY18" fmla="*/ 1374594 h 3180806"/>
              <a:gd name="connsiteX19" fmla="*/ 4506685 w 4709160"/>
              <a:gd name="connsiteY19" fmla="*/ 1038497 h 3180806"/>
              <a:gd name="connsiteX20" fmla="*/ 4578531 w 4709160"/>
              <a:gd name="connsiteY20" fmla="*/ 705395 h 3180806"/>
              <a:gd name="connsiteX21" fmla="*/ 4630782 w 4709160"/>
              <a:gd name="connsiteY21" fmla="*/ 339635 h 3180806"/>
              <a:gd name="connsiteX22" fmla="*/ 4709160 w 4709160"/>
              <a:gd name="connsiteY22" fmla="*/ 0 h 3180806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81497 w 4709160"/>
              <a:gd name="connsiteY2" fmla="*/ 3141617 h 3180806"/>
              <a:gd name="connsiteX3" fmla="*/ 2305594 w 4709160"/>
              <a:gd name="connsiteY3" fmla="*/ 3095897 h 3180806"/>
              <a:gd name="connsiteX4" fmla="*/ 2383971 w 4709160"/>
              <a:gd name="connsiteY4" fmla="*/ 3063240 h 3180806"/>
              <a:gd name="connsiteX5" fmla="*/ 2423160 w 4709160"/>
              <a:gd name="connsiteY5" fmla="*/ 3050177 h 3180806"/>
              <a:gd name="connsiteX6" fmla="*/ 2442754 w 4709160"/>
              <a:gd name="connsiteY6" fmla="*/ 3037115 h 3180806"/>
              <a:gd name="connsiteX7" fmla="*/ 2508068 w 4709160"/>
              <a:gd name="connsiteY7" fmla="*/ 3024052 h 3180806"/>
              <a:gd name="connsiteX8" fmla="*/ 2560320 w 4709160"/>
              <a:gd name="connsiteY8" fmla="*/ 3004457 h 3180806"/>
              <a:gd name="connsiteX9" fmla="*/ 2586445 w 4709160"/>
              <a:gd name="connsiteY9" fmla="*/ 2991395 h 3180806"/>
              <a:gd name="connsiteX10" fmla="*/ 2651760 w 4709160"/>
              <a:gd name="connsiteY10" fmla="*/ 2978332 h 3180806"/>
              <a:gd name="connsiteX11" fmla="*/ 2823028 w 4709160"/>
              <a:gd name="connsiteY11" fmla="*/ 2850515 h 3180806"/>
              <a:gd name="connsiteX12" fmla="*/ 3172369 w 4709160"/>
              <a:gd name="connsiteY12" fmla="*/ 2465161 h 3180806"/>
              <a:gd name="connsiteX13" fmla="*/ 3346722 w 4709160"/>
              <a:gd name="connsiteY13" fmla="*/ 2095863 h 3180806"/>
              <a:gd name="connsiteX14" fmla="*/ 3652973 w 4709160"/>
              <a:gd name="connsiteY14" fmla="*/ 1893026 h 3180806"/>
              <a:gd name="connsiteX15" fmla="*/ 3819978 w 4709160"/>
              <a:gd name="connsiteY15" fmla="*/ 1742985 h 3180806"/>
              <a:gd name="connsiteX16" fmla="*/ 3964032 w 4709160"/>
              <a:gd name="connsiteY16" fmla="*/ 1630862 h 3180806"/>
              <a:gd name="connsiteX17" fmla="*/ 4234452 w 4709160"/>
              <a:gd name="connsiteY17" fmla="*/ 1374594 h 3180806"/>
              <a:gd name="connsiteX18" fmla="*/ 4506685 w 4709160"/>
              <a:gd name="connsiteY18" fmla="*/ 1038497 h 3180806"/>
              <a:gd name="connsiteX19" fmla="*/ 4578531 w 4709160"/>
              <a:gd name="connsiteY19" fmla="*/ 705395 h 3180806"/>
              <a:gd name="connsiteX20" fmla="*/ 4630782 w 4709160"/>
              <a:gd name="connsiteY20" fmla="*/ 339635 h 3180806"/>
              <a:gd name="connsiteX21" fmla="*/ 4709160 w 4709160"/>
              <a:gd name="connsiteY21" fmla="*/ 0 h 3180806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81497 w 4709160"/>
              <a:gd name="connsiteY2" fmla="*/ 3141617 h 3180806"/>
              <a:gd name="connsiteX3" fmla="*/ 2383971 w 4709160"/>
              <a:gd name="connsiteY3" fmla="*/ 3063240 h 3180806"/>
              <a:gd name="connsiteX4" fmla="*/ 2423160 w 4709160"/>
              <a:gd name="connsiteY4" fmla="*/ 3050177 h 3180806"/>
              <a:gd name="connsiteX5" fmla="*/ 2442754 w 4709160"/>
              <a:gd name="connsiteY5" fmla="*/ 3037115 h 3180806"/>
              <a:gd name="connsiteX6" fmla="*/ 2508068 w 4709160"/>
              <a:gd name="connsiteY6" fmla="*/ 3024052 h 3180806"/>
              <a:gd name="connsiteX7" fmla="*/ 2560320 w 4709160"/>
              <a:gd name="connsiteY7" fmla="*/ 3004457 h 3180806"/>
              <a:gd name="connsiteX8" fmla="*/ 2586445 w 4709160"/>
              <a:gd name="connsiteY8" fmla="*/ 2991395 h 3180806"/>
              <a:gd name="connsiteX9" fmla="*/ 2651760 w 4709160"/>
              <a:gd name="connsiteY9" fmla="*/ 2978332 h 3180806"/>
              <a:gd name="connsiteX10" fmla="*/ 2823028 w 4709160"/>
              <a:gd name="connsiteY10" fmla="*/ 2850515 h 3180806"/>
              <a:gd name="connsiteX11" fmla="*/ 3172369 w 4709160"/>
              <a:gd name="connsiteY11" fmla="*/ 2465161 h 3180806"/>
              <a:gd name="connsiteX12" fmla="*/ 3346722 w 4709160"/>
              <a:gd name="connsiteY12" fmla="*/ 2095863 h 3180806"/>
              <a:gd name="connsiteX13" fmla="*/ 3652973 w 4709160"/>
              <a:gd name="connsiteY13" fmla="*/ 1893026 h 3180806"/>
              <a:gd name="connsiteX14" fmla="*/ 3819978 w 4709160"/>
              <a:gd name="connsiteY14" fmla="*/ 1742985 h 3180806"/>
              <a:gd name="connsiteX15" fmla="*/ 3964032 w 4709160"/>
              <a:gd name="connsiteY15" fmla="*/ 1630862 h 3180806"/>
              <a:gd name="connsiteX16" fmla="*/ 4234452 w 4709160"/>
              <a:gd name="connsiteY16" fmla="*/ 1374594 h 3180806"/>
              <a:gd name="connsiteX17" fmla="*/ 4506685 w 4709160"/>
              <a:gd name="connsiteY17" fmla="*/ 1038497 h 3180806"/>
              <a:gd name="connsiteX18" fmla="*/ 4578531 w 4709160"/>
              <a:gd name="connsiteY18" fmla="*/ 705395 h 3180806"/>
              <a:gd name="connsiteX19" fmla="*/ 4630782 w 4709160"/>
              <a:gd name="connsiteY19" fmla="*/ 339635 h 3180806"/>
              <a:gd name="connsiteX20" fmla="*/ 4709160 w 4709160"/>
              <a:gd name="connsiteY20" fmla="*/ 0 h 3180806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81497 w 4709160"/>
              <a:gd name="connsiteY2" fmla="*/ 3141617 h 3180806"/>
              <a:gd name="connsiteX3" fmla="*/ 2423160 w 4709160"/>
              <a:gd name="connsiteY3" fmla="*/ 3050177 h 3180806"/>
              <a:gd name="connsiteX4" fmla="*/ 2442754 w 4709160"/>
              <a:gd name="connsiteY4" fmla="*/ 3037115 h 3180806"/>
              <a:gd name="connsiteX5" fmla="*/ 2508068 w 4709160"/>
              <a:gd name="connsiteY5" fmla="*/ 3024052 h 3180806"/>
              <a:gd name="connsiteX6" fmla="*/ 2560320 w 4709160"/>
              <a:gd name="connsiteY6" fmla="*/ 3004457 h 3180806"/>
              <a:gd name="connsiteX7" fmla="*/ 2586445 w 4709160"/>
              <a:gd name="connsiteY7" fmla="*/ 2991395 h 3180806"/>
              <a:gd name="connsiteX8" fmla="*/ 2651760 w 4709160"/>
              <a:gd name="connsiteY8" fmla="*/ 2978332 h 3180806"/>
              <a:gd name="connsiteX9" fmla="*/ 2823028 w 4709160"/>
              <a:gd name="connsiteY9" fmla="*/ 2850515 h 3180806"/>
              <a:gd name="connsiteX10" fmla="*/ 3172369 w 4709160"/>
              <a:gd name="connsiteY10" fmla="*/ 2465161 h 3180806"/>
              <a:gd name="connsiteX11" fmla="*/ 3346722 w 4709160"/>
              <a:gd name="connsiteY11" fmla="*/ 2095863 h 3180806"/>
              <a:gd name="connsiteX12" fmla="*/ 3652973 w 4709160"/>
              <a:gd name="connsiteY12" fmla="*/ 1893026 h 3180806"/>
              <a:gd name="connsiteX13" fmla="*/ 3819978 w 4709160"/>
              <a:gd name="connsiteY13" fmla="*/ 1742985 h 3180806"/>
              <a:gd name="connsiteX14" fmla="*/ 3964032 w 4709160"/>
              <a:gd name="connsiteY14" fmla="*/ 1630862 h 3180806"/>
              <a:gd name="connsiteX15" fmla="*/ 4234452 w 4709160"/>
              <a:gd name="connsiteY15" fmla="*/ 1374594 h 3180806"/>
              <a:gd name="connsiteX16" fmla="*/ 4506685 w 4709160"/>
              <a:gd name="connsiteY16" fmla="*/ 1038497 h 3180806"/>
              <a:gd name="connsiteX17" fmla="*/ 4578531 w 4709160"/>
              <a:gd name="connsiteY17" fmla="*/ 705395 h 3180806"/>
              <a:gd name="connsiteX18" fmla="*/ 4630782 w 4709160"/>
              <a:gd name="connsiteY18" fmla="*/ 339635 h 3180806"/>
              <a:gd name="connsiteX19" fmla="*/ 4709160 w 4709160"/>
              <a:gd name="connsiteY19" fmla="*/ 0 h 3180806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81497 w 4709160"/>
              <a:gd name="connsiteY2" fmla="*/ 3141617 h 3180806"/>
              <a:gd name="connsiteX3" fmla="*/ 2423160 w 4709160"/>
              <a:gd name="connsiteY3" fmla="*/ 3050177 h 3180806"/>
              <a:gd name="connsiteX4" fmla="*/ 2508068 w 4709160"/>
              <a:gd name="connsiteY4" fmla="*/ 3024052 h 3180806"/>
              <a:gd name="connsiteX5" fmla="*/ 2560320 w 4709160"/>
              <a:gd name="connsiteY5" fmla="*/ 3004457 h 3180806"/>
              <a:gd name="connsiteX6" fmla="*/ 2586445 w 4709160"/>
              <a:gd name="connsiteY6" fmla="*/ 2991395 h 3180806"/>
              <a:gd name="connsiteX7" fmla="*/ 2651760 w 4709160"/>
              <a:gd name="connsiteY7" fmla="*/ 2978332 h 3180806"/>
              <a:gd name="connsiteX8" fmla="*/ 2823028 w 4709160"/>
              <a:gd name="connsiteY8" fmla="*/ 2850515 h 3180806"/>
              <a:gd name="connsiteX9" fmla="*/ 3172369 w 4709160"/>
              <a:gd name="connsiteY9" fmla="*/ 2465161 h 3180806"/>
              <a:gd name="connsiteX10" fmla="*/ 3346722 w 4709160"/>
              <a:gd name="connsiteY10" fmla="*/ 2095863 h 3180806"/>
              <a:gd name="connsiteX11" fmla="*/ 3652973 w 4709160"/>
              <a:gd name="connsiteY11" fmla="*/ 1893026 h 3180806"/>
              <a:gd name="connsiteX12" fmla="*/ 3819978 w 4709160"/>
              <a:gd name="connsiteY12" fmla="*/ 1742985 h 3180806"/>
              <a:gd name="connsiteX13" fmla="*/ 3964032 w 4709160"/>
              <a:gd name="connsiteY13" fmla="*/ 1630862 h 3180806"/>
              <a:gd name="connsiteX14" fmla="*/ 4234452 w 4709160"/>
              <a:gd name="connsiteY14" fmla="*/ 1374594 h 3180806"/>
              <a:gd name="connsiteX15" fmla="*/ 4506685 w 4709160"/>
              <a:gd name="connsiteY15" fmla="*/ 1038497 h 3180806"/>
              <a:gd name="connsiteX16" fmla="*/ 4578531 w 4709160"/>
              <a:gd name="connsiteY16" fmla="*/ 705395 h 3180806"/>
              <a:gd name="connsiteX17" fmla="*/ 4630782 w 4709160"/>
              <a:gd name="connsiteY17" fmla="*/ 339635 h 3180806"/>
              <a:gd name="connsiteX18" fmla="*/ 4709160 w 4709160"/>
              <a:gd name="connsiteY18" fmla="*/ 0 h 3180806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81497 w 4709160"/>
              <a:gd name="connsiteY2" fmla="*/ 3141617 h 3180806"/>
              <a:gd name="connsiteX3" fmla="*/ 2508068 w 4709160"/>
              <a:gd name="connsiteY3" fmla="*/ 3024052 h 3180806"/>
              <a:gd name="connsiteX4" fmla="*/ 2560320 w 4709160"/>
              <a:gd name="connsiteY4" fmla="*/ 3004457 h 3180806"/>
              <a:gd name="connsiteX5" fmla="*/ 2586445 w 4709160"/>
              <a:gd name="connsiteY5" fmla="*/ 2991395 h 3180806"/>
              <a:gd name="connsiteX6" fmla="*/ 2651760 w 4709160"/>
              <a:gd name="connsiteY6" fmla="*/ 2978332 h 3180806"/>
              <a:gd name="connsiteX7" fmla="*/ 2823028 w 4709160"/>
              <a:gd name="connsiteY7" fmla="*/ 2850515 h 3180806"/>
              <a:gd name="connsiteX8" fmla="*/ 3172369 w 4709160"/>
              <a:gd name="connsiteY8" fmla="*/ 2465161 h 3180806"/>
              <a:gd name="connsiteX9" fmla="*/ 3346722 w 4709160"/>
              <a:gd name="connsiteY9" fmla="*/ 2095863 h 3180806"/>
              <a:gd name="connsiteX10" fmla="*/ 3652973 w 4709160"/>
              <a:gd name="connsiteY10" fmla="*/ 1893026 h 3180806"/>
              <a:gd name="connsiteX11" fmla="*/ 3819978 w 4709160"/>
              <a:gd name="connsiteY11" fmla="*/ 1742985 h 3180806"/>
              <a:gd name="connsiteX12" fmla="*/ 3964032 w 4709160"/>
              <a:gd name="connsiteY12" fmla="*/ 1630862 h 3180806"/>
              <a:gd name="connsiteX13" fmla="*/ 4234452 w 4709160"/>
              <a:gd name="connsiteY13" fmla="*/ 1374594 h 3180806"/>
              <a:gd name="connsiteX14" fmla="*/ 4506685 w 4709160"/>
              <a:gd name="connsiteY14" fmla="*/ 1038497 h 3180806"/>
              <a:gd name="connsiteX15" fmla="*/ 4578531 w 4709160"/>
              <a:gd name="connsiteY15" fmla="*/ 705395 h 3180806"/>
              <a:gd name="connsiteX16" fmla="*/ 4630782 w 4709160"/>
              <a:gd name="connsiteY16" fmla="*/ 339635 h 3180806"/>
              <a:gd name="connsiteX17" fmla="*/ 4709160 w 4709160"/>
              <a:gd name="connsiteY17" fmla="*/ 0 h 3180806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81497 w 4709160"/>
              <a:gd name="connsiteY2" fmla="*/ 3141617 h 3180806"/>
              <a:gd name="connsiteX3" fmla="*/ 2560320 w 4709160"/>
              <a:gd name="connsiteY3" fmla="*/ 3004457 h 3180806"/>
              <a:gd name="connsiteX4" fmla="*/ 2586445 w 4709160"/>
              <a:gd name="connsiteY4" fmla="*/ 2991395 h 3180806"/>
              <a:gd name="connsiteX5" fmla="*/ 2651760 w 4709160"/>
              <a:gd name="connsiteY5" fmla="*/ 2978332 h 3180806"/>
              <a:gd name="connsiteX6" fmla="*/ 2823028 w 4709160"/>
              <a:gd name="connsiteY6" fmla="*/ 2850515 h 3180806"/>
              <a:gd name="connsiteX7" fmla="*/ 3172369 w 4709160"/>
              <a:gd name="connsiteY7" fmla="*/ 2465161 h 3180806"/>
              <a:gd name="connsiteX8" fmla="*/ 3346722 w 4709160"/>
              <a:gd name="connsiteY8" fmla="*/ 2095863 h 3180806"/>
              <a:gd name="connsiteX9" fmla="*/ 3652973 w 4709160"/>
              <a:gd name="connsiteY9" fmla="*/ 1893026 h 3180806"/>
              <a:gd name="connsiteX10" fmla="*/ 3819978 w 4709160"/>
              <a:gd name="connsiteY10" fmla="*/ 1742985 h 3180806"/>
              <a:gd name="connsiteX11" fmla="*/ 3964032 w 4709160"/>
              <a:gd name="connsiteY11" fmla="*/ 1630862 h 3180806"/>
              <a:gd name="connsiteX12" fmla="*/ 4234452 w 4709160"/>
              <a:gd name="connsiteY12" fmla="*/ 1374594 h 3180806"/>
              <a:gd name="connsiteX13" fmla="*/ 4506685 w 4709160"/>
              <a:gd name="connsiteY13" fmla="*/ 1038497 h 3180806"/>
              <a:gd name="connsiteX14" fmla="*/ 4578531 w 4709160"/>
              <a:gd name="connsiteY14" fmla="*/ 705395 h 3180806"/>
              <a:gd name="connsiteX15" fmla="*/ 4630782 w 4709160"/>
              <a:gd name="connsiteY15" fmla="*/ 339635 h 3180806"/>
              <a:gd name="connsiteX16" fmla="*/ 4709160 w 4709160"/>
              <a:gd name="connsiteY16" fmla="*/ 0 h 3180806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81497 w 4709160"/>
              <a:gd name="connsiteY2" fmla="*/ 3141617 h 3180806"/>
              <a:gd name="connsiteX3" fmla="*/ 2586445 w 4709160"/>
              <a:gd name="connsiteY3" fmla="*/ 2991395 h 3180806"/>
              <a:gd name="connsiteX4" fmla="*/ 2651760 w 4709160"/>
              <a:gd name="connsiteY4" fmla="*/ 2978332 h 3180806"/>
              <a:gd name="connsiteX5" fmla="*/ 2823028 w 4709160"/>
              <a:gd name="connsiteY5" fmla="*/ 2850515 h 3180806"/>
              <a:gd name="connsiteX6" fmla="*/ 3172369 w 4709160"/>
              <a:gd name="connsiteY6" fmla="*/ 2465161 h 3180806"/>
              <a:gd name="connsiteX7" fmla="*/ 3346722 w 4709160"/>
              <a:gd name="connsiteY7" fmla="*/ 2095863 h 3180806"/>
              <a:gd name="connsiteX8" fmla="*/ 3652973 w 4709160"/>
              <a:gd name="connsiteY8" fmla="*/ 1893026 h 3180806"/>
              <a:gd name="connsiteX9" fmla="*/ 3819978 w 4709160"/>
              <a:gd name="connsiteY9" fmla="*/ 1742985 h 3180806"/>
              <a:gd name="connsiteX10" fmla="*/ 3964032 w 4709160"/>
              <a:gd name="connsiteY10" fmla="*/ 1630862 h 3180806"/>
              <a:gd name="connsiteX11" fmla="*/ 4234452 w 4709160"/>
              <a:gd name="connsiteY11" fmla="*/ 1374594 h 3180806"/>
              <a:gd name="connsiteX12" fmla="*/ 4506685 w 4709160"/>
              <a:gd name="connsiteY12" fmla="*/ 1038497 h 3180806"/>
              <a:gd name="connsiteX13" fmla="*/ 4578531 w 4709160"/>
              <a:gd name="connsiteY13" fmla="*/ 705395 h 3180806"/>
              <a:gd name="connsiteX14" fmla="*/ 4630782 w 4709160"/>
              <a:gd name="connsiteY14" fmla="*/ 339635 h 3180806"/>
              <a:gd name="connsiteX15" fmla="*/ 4709160 w 4709160"/>
              <a:gd name="connsiteY15" fmla="*/ 0 h 3180806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81497 w 4709160"/>
              <a:gd name="connsiteY2" fmla="*/ 3141617 h 3180806"/>
              <a:gd name="connsiteX3" fmla="*/ 2651760 w 4709160"/>
              <a:gd name="connsiteY3" fmla="*/ 2978332 h 3180806"/>
              <a:gd name="connsiteX4" fmla="*/ 2823028 w 4709160"/>
              <a:gd name="connsiteY4" fmla="*/ 2850515 h 3180806"/>
              <a:gd name="connsiteX5" fmla="*/ 3172369 w 4709160"/>
              <a:gd name="connsiteY5" fmla="*/ 2465161 h 3180806"/>
              <a:gd name="connsiteX6" fmla="*/ 3346722 w 4709160"/>
              <a:gd name="connsiteY6" fmla="*/ 2095863 h 3180806"/>
              <a:gd name="connsiteX7" fmla="*/ 3652973 w 4709160"/>
              <a:gd name="connsiteY7" fmla="*/ 1893026 h 3180806"/>
              <a:gd name="connsiteX8" fmla="*/ 3819978 w 4709160"/>
              <a:gd name="connsiteY8" fmla="*/ 1742985 h 3180806"/>
              <a:gd name="connsiteX9" fmla="*/ 3964032 w 4709160"/>
              <a:gd name="connsiteY9" fmla="*/ 1630862 h 3180806"/>
              <a:gd name="connsiteX10" fmla="*/ 4234452 w 4709160"/>
              <a:gd name="connsiteY10" fmla="*/ 1374594 h 3180806"/>
              <a:gd name="connsiteX11" fmla="*/ 4506685 w 4709160"/>
              <a:gd name="connsiteY11" fmla="*/ 1038497 h 3180806"/>
              <a:gd name="connsiteX12" fmla="*/ 4578531 w 4709160"/>
              <a:gd name="connsiteY12" fmla="*/ 705395 h 3180806"/>
              <a:gd name="connsiteX13" fmla="*/ 4630782 w 4709160"/>
              <a:gd name="connsiteY13" fmla="*/ 339635 h 3180806"/>
              <a:gd name="connsiteX14" fmla="*/ 4709160 w 4709160"/>
              <a:gd name="connsiteY14" fmla="*/ 0 h 3180806"/>
              <a:gd name="connsiteX0" fmla="*/ 0 w 4709160"/>
              <a:gd name="connsiteY0" fmla="*/ 3180806 h 3180806"/>
              <a:gd name="connsiteX1" fmla="*/ 1863634 w 4709160"/>
              <a:gd name="connsiteY1" fmla="*/ 3165657 h 3180806"/>
              <a:gd name="connsiteX2" fmla="*/ 2197372 w 4709160"/>
              <a:gd name="connsiteY2" fmla="*/ 3100342 h 3180806"/>
              <a:gd name="connsiteX3" fmla="*/ 2651760 w 4709160"/>
              <a:gd name="connsiteY3" fmla="*/ 2978332 h 3180806"/>
              <a:gd name="connsiteX4" fmla="*/ 2823028 w 4709160"/>
              <a:gd name="connsiteY4" fmla="*/ 2850515 h 3180806"/>
              <a:gd name="connsiteX5" fmla="*/ 3172369 w 4709160"/>
              <a:gd name="connsiteY5" fmla="*/ 2465161 h 3180806"/>
              <a:gd name="connsiteX6" fmla="*/ 3346722 w 4709160"/>
              <a:gd name="connsiteY6" fmla="*/ 2095863 h 3180806"/>
              <a:gd name="connsiteX7" fmla="*/ 3652973 w 4709160"/>
              <a:gd name="connsiteY7" fmla="*/ 1893026 h 3180806"/>
              <a:gd name="connsiteX8" fmla="*/ 3819978 w 4709160"/>
              <a:gd name="connsiteY8" fmla="*/ 1742985 h 3180806"/>
              <a:gd name="connsiteX9" fmla="*/ 3964032 w 4709160"/>
              <a:gd name="connsiteY9" fmla="*/ 1630862 h 3180806"/>
              <a:gd name="connsiteX10" fmla="*/ 4234452 w 4709160"/>
              <a:gd name="connsiteY10" fmla="*/ 1374594 h 3180806"/>
              <a:gd name="connsiteX11" fmla="*/ 4506685 w 4709160"/>
              <a:gd name="connsiteY11" fmla="*/ 1038497 h 3180806"/>
              <a:gd name="connsiteX12" fmla="*/ 4578531 w 4709160"/>
              <a:gd name="connsiteY12" fmla="*/ 705395 h 3180806"/>
              <a:gd name="connsiteX13" fmla="*/ 4630782 w 4709160"/>
              <a:gd name="connsiteY13" fmla="*/ 339635 h 3180806"/>
              <a:gd name="connsiteX14" fmla="*/ 4709160 w 4709160"/>
              <a:gd name="connsiteY14" fmla="*/ 0 h 3180806"/>
              <a:gd name="connsiteX0" fmla="*/ 0 w 4709160"/>
              <a:gd name="connsiteY0" fmla="*/ 3180806 h 3180806"/>
              <a:gd name="connsiteX1" fmla="*/ 1647734 w 4709160"/>
              <a:gd name="connsiteY1" fmla="*/ 3159307 h 3180806"/>
              <a:gd name="connsiteX2" fmla="*/ 2197372 w 4709160"/>
              <a:gd name="connsiteY2" fmla="*/ 3100342 h 3180806"/>
              <a:gd name="connsiteX3" fmla="*/ 2651760 w 4709160"/>
              <a:gd name="connsiteY3" fmla="*/ 2978332 h 3180806"/>
              <a:gd name="connsiteX4" fmla="*/ 2823028 w 4709160"/>
              <a:gd name="connsiteY4" fmla="*/ 2850515 h 3180806"/>
              <a:gd name="connsiteX5" fmla="*/ 3172369 w 4709160"/>
              <a:gd name="connsiteY5" fmla="*/ 2465161 h 3180806"/>
              <a:gd name="connsiteX6" fmla="*/ 3346722 w 4709160"/>
              <a:gd name="connsiteY6" fmla="*/ 2095863 h 3180806"/>
              <a:gd name="connsiteX7" fmla="*/ 3652973 w 4709160"/>
              <a:gd name="connsiteY7" fmla="*/ 1893026 h 3180806"/>
              <a:gd name="connsiteX8" fmla="*/ 3819978 w 4709160"/>
              <a:gd name="connsiteY8" fmla="*/ 1742985 h 3180806"/>
              <a:gd name="connsiteX9" fmla="*/ 3964032 w 4709160"/>
              <a:gd name="connsiteY9" fmla="*/ 1630862 h 3180806"/>
              <a:gd name="connsiteX10" fmla="*/ 4234452 w 4709160"/>
              <a:gd name="connsiteY10" fmla="*/ 1374594 h 3180806"/>
              <a:gd name="connsiteX11" fmla="*/ 4506685 w 4709160"/>
              <a:gd name="connsiteY11" fmla="*/ 1038497 h 3180806"/>
              <a:gd name="connsiteX12" fmla="*/ 4578531 w 4709160"/>
              <a:gd name="connsiteY12" fmla="*/ 705395 h 3180806"/>
              <a:gd name="connsiteX13" fmla="*/ 4630782 w 4709160"/>
              <a:gd name="connsiteY13" fmla="*/ 339635 h 3180806"/>
              <a:gd name="connsiteX14" fmla="*/ 4709160 w 4709160"/>
              <a:gd name="connsiteY14" fmla="*/ 0 h 3180806"/>
              <a:gd name="connsiteX0" fmla="*/ 0 w 4709160"/>
              <a:gd name="connsiteY0" fmla="*/ 3180806 h 3180806"/>
              <a:gd name="connsiteX1" fmla="*/ 1660434 w 4709160"/>
              <a:gd name="connsiteY1" fmla="*/ 3165657 h 3180806"/>
              <a:gd name="connsiteX2" fmla="*/ 2197372 w 4709160"/>
              <a:gd name="connsiteY2" fmla="*/ 3100342 h 3180806"/>
              <a:gd name="connsiteX3" fmla="*/ 2651760 w 4709160"/>
              <a:gd name="connsiteY3" fmla="*/ 2978332 h 3180806"/>
              <a:gd name="connsiteX4" fmla="*/ 2823028 w 4709160"/>
              <a:gd name="connsiteY4" fmla="*/ 2850515 h 3180806"/>
              <a:gd name="connsiteX5" fmla="*/ 3172369 w 4709160"/>
              <a:gd name="connsiteY5" fmla="*/ 2465161 h 3180806"/>
              <a:gd name="connsiteX6" fmla="*/ 3346722 w 4709160"/>
              <a:gd name="connsiteY6" fmla="*/ 2095863 h 3180806"/>
              <a:gd name="connsiteX7" fmla="*/ 3652973 w 4709160"/>
              <a:gd name="connsiteY7" fmla="*/ 1893026 h 3180806"/>
              <a:gd name="connsiteX8" fmla="*/ 3819978 w 4709160"/>
              <a:gd name="connsiteY8" fmla="*/ 1742985 h 3180806"/>
              <a:gd name="connsiteX9" fmla="*/ 3964032 w 4709160"/>
              <a:gd name="connsiteY9" fmla="*/ 1630862 h 3180806"/>
              <a:gd name="connsiteX10" fmla="*/ 4234452 w 4709160"/>
              <a:gd name="connsiteY10" fmla="*/ 1374594 h 3180806"/>
              <a:gd name="connsiteX11" fmla="*/ 4506685 w 4709160"/>
              <a:gd name="connsiteY11" fmla="*/ 1038497 h 3180806"/>
              <a:gd name="connsiteX12" fmla="*/ 4578531 w 4709160"/>
              <a:gd name="connsiteY12" fmla="*/ 705395 h 3180806"/>
              <a:gd name="connsiteX13" fmla="*/ 4630782 w 4709160"/>
              <a:gd name="connsiteY13" fmla="*/ 339635 h 3180806"/>
              <a:gd name="connsiteX14" fmla="*/ 4709160 w 4709160"/>
              <a:gd name="connsiteY14" fmla="*/ 0 h 3180806"/>
              <a:gd name="connsiteX0" fmla="*/ 0 w 4709160"/>
              <a:gd name="connsiteY0" fmla="*/ 3180806 h 3180806"/>
              <a:gd name="connsiteX1" fmla="*/ 1660434 w 4709160"/>
              <a:gd name="connsiteY1" fmla="*/ 3165657 h 3180806"/>
              <a:gd name="connsiteX2" fmla="*/ 2197372 w 4709160"/>
              <a:gd name="connsiteY2" fmla="*/ 3100342 h 3180806"/>
              <a:gd name="connsiteX3" fmla="*/ 2546985 w 4709160"/>
              <a:gd name="connsiteY3" fmla="*/ 3019607 h 3180806"/>
              <a:gd name="connsiteX4" fmla="*/ 2823028 w 4709160"/>
              <a:gd name="connsiteY4" fmla="*/ 2850515 h 3180806"/>
              <a:gd name="connsiteX5" fmla="*/ 3172369 w 4709160"/>
              <a:gd name="connsiteY5" fmla="*/ 2465161 h 3180806"/>
              <a:gd name="connsiteX6" fmla="*/ 3346722 w 4709160"/>
              <a:gd name="connsiteY6" fmla="*/ 2095863 h 3180806"/>
              <a:gd name="connsiteX7" fmla="*/ 3652973 w 4709160"/>
              <a:gd name="connsiteY7" fmla="*/ 1893026 h 3180806"/>
              <a:gd name="connsiteX8" fmla="*/ 3819978 w 4709160"/>
              <a:gd name="connsiteY8" fmla="*/ 1742985 h 3180806"/>
              <a:gd name="connsiteX9" fmla="*/ 3964032 w 4709160"/>
              <a:gd name="connsiteY9" fmla="*/ 1630862 h 3180806"/>
              <a:gd name="connsiteX10" fmla="*/ 4234452 w 4709160"/>
              <a:gd name="connsiteY10" fmla="*/ 1374594 h 3180806"/>
              <a:gd name="connsiteX11" fmla="*/ 4506685 w 4709160"/>
              <a:gd name="connsiteY11" fmla="*/ 1038497 h 3180806"/>
              <a:gd name="connsiteX12" fmla="*/ 4578531 w 4709160"/>
              <a:gd name="connsiteY12" fmla="*/ 705395 h 3180806"/>
              <a:gd name="connsiteX13" fmla="*/ 4630782 w 4709160"/>
              <a:gd name="connsiteY13" fmla="*/ 339635 h 3180806"/>
              <a:gd name="connsiteX14" fmla="*/ 4709160 w 4709160"/>
              <a:gd name="connsiteY14" fmla="*/ 0 h 3180806"/>
              <a:gd name="connsiteX0" fmla="*/ 0 w 4709160"/>
              <a:gd name="connsiteY0" fmla="*/ 3180806 h 3180806"/>
              <a:gd name="connsiteX1" fmla="*/ 1660434 w 4709160"/>
              <a:gd name="connsiteY1" fmla="*/ 3165657 h 3180806"/>
              <a:gd name="connsiteX2" fmla="*/ 2197372 w 4709160"/>
              <a:gd name="connsiteY2" fmla="*/ 3100342 h 3180806"/>
              <a:gd name="connsiteX3" fmla="*/ 2546985 w 4709160"/>
              <a:gd name="connsiteY3" fmla="*/ 3019607 h 3180806"/>
              <a:gd name="connsiteX4" fmla="*/ 2823028 w 4709160"/>
              <a:gd name="connsiteY4" fmla="*/ 2850515 h 3180806"/>
              <a:gd name="connsiteX5" fmla="*/ 3172369 w 4709160"/>
              <a:gd name="connsiteY5" fmla="*/ 2465161 h 3180806"/>
              <a:gd name="connsiteX6" fmla="*/ 3346722 w 4709160"/>
              <a:gd name="connsiteY6" fmla="*/ 2095863 h 3180806"/>
              <a:gd name="connsiteX7" fmla="*/ 3652973 w 4709160"/>
              <a:gd name="connsiteY7" fmla="*/ 1893026 h 3180806"/>
              <a:gd name="connsiteX8" fmla="*/ 3819978 w 4709160"/>
              <a:gd name="connsiteY8" fmla="*/ 1742985 h 3180806"/>
              <a:gd name="connsiteX9" fmla="*/ 3964032 w 4709160"/>
              <a:gd name="connsiteY9" fmla="*/ 1630862 h 3180806"/>
              <a:gd name="connsiteX10" fmla="*/ 4234452 w 4709160"/>
              <a:gd name="connsiteY10" fmla="*/ 1374594 h 3180806"/>
              <a:gd name="connsiteX11" fmla="*/ 4506685 w 4709160"/>
              <a:gd name="connsiteY11" fmla="*/ 1038497 h 3180806"/>
              <a:gd name="connsiteX12" fmla="*/ 4578531 w 4709160"/>
              <a:gd name="connsiteY12" fmla="*/ 705395 h 3180806"/>
              <a:gd name="connsiteX13" fmla="*/ 4630782 w 4709160"/>
              <a:gd name="connsiteY13" fmla="*/ 339635 h 3180806"/>
              <a:gd name="connsiteX14" fmla="*/ 4709160 w 4709160"/>
              <a:gd name="connsiteY14" fmla="*/ 0 h 3180806"/>
              <a:gd name="connsiteX0" fmla="*/ 0 w 4709160"/>
              <a:gd name="connsiteY0" fmla="*/ 3180806 h 3180806"/>
              <a:gd name="connsiteX1" fmla="*/ 1660434 w 4709160"/>
              <a:gd name="connsiteY1" fmla="*/ 3165657 h 3180806"/>
              <a:gd name="connsiteX2" fmla="*/ 2197372 w 4709160"/>
              <a:gd name="connsiteY2" fmla="*/ 3100342 h 3180806"/>
              <a:gd name="connsiteX3" fmla="*/ 2546985 w 4709160"/>
              <a:gd name="connsiteY3" fmla="*/ 3019607 h 3180806"/>
              <a:gd name="connsiteX4" fmla="*/ 2823028 w 4709160"/>
              <a:gd name="connsiteY4" fmla="*/ 2850515 h 3180806"/>
              <a:gd name="connsiteX5" fmla="*/ 3162844 w 4709160"/>
              <a:gd name="connsiteY5" fmla="*/ 2452461 h 3180806"/>
              <a:gd name="connsiteX6" fmla="*/ 3346722 w 4709160"/>
              <a:gd name="connsiteY6" fmla="*/ 2095863 h 3180806"/>
              <a:gd name="connsiteX7" fmla="*/ 3652973 w 4709160"/>
              <a:gd name="connsiteY7" fmla="*/ 1893026 h 3180806"/>
              <a:gd name="connsiteX8" fmla="*/ 3819978 w 4709160"/>
              <a:gd name="connsiteY8" fmla="*/ 1742985 h 3180806"/>
              <a:gd name="connsiteX9" fmla="*/ 3964032 w 4709160"/>
              <a:gd name="connsiteY9" fmla="*/ 1630862 h 3180806"/>
              <a:gd name="connsiteX10" fmla="*/ 4234452 w 4709160"/>
              <a:gd name="connsiteY10" fmla="*/ 1374594 h 3180806"/>
              <a:gd name="connsiteX11" fmla="*/ 4506685 w 4709160"/>
              <a:gd name="connsiteY11" fmla="*/ 1038497 h 3180806"/>
              <a:gd name="connsiteX12" fmla="*/ 4578531 w 4709160"/>
              <a:gd name="connsiteY12" fmla="*/ 705395 h 3180806"/>
              <a:gd name="connsiteX13" fmla="*/ 4630782 w 4709160"/>
              <a:gd name="connsiteY13" fmla="*/ 339635 h 3180806"/>
              <a:gd name="connsiteX14" fmla="*/ 4709160 w 4709160"/>
              <a:gd name="connsiteY14" fmla="*/ 0 h 3180806"/>
              <a:gd name="connsiteX0" fmla="*/ 0 w 4709160"/>
              <a:gd name="connsiteY0" fmla="*/ 3180806 h 3180806"/>
              <a:gd name="connsiteX1" fmla="*/ 1660434 w 4709160"/>
              <a:gd name="connsiteY1" fmla="*/ 3165657 h 3180806"/>
              <a:gd name="connsiteX2" fmla="*/ 2197372 w 4709160"/>
              <a:gd name="connsiteY2" fmla="*/ 3100342 h 3180806"/>
              <a:gd name="connsiteX3" fmla="*/ 2546985 w 4709160"/>
              <a:gd name="connsiteY3" fmla="*/ 3019607 h 3180806"/>
              <a:gd name="connsiteX4" fmla="*/ 2823028 w 4709160"/>
              <a:gd name="connsiteY4" fmla="*/ 2850515 h 3180806"/>
              <a:gd name="connsiteX5" fmla="*/ 3162844 w 4709160"/>
              <a:gd name="connsiteY5" fmla="*/ 2452461 h 3180806"/>
              <a:gd name="connsiteX6" fmla="*/ 3346722 w 4709160"/>
              <a:gd name="connsiteY6" fmla="*/ 2095863 h 3180806"/>
              <a:gd name="connsiteX7" fmla="*/ 3652973 w 4709160"/>
              <a:gd name="connsiteY7" fmla="*/ 1893026 h 3180806"/>
              <a:gd name="connsiteX8" fmla="*/ 3819978 w 4709160"/>
              <a:gd name="connsiteY8" fmla="*/ 1742985 h 3180806"/>
              <a:gd name="connsiteX9" fmla="*/ 3964032 w 4709160"/>
              <a:gd name="connsiteY9" fmla="*/ 1630862 h 3180806"/>
              <a:gd name="connsiteX10" fmla="*/ 4234452 w 4709160"/>
              <a:gd name="connsiteY10" fmla="*/ 1374594 h 3180806"/>
              <a:gd name="connsiteX11" fmla="*/ 4506685 w 4709160"/>
              <a:gd name="connsiteY11" fmla="*/ 1038497 h 3180806"/>
              <a:gd name="connsiteX12" fmla="*/ 4578531 w 4709160"/>
              <a:gd name="connsiteY12" fmla="*/ 705395 h 3180806"/>
              <a:gd name="connsiteX13" fmla="*/ 4630782 w 4709160"/>
              <a:gd name="connsiteY13" fmla="*/ 339635 h 3180806"/>
              <a:gd name="connsiteX14" fmla="*/ 4709160 w 4709160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506685 w 4680585"/>
              <a:gd name="connsiteY11" fmla="*/ 1038497 h 3180806"/>
              <a:gd name="connsiteX12" fmla="*/ 4578531 w 4680585"/>
              <a:gd name="connsiteY12" fmla="*/ 705395 h 3180806"/>
              <a:gd name="connsiteX13" fmla="*/ 4630782 w 4680585"/>
              <a:gd name="connsiteY13" fmla="*/ 33963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506685 w 4680585"/>
              <a:gd name="connsiteY11" fmla="*/ 1038497 h 3180806"/>
              <a:gd name="connsiteX12" fmla="*/ 4578531 w 4680585"/>
              <a:gd name="connsiteY12" fmla="*/ 705395 h 3180806"/>
              <a:gd name="connsiteX13" fmla="*/ 4589507 w 4680585"/>
              <a:gd name="connsiteY13" fmla="*/ 387260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506685 w 4680585"/>
              <a:gd name="connsiteY11" fmla="*/ 1038497 h 3180806"/>
              <a:gd name="connsiteX12" fmla="*/ 4578531 w 4680585"/>
              <a:gd name="connsiteY12" fmla="*/ 70539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68585 w 4680585"/>
              <a:gd name="connsiteY11" fmla="*/ 1162322 h 3180806"/>
              <a:gd name="connsiteX12" fmla="*/ 4578531 w 4680585"/>
              <a:gd name="connsiteY12" fmla="*/ 70539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68585 w 4680585"/>
              <a:gd name="connsiteY11" fmla="*/ 1162322 h 3180806"/>
              <a:gd name="connsiteX12" fmla="*/ 4578531 w 4680585"/>
              <a:gd name="connsiteY12" fmla="*/ 70539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52710 w 4680585"/>
              <a:gd name="connsiteY11" fmla="*/ 1162322 h 3180806"/>
              <a:gd name="connsiteX12" fmla="*/ 4578531 w 4680585"/>
              <a:gd name="connsiteY12" fmla="*/ 70539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52710 w 4680585"/>
              <a:gd name="connsiteY11" fmla="*/ 1162322 h 3180806"/>
              <a:gd name="connsiteX12" fmla="*/ 4575356 w 4680585"/>
              <a:gd name="connsiteY12" fmla="*/ 69904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52710 w 4680585"/>
              <a:gd name="connsiteY11" fmla="*/ 1162322 h 3180806"/>
              <a:gd name="connsiteX12" fmla="*/ 4575356 w 4680585"/>
              <a:gd name="connsiteY12" fmla="*/ 69904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52710 w 4680585"/>
              <a:gd name="connsiteY11" fmla="*/ 1162322 h 3180806"/>
              <a:gd name="connsiteX12" fmla="*/ 4575356 w 4680585"/>
              <a:gd name="connsiteY12" fmla="*/ 69904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197372 w 4680585"/>
              <a:gd name="connsiteY2" fmla="*/ 310034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52710 w 4680585"/>
              <a:gd name="connsiteY11" fmla="*/ 1162322 h 3180806"/>
              <a:gd name="connsiteX12" fmla="*/ 4575356 w 4680585"/>
              <a:gd name="connsiteY12" fmla="*/ 69904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660434 w 4680585"/>
              <a:gd name="connsiteY1" fmla="*/ 3165657 h 3180806"/>
              <a:gd name="connsiteX2" fmla="*/ 2200547 w 4680585"/>
              <a:gd name="connsiteY2" fmla="*/ 310669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52710 w 4680585"/>
              <a:gd name="connsiteY11" fmla="*/ 1162322 h 3180806"/>
              <a:gd name="connsiteX12" fmla="*/ 4575356 w 4680585"/>
              <a:gd name="connsiteY12" fmla="*/ 69904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574709 w 4680585"/>
              <a:gd name="connsiteY1" fmla="*/ 3159307 h 3180806"/>
              <a:gd name="connsiteX2" fmla="*/ 2200547 w 4680585"/>
              <a:gd name="connsiteY2" fmla="*/ 3106692 h 3180806"/>
              <a:gd name="connsiteX3" fmla="*/ 2546985 w 4680585"/>
              <a:gd name="connsiteY3" fmla="*/ 3019607 h 3180806"/>
              <a:gd name="connsiteX4" fmla="*/ 2823028 w 4680585"/>
              <a:gd name="connsiteY4" fmla="*/ 2850515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52710 w 4680585"/>
              <a:gd name="connsiteY11" fmla="*/ 1162322 h 3180806"/>
              <a:gd name="connsiteX12" fmla="*/ 4575356 w 4680585"/>
              <a:gd name="connsiteY12" fmla="*/ 69904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574709 w 4680585"/>
              <a:gd name="connsiteY1" fmla="*/ 3159307 h 3180806"/>
              <a:gd name="connsiteX2" fmla="*/ 2200547 w 4680585"/>
              <a:gd name="connsiteY2" fmla="*/ 3106692 h 3180806"/>
              <a:gd name="connsiteX3" fmla="*/ 2546985 w 4680585"/>
              <a:gd name="connsiteY3" fmla="*/ 3019607 h 3180806"/>
              <a:gd name="connsiteX4" fmla="*/ 2892878 w 4680585"/>
              <a:gd name="connsiteY4" fmla="*/ 2815590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52710 w 4680585"/>
              <a:gd name="connsiteY11" fmla="*/ 1162322 h 3180806"/>
              <a:gd name="connsiteX12" fmla="*/ 4575356 w 4680585"/>
              <a:gd name="connsiteY12" fmla="*/ 69904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4680585"/>
              <a:gd name="connsiteY0" fmla="*/ 3180806 h 3180806"/>
              <a:gd name="connsiteX1" fmla="*/ 1574709 w 4680585"/>
              <a:gd name="connsiteY1" fmla="*/ 3159307 h 3180806"/>
              <a:gd name="connsiteX2" fmla="*/ 2200547 w 4680585"/>
              <a:gd name="connsiteY2" fmla="*/ 3106692 h 3180806"/>
              <a:gd name="connsiteX3" fmla="*/ 2546985 w 4680585"/>
              <a:gd name="connsiteY3" fmla="*/ 3019607 h 3180806"/>
              <a:gd name="connsiteX4" fmla="*/ 2892878 w 4680585"/>
              <a:gd name="connsiteY4" fmla="*/ 2815590 h 3180806"/>
              <a:gd name="connsiteX5" fmla="*/ 3162844 w 4680585"/>
              <a:gd name="connsiteY5" fmla="*/ 2452461 h 3180806"/>
              <a:gd name="connsiteX6" fmla="*/ 3346722 w 4680585"/>
              <a:gd name="connsiteY6" fmla="*/ 2095863 h 3180806"/>
              <a:gd name="connsiteX7" fmla="*/ 3652973 w 4680585"/>
              <a:gd name="connsiteY7" fmla="*/ 1893026 h 3180806"/>
              <a:gd name="connsiteX8" fmla="*/ 3819978 w 4680585"/>
              <a:gd name="connsiteY8" fmla="*/ 1742985 h 3180806"/>
              <a:gd name="connsiteX9" fmla="*/ 3964032 w 4680585"/>
              <a:gd name="connsiteY9" fmla="*/ 1630862 h 3180806"/>
              <a:gd name="connsiteX10" fmla="*/ 4234452 w 4680585"/>
              <a:gd name="connsiteY10" fmla="*/ 1374594 h 3180806"/>
              <a:gd name="connsiteX11" fmla="*/ 4481285 w 4680585"/>
              <a:gd name="connsiteY11" fmla="*/ 1114697 h 3180806"/>
              <a:gd name="connsiteX12" fmla="*/ 4575356 w 4680585"/>
              <a:gd name="connsiteY12" fmla="*/ 699045 h 3180806"/>
              <a:gd name="connsiteX13" fmla="*/ 4621257 w 4680585"/>
              <a:gd name="connsiteY13" fmla="*/ 396785 h 3180806"/>
              <a:gd name="connsiteX14" fmla="*/ 4680585 w 4680585"/>
              <a:gd name="connsiteY14" fmla="*/ 0 h 3180806"/>
              <a:gd name="connsiteX0" fmla="*/ 0 w 9699836"/>
              <a:gd name="connsiteY0" fmla="*/ 3209861 h 3209861"/>
              <a:gd name="connsiteX1" fmla="*/ 6593960 w 9699836"/>
              <a:gd name="connsiteY1" fmla="*/ 3159307 h 3209861"/>
              <a:gd name="connsiteX2" fmla="*/ 7219798 w 9699836"/>
              <a:gd name="connsiteY2" fmla="*/ 3106692 h 3209861"/>
              <a:gd name="connsiteX3" fmla="*/ 7566236 w 9699836"/>
              <a:gd name="connsiteY3" fmla="*/ 3019607 h 3209861"/>
              <a:gd name="connsiteX4" fmla="*/ 7912129 w 9699836"/>
              <a:gd name="connsiteY4" fmla="*/ 2815590 h 3209861"/>
              <a:gd name="connsiteX5" fmla="*/ 8182095 w 9699836"/>
              <a:gd name="connsiteY5" fmla="*/ 2452461 h 3209861"/>
              <a:gd name="connsiteX6" fmla="*/ 8365973 w 9699836"/>
              <a:gd name="connsiteY6" fmla="*/ 2095863 h 3209861"/>
              <a:gd name="connsiteX7" fmla="*/ 8672224 w 9699836"/>
              <a:gd name="connsiteY7" fmla="*/ 1893026 h 3209861"/>
              <a:gd name="connsiteX8" fmla="*/ 8839229 w 9699836"/>
              <a:gd name="connsiteY8" fmla="*/ 1742985 h 3209861"/>
              <a:gd name="connsiteX9" fmla="*/ 8983283 w 9699836"/>
              <a:gd name="connsiteY9" fmla="*/ 1630862 h 3209861"/>
              <a:gd name="connsiteX10" fmla="*/ 9253703 w 9699836"/>
              <a:gd name="connsiteY10" fmla="*/ 1374594 h 3209861"/>
              <a:gd name="connsiteX11" fmla="*/ 9500536 w 9699836"/>
              <a:gd name="connsiteY11" fmla="*/ 1114697 h 3209861"/>
              <a:gd name="connsiteX12" fmla="*/ 9594607 w 9699836"/>
              <a:gd name="connsiteY12" fmla="*/ 699045 h 3209861"/>
              <a:gd name="connsiteX13" fmla="*/ 9640508 w 9699836"/>
              <a:gd name="connsiteY13" fmla="*/ 396785 h 3209861"/>
              <a:gd name="connsiteX14" fmla="*/ 9699836 w 9699836"/>
              <a:gd name="connsiteY14" fmla="*/ 0 h 3209861"/>
              <a:gd name="connsiteX0" fmla="*/ 0 w 9491498"/>
              <a:gd name="connsiteY0" fmla="*/ 3195915 h 3195915"/>
              <a:gd name="connsiteX1" fmla="*/ 6385622 w 9491498"/>
              <a:gd name="connsiteY1" fmla="*/ 3159307 h 3195915"/>
              <a:gd name="connsiteX2" fmla="*/ 7011460 w 9491498"/>
              <a:gd name="connsiteY2" fmla="*/ 3106692 h 3195915"/>
              <a:gd name="connsiteX3" fmla="*/ 7357898 w 9491498"/>
              <a:gd name="connsiteY3" fmla="*/ 3019607 h 3195915"/>
              <a:gd name="connsiteX4" fmla="*/ 7703791 w 9491498"/>
              <a:gd name="connsiteY4" fmla="*/ 2815590 h 3195915"/>
              <a:gd name="connsiteX5" fmla="*/ 7973757 w 9491498"/>
              <a:gd name="connsiteY5" fmla="*/ 2452461 h 3195915"/>
              <a:gd name="connsiteX6" fmla="*/ 8157635 w 9491498"/>
              <a:gd name="connsiteY6" fmla="*/ 2095863 h 3195915"/>
              <a:gd name="connsiteX7" fmla="*/ 8463886 w 9491498"/>
              <a:gd name="connsiteY7" fmla="*/ 1893026 h 3195915"/>
              <a:gd name="connsiteX8" fmla="*/ 8630891 w 9491498"/>
              <a:gd name="connsiteY8" fmla="*/ 1742985 h 3195915"/>
              <a:gd name="connsiteX9" fmla="*/ 8774945 w 9491498"/>
              <a:gd name="connsiteY9" fmla="*/ 1630862 h 3195915"/>
              <a:gd name="connsiteX10" fmla="*/ 9045365 w 9491498"/>
              <a:gd name="connsiteY10" fmla="*/ 1374594 h 3195915"/>
              <a:gd name="connsiteX11" fmla="*/ 9292198 w 9491498"/>
              <a:gd name="connsiteY11" fmla="*/ 1114697 h 3195915"/>
              <a:gd name="connsiteX12" fmla="*/ 9386269 w 9491498"/>
              <a:gd name="connsiteY12" fmla="*/ 699045 h 3195915"/>
              <a:gd name="connsiteX13" fmla="*/ 9432170 w 9491498"/>
              <a:gd name="connsiteY13" fmla="*/ 396785 h 3195915"/>
              <a:gd name="connsiteX14" fmla="*/ 9491498 w 9491498"/>
              <a:gd name="connsiteY14" fmla="*/ 0 h 3195915"/>
              <a:gd name="connsiteX0" fmla="*/ 0 w 9459446"/>
              <a:gd name="connsiteY0" fmla="*/ 3209861 h 3209861"/>
              <a:gd name="connsiteX1" fmla="*/ 6353570 w 9459446"/>
              <a:gd name="connsiteY1" fmla="*/ 3159307 h 3209861"/>
              <a:gd name="connsiteX2" fmla="*/ 6979408 w 9459446"/>
              <a:gd name="connsiteY2" fmla="*/ 3106692 h 3209861"/>
              <a:gd name="connsiteX3" fmla="*/ 7325846 w 9459446"/>
              <a:gd name="connsiteY3" fmla="*/ 3019607 h 3209861"/>
              <a:gd name="connsiteX4" fmla="*/ 7671739 w 9459446"/>
              <a:gd name="connsiteY4" fmla="*/ 2815590 h 3209861"/>
              <a:gd name="connsiteX5" fmla="*/ 7941705 w 9459446"/>
              <a:gd name="connsiteY5" fmla="*/ 2452461 h 3209861"/>
              <a:gd name="connsiteX6" fmla="*/ 8125583 w 9459446"/>
              <a:gd name="connsiteY6" fmla="*/ 2095863 h 3209861"/>
              <a:gd name="connsiteX7" fmla="*/ 8431834 w 9459446"/>
              <a:gd name="connsiteY7" fmla="*/ 1893026 h 3209861"/>
              <a:gd name="connsiteX8" fmla="*/ 8598839 w 9459446"/>
              <a:gd name="connsiteY8" fmla="*/ 1742985 h 3209861"/>
              <a:gd name="connsiteX9" fmla="*/ 8742893 w 9459446"/>
              <a:gd name="connsiteY9" fmla="*/ 1630862 h 3209861"/>
              <a:gd name="connsiteX10" fmla="*/ 9013313 w 9459446"/>
              <a:gd name="connsiteY10" fmla="*/ 1374594 h 3209861"/>
              <a:gd name="connsiteX11" fmla="*/ 9260146 w 9459446"/>
              <a:gd name="connsiteY11" fmla="*/ 1114697 h 3209861"/>
              <a:gd name="connsiteX12" fmla="*/ 9354217 w 9459446"/>
              <a:gd name="connsiteY12" fmla="*/ 699045 h 3209861"/>
              <a:gd name="connsiteX13" fmla="*/ 9400118 w 9459446"/>
              <a:gd name="connsiteY13" fmla="*/ 396785 h 3209861"/>
              <a:gd name="connsiteX14" fmla="*/ 9459446 w 9459446"/>
              <a:gd name="connsiteY14" fmla="*/ 0 h 3209861"/>
              <a:gd name="connsiteX0" fmla="*/ 0 w 9176634"/>
              <a:gd name="connsiteY0" fmla="*/ 3215721 h 3215721"/>
              <a:gd name="connsiteX1" fmla="*/ 6070758 w 9176634"/>
              <a:gd name="connsiteY1" fmla="*/ 3159307 h 3215721"/>
              <a:gd name="connsiteX2" fmla="*/ 6696596 w 9176634"/>
              <a:gd name="connsiteY2" fmla="*/ 3106692 h 3215721"/>
              <a:gd name="connsiteX3" fmla="*/ 7043034 w 9176634"/>
              <a:gd name="connsiteY3" fmla="*/ 3019607 h 3215721"/>
              <a:gd name="connsiteX4" fmla="*/ 7388927 w 9176634"/>
              <a:gd name="connsiteY4" fmla="*/ 2815590 h 3215721"/>
              <a:gd name="connsiteX5" fmla="*/ 7658893 w 9176634"/>
              <a:gd name="connsiteY5" fmla="*/ 2452461 h 3215721"/>
              <a:gd name="connsiteX6" fmla="*/ 7842771 w 9176634"/>
              <a:gd name="connsiteY6" fmla="*/ 2095863 h 3215721"/>
              <a:gd name="connsiteX7" fmla="*/ 8149022 w 9176634"/>
              <a:gd name="connsiteY7" fmla="*/ 1893026 h 3215721"/>
              <a:gd name="connsiteX8" fmla="*/ 8316027 w 9176634"/>
              <a:gd name="connsiteY8" fmla="*/ 1742985 h 3215721"/>
              <a:gd name="connsiteX9" fmla="*/ 8460081 w 9176634"/>
              <a:gd name="connsiteY9" fmla="*/ 1630862 h 3215721"/>
              <a:gd name="connsiteX10" fmla="*/ 8730501 w 9176634"/>
              <a:gd name="connsiteY10" fmla="*/ 1374594 h 3215721"/>
              <a:gd name="connsiteX11" fmla="*/ 8977334 w 9176634"/>
              <a:gd name="connsiteY11" fmla="*/ 1114697 h 3215721"/>
              <a:gd name="connsiteX12" fmla="*/ 9071405 w 9176634"/>
              <a:gd name="connsiteY12" fmla="*/ 699045 h 3215721"/>
              <a:gd name="connsiteX13" fmla="*/ 9117306 w 9176634"/>
              <a:gd name="connsiteY13" fmla="*/ 396785 h 3215721"/>
              <a:gd name="connsiteX14" fmla="*/ 9176634 w 9176634"/>
              <a:gd name="connsiteY14" fmla="*/ 0 h 321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176634" h="3215721">
                <a:moveTo>
                  <a:pt x="0" y="3215721"/>
                </a:moveTo>
                <a:lnTo>
                  <a:pt x="6070758" y="3159307"/>
                </a:lnTo>
                <a:cubicBezTo>
                  <a:pt x="6437516" y="3146955"/>
                  <a:pt x="6534550" y="3129975"/>
                  <a:pt x="6696596" y="3106692"/>
                </a:cubicBezTo>
                <a:cubicBezTo>
                  <a:pt x="6858642" y="3083409"/>
                  <a:pt x="6927646" y="3068124"/>
                  <a:pt x="7043034" y="3019607"/>
                </a:cubicBezTo>
                <a:cubicBezTo>
                  <a:pt x="7158422" y="2971090"/>
                  <a:pt x="7286284" y="2910114"/>
                  <a:pt x="7388927" y="2815590"/>
                </a:cubicBezTo>
                <a:cubicBezTo>
                  <a:pt x="7491570" y="2721066"/>
                  <a:pt x="7583252" y="2572416"/>
                  <a:pt x="7658893" y="2452461"/>
                </a:cubicBezTo>
                <a:cubicBezTo>
                  <a:pt x="7734534" y="2332507"/>
                  <a:pt x="7761083" y="2189102"/>
                  <a:pt x="7842771" y="2095863"/>
                </a:cubicBezTo>
                <a:cubicBezTo>
                  <a:pt x="7924459" y="2002624"/>
                  <a:pt x="8070146" y="1951839"/>
                  <a:pt x="8149022" y="1893026"/>
                </a:cubicBezTo>
                <a:cubicBezTo>
                  <a:pt x="8227898" y="1834213"/>
                  <a:pt x="8264184" y="1786679"/>
                  <a:pt x="8316027" y="1742985"/>
                </a:cubicBezTo>
                <a:cubicBezTo>
                  <a:pt x="8367870" y="1699291"/>
                  <a:pt x="8391002" y="1692260"/>
                  <a:pt x="8460081" y="1630862"/>
                </a:cubicBezTo>
                <a:cubicBezTo>
                  <a:pt x="8529160" y="1569464"/>
                  <a:pt x="8644292" y="1460621"/>
                  <a:pt x="8730501" y="1374594"/>
                </a:cubicBezTo>
                <a:cubicBezTo>
                  <a:pt x="8816710" y="1288567"/>
                  <a:pt x="8920517" y="1227288"/>
                  <a:pt x="8977334" y="1114697"/>
                </a:cubicBezTo>
                <a:cubicBezTo>
                  <a:pt x="9034151" y="1002106"/>
                  <a:pt x="9048076" y="818697"/>
                  <a:pt x="9071405" y="699045"/>
                </a:cubicBezTo>
                <a:cubicBezTo>
                  <a:pt x="9094734" y="579393"/>
                  <a:pt x="9099768" y="513292"/>
                  <a:pt x="9117306" y="396785"/>
                </a:cubicBezTo>
                <a:cubicBezTo>
                  <a:pt x="9134844" y="280278"/>
                  <a:pt x="9160305" y="70757"/>
                  <a:pt x="9176634" y="0"/>
                </a:cubicBezTo>
              </a:path>
            </a:pathLst>
          </a:custGeom>
          <a:noFill/>
          <a:ln w="38100" cap="rnd">
            <a:solidFill>
              <a:srgbClr val="AAAA96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</a:endParaRPr>
          </a:p>
        </p:txBody>
      </p:sp>
      <p:sp>
        <p:nvSpPr>
          <p:cNvPr id="12" name="Ellipse 11"/>
          <p:cNvSpPr/>
          <p:nvPr/>
        </p:nvSpPr>
        <p:spPr bwMode="auto">
          <a:xfrm>
            <a:off x="10952229" y="2409439"/>
            <a:ext cx="141303" cy="142859"/>
          </a:xfrm>
          <a:prstGeom prst="ellipse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10911446" y="2802880"/>
            <a:ext cx="141303" cy="142859"/>
          </a:xfrm>
          <a:prstGeom prst="ellipse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 bwMode="auto">
          <a:xfrm>
            <a:off x="10172426" y="2093328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17"/>
          <p:cNvCxnSpPr/>
          <p:nvPr/>
        </p:nvCxnSpPr>
        <p:spPr bwMode="auto">
          <a:xfrm>
            <a:off x="10137425" y="2486772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/>
          <p:nvPr/>
        </p:nvCxnSpPr>
        <p:spPr bwMode="auto">
          <a:xfrm>
            <a:off x="9746174" y="3361085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rade Verbindung 19"/>
          <p:cNvCxnSpPr/>
          <p:nvPr/>
        </p:nvCxnSpPr>
        <p:spPr bwMode="auto">
          <a:xfrm>
            <a:off x="9444346" y="3685829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20"/>
          <p:cNvCxnSpPr/>
          <p:nvPr/>
        </p:nvCxnSpPr>
        <p:spPr bwMode="auto">
          <a:xfrm>
            <a:off x="9271609" y="3866936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Gerade Verbindung 21"/>
          <p:cNvCxnSpPr/>
          <p:nvPr/>
        </p:nvCxnSpPr>
        <p:spPr bwMode="auto">
          <a:xfrm>
            <a:off x="9070407" y="4060534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/>
        </p:nvCxnSpPr>
        <p:spPr bwMode="auto">
          <a:xfrm>
            <a:off x="8726871" y="4335319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 Verbindung 23"/>
          <p:cNvCxnSpPr/>
          <p:nvPr/>
        </p:nvCxnSpPr>
        <p:spPr bwMode="auto">
          <a:xfrm>
            <a:off x="8516630" y="4784965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rade Verbindung 24"/>
          <p:cNvCxnSpPr/>
          <p:nvPr/>
        </p:nvCxnSpPr>
        <p:spPr bwMode="auto">
          <a:xfrm>
            <a:off x="8161818" y="5288498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25"/>
          <p:cNvCxnSpPr/>
          <p:nvPr/>
        </p:nvCxnSpPr>
        <p:spPr bwMode="auto">
          <a:xfrm>
            <a:off x="7411606" y="5653745"/>
            <a:ext cx="845025" cy="3747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feld 26"/>
          <p:cNvSpPr txBox="1"/>
          <p:nvPr/>
        </p:nvSpPr>
        <p:spPr>
          <a:xfrm>
            <a:off x="9710858" y="1969641"/>
            <a:ext cx="454735" cy="1661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55A0B9"/>
                </a:solidFill>
              </a:rPr>
              <a:t>PMUs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9159616" y="2363219"/>
            <a:ext cx="975711" cy="1661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55A0B9"/>
                </a:solidFill>
              </a:rPr>
              <a:t>Smart Homes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8129520" y="3230438"/>
            <a:ext cx="1613257" cy="1661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55A0B9"/>
                </a:solidFill>
              </a:rPr>
              <a:t>Distribution Automation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8426554" y="3520138"/>
            <a:ext cx="1017389" cy="1661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55A0B9"/>
                </a:solidFill>
              </a:rPr>
              <a:t>OMS Upgrade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8312181" y="3737769"/>
            <a:ext cx="953269" cy="1661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b="1" dirty="0" err="1" smtClean="0">
                <a:solidFill>
                  <a:srgbClr val="AAB414"/>
                </a:solidFill>
              </a:rPr>
              <a:t>Sie</a:t>
            </a:r>
            <a:r>
              <a:rPr lang="en-US" sz="1200" b="1" dirty="0" smtClean="0">
                <a:solidFill>
                  <a:srgbClr val="AAB414"/>
                </a:solidFill>
              </a:rPr>
              <a:t> </a:t>
            </a:r>
            <a:r>
              <a:rPr lang="en-US" sz="1200" b="1" dirty="0" err="1" smtClean="0">
                <a:solidFill>
                  <a:srgbClr val="AAB414"/>
                </a:solidFill>
              </a:rPr>
              <a:t>sind</a:t>
            </a:r>
            <a:r>
              <a:rPr lang="en-US" sz="1200" b="1" dirty="0" smtClean="0">
                <a:solidFill>
                  <a:srgbClr val="AAB414"/>
                </a:solidFill>
              </a:rPr>
              <a:t> </a:t>
            </a:r>
            <a:r>
              <a:rPr lang="en-US" sz="1200" b="1" dirty="0" err="1" smtClean="0">
                <a:solidFill>
                  <a:srgbClr val="AAB414"/>
                </a:solidFill>
              </a:rPr>
              <a:t>hier</a:t>
            </a:r>
            <a:endParaRPr lang="en-US" sz="1200" b="1" dirty="0" smtClean="0">
              <a:solidFill>
                <a:srgbClr val="AAB414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8000121" y="3941033"/>
            <a:ext cx="1070288" cy="1661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55A0B9"/>
                </a:solidFill>
              </a:rPr>
              <a:t>GIS Integration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7665127" y="4213148"/>
            <a:ext cx="1056310" cy="1661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55A0B9"/>
                </a:solidFill>
              </a:rPr>
              <a:t>RTU Upgrades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7066479" y="4596505"/>
            <a:ext cx="1445391" cy="3323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55A0B9"/>
                </a:solidFill>
              </a:rPr>
              <a:t>Substation</a:t>
            </a:r>
            <a:br>
              <a:rPr lang="en-US" sz="1200" dirty="0" smtClean="0">
                <a:solidFill>
                  <a:srgbClr val="55A0B9"/>
                </a:solidFill>
              </a:rPr>
            </a:br>
            <a:r>
              <a:rPr lang="en-US" sz="1200" dirty="0" smtClean="0">
                <a:solidFill>
                  <a:srgbClr val="55A0B9"/>
                </a:solidFill>
              </a:rPr>
              <a:t>Automation Systems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6482494" y="5166235"/>
            <a:ext cx="1671863" cy="1661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55A0B9"/>
                </a:solidFill>
              </a:rPr>
              <a:t>Workforce Management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7098422" y="5524501"/>
            <a:ext cx="310465" cy="166199"/>
          </a:xfrm>
          <a:prstGeom prst="rect">
            <a:avLst/>
          </a:prstGeom>
          <a:noFill/>
        </p:spPr>
        <p:txBody>
          <a:bodyPr wrap="none" lIns="0" tIns="0" rIns="3600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55A0B9"/>
                </a:solidFill>
              </a:rPr>
              <a:t>AMI</a:t>
            </a:r>
          </a:p>
        </p:txBody>
      </p:sp>
      <p:sp>
        <p:nvSpPr>
          <p:cNvPr id="40" name="Ellipse 39"/>
          <p:cNvSpPr/>
          <p:nvPr/>
        </p:nvSpPr>
        <p:spPr bwMode="auto">
          <a:xfrm>
            <a:off x="10528326" y="3678874"/>
            <a:ext cx="141303" cy="142859"/>
          </a:xfrm>
          <a:prstGeom prst="ellipse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41" name="Ellipse 40"/>
          <p:cNvSpPr/>
          <p:nvPr/>
        </p:nvSpPr>
        <p:spPr bwMode="auto">
          <a:xfrm>
            <a:off x="10221284" y="4010355"/>
            <a:ext cx="141303" cy="142859"/>
          </a:xfrm>
          <a:prstGeom prst="ellipse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42" name="Ellipse 41"/>
          <p:cNvSpPr/>
          <p:nvPr/>
        </p:nvSpPr>
        <p:spPr bwMode="auto">
          <a:xfrm>
            <a:off x="10041816" y="4172728"/>
            <a:ext cx="141303" cy="142859"/>
          </a:xfrm>
          <a:prstGeom prst="ellipse">
            <a:avLst/>
          </a:prstGeom>
          <a:solidFill>
            <a:srgbClr val="AAB41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43" name="Ellipse 42"/>
          <p:cNvSpPr/>
          <p:nvPr/>
        </p:nvSpPr>
        <p:spPr bwMode="auto">
          <a:xfrm>
            <a:off x="9846167" y="4370399"/>
            <a:ext cx="141303" cy="142859"/>
          </a:xfrm>
          <a:prstGeom prst="ellipse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44" name="Ellipse 43"/>
          <p:cNvSpPr/>
          <p:nvPr/>
        </p:nvSpPr>
        <p:spPr bwMode="auto">
          <a:xfrm>
            <a:off x="9506495" y="4645184"/>
            <a:ext cx="141303" cy="142859"/>
          </a:xfrm>
          <a:prstGeom prst="ellipse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45" name="Ellipse 44"/>
          <p:cNvSpPr/>
          <p:nvPr/>
        </p:nvSpPr>
        <p:spPr bwMode="auto">
          <a:xfrm>
            <a:off x="9289189" y="5094831"/>
            <a:ext cx="141303" cy="142859"/>
          </a:xfrm>
          <a:prstGeom prst="ellipse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46" name="Ellipse 45"/>
          <p:cNvSpPr/>
          <p:nvPr/>
        </p:nvSpPr>
        <p:spPr bwMode="auto">
          <a:xfrm>
            <a:off x="8941448" y="5606927"/>
            <a:ext cx="141303" cy="142859"/>
          </a:xfrm>
          <a:prstGeom prst="ellipse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47" name="Ellipse 46"/>
          <p:cNvSpPr/>
          <p:nvPr/>
        </p:nvSpPr>
        <p:spPr bwMode="auto">
          <a:xfrm>
            <a:off x="8188576" y="5967894"/>
            <a:ext cx="141303" cy="142859"/>
          </a:xfrm>
          <a:prstGeom prst="ellipse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 rot="5400000">
            <a:off x="9185551" y="3757655"/>
            <a:ext cx="4681791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233746"/>
                </a:solidFill>
              </a:rPr>
              <a:t>Annual Rate of Data Intake</a:t>
            </a:r>
          </a:p>
        </p:txBody>
      </p:sp>
    </p:spTree>
    <p:extLst>
      <p:ext uri="{BB962C8B-B14F-4D97-AF65-F5344CB8AC3E}">
        <p14:creationId xmlns="" xmlns:p14="http://schemas.microsoft.com/office/powerpoint/2010/main" val="144466863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0658" name="Picture 2" descr="C:\Users\z002py4p\AppData\Local\Microsoft\Windows\Temporary Internet Files\Content.Outlook\CZQRHRBJ\SIC_00019605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53168" y="10781"/>
            <a:ext cx="9205232" cy="7306918"/>
          </a:xfrm>
          <a:prstGeom prst="rect">
            <a:avLst/>
          </a:prstGeom>
          <a:noFill/>
        </p:spPr>
      </p:pic>
      <p:sp>
        <p:nvSpPr>
          <p:cNvPr id="5" name="Rechteck 4"/>
          <p:cNvSpPr/>
          <p:nvPr/>
        </p:nvSpPr>
        <p:spPr bwMode="auto">
          <a:xfrm>
            <a:off x="1700" y="0"/>
            <a:ext cx="1082566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10058400" y="-562303"/>
            <a:ext cx="213995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-96985" y="0"/>
            <a:ext cx="12295333" cy="6858000"/>
          </a:xfrm>
          <a:prstGeom prst="rect">
            <a:avLst/>
          </a:prstGeom>
          <a:solidFill>
            <a:schemeClr val="accent2">
              <a:alpha val="35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8" name="Titel 6"/>
          <p:cNvSpPr txBox="1">
            <a:spLocks/>
          </p:cNvSpPr>
          <p:nvPr/>
        </p:nvSpPr>
        <p:spPr bwMode="ltGray">
          <a:xfrm>
            <a:off x="1318437" y="1147839"/>
            <a:ext cx="10397313" cy="1144347"/>
          </a:xfrm>
          <a:prstGeom prst="rect">
            <a:avLst/>
          </a:prstGeom>
          <a:solidFill>
            <a:srgbClr val="233746">
              <a:alpha val="8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180000" tIns="36000" rIns="18000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ct val="0"/>
              </a:spcBef>
              <a:defRPr sz="7500" b="1" kern="0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  <a:lvl2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sz="4000" dirty="0" err="1" smtClean="0"/>
              <a:t>Verteilnetzautomatisierung</a:t>
            </a:r>
            <a:r>
              <a:rPr lang="de-DE" sz="4000" dirty="0" smtClean="0"/>
              <a:t>: Sicherheit, Effizienz und Zukunftsfestigkeit</a:t>
            </a:r>
            <a:endParaRPr lang="de-DE" sz="4000" dirty="0"/>
          </a:p>
        </p:txBody>
      </p:sp>
      <p:sp>
        <p:nvSpPr>
          <p:cNvPr id="9" name="Titel 1"/>
          <p:cNvSpPr txBox="1">
            <a:spLocks/>
          </p:cNvSpPr>
          <p:nvPr/>
        </p:nvSpPr>
        <p:spPr bwMode="ltGray">
          <a:xfrm>
            <a:off x="4004487" y="3247582"/>
            <a:ext cx="2519362" cy="2519363"/>
          </a:xfrm>
          <a:prstGeom prst="rect">
            <a:avLst/>
          </a:prstGeom>
          <a:solidFill>
            <a:srgbClr val="233746">
              <a:alpha val="65097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432000" rIns="144000" bIns="216000" anchor="b"/>
          <a:lstStyle/>
          <a:p>
            <a:r>
              <a:rPr lang="en-US" dirty="0" err="1" smtClean="0">
                <a:solidFill>
                  <a:srgbClr val="FFFFFF"/>
                </a:solidFill>
              </a:rPr>
              <a:t>Automatisierung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als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erste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Schritt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zu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Ertüchtigung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für</a:t>
            </a:r>
            <a:r>
              <a:rPr lang="en-US" dirty="0" smtClean="0">
                <a:solidFill>
                  <a:srgbClr val="FFFFFF"/>
                </a:solidFill>
              </a:rPr>
              <a:t> die Integration </a:t>
            </a:r>
            <a:r>
              <a:rPr lang="en-US" dirty="0" err="1" smtClean="0">
                <a:solidFill>
                  <a:srgbClr val="FFFFFF"/>
                </a:solidFill>
              </a:rPr>
              <a:t>dezentrale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Erzeugung</a:t>
            </a:r>
            <a:r>
              <a:rPr lang="en-US" dirty="0" smtClean="0">
                <a:solidFill>
                  <a:srgbClr val="FFFFFF"/>
                </a:solidFill>
              </a:rPr>
              <a:t>.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 bwMode="ltGray">
          <a:xfrm>
            <a:off x="1318437" y="3231707"/>
            <a:ext cx="2520950" cy="2519363"/>
          </a:xfrm>
          <a:prstGeom prst="rect">
            <a:avLst/>
          </a:prstGeom>
          <a:solidFill>
            <a:srgbClr val="233746">
              <a:alpha val="65097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432000" rIns="144000" bIns="216000" anchor="b"/>
          <a:lstStyle/>
          <a:p>
            <a:r>
              <a:rPr lang="en-US" dirty="0" err="1" smtClean="0">
                <a:solidFill>
                  <a:srgbClr val="FFFFFF"/>
                </a:solidFill>
              </a:rPr>
              <a:t>Verteilnetz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als</a:t>
            </a:r>
            <a:r>
              <a:rPr lang="en-US" dirty="0" smtClean="0">
                <a:solidFill>
                  <a:srgbClr val="FFFFFF"/>
                </a:solidFill>
              </a:rPr>
              <a:t> blinder Fleck </a:t>
            </a:r>
            <a:r>
              <a:rPr lang="en-US" dirty="0" err="1" smtClean="0">
                <a:solidFill>
                  <a:srgbClr val="FFFFFF"/>
                </a:solidFill>
              </a:rPr>
              <a:t>ist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eine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Bedrohung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für</a:t>
            </a:r>
            <a:r>
              <a:rPr lang="en-US" dirty="0" smtClean="0">
                <a:solidFill>
                  <a:srgbClr val="FFFFFF"/>
                </a:solidFill>
              </a:rPr>
              <a:t> die </a:t>
            </a:r>
            <a:r>
              <a:rPr lang="en-US" dirty="0" err="1" smtClean="0">
                <a:solidFill>
                  <a:srgbClr val="FFFFFF"/>
                </a:solidFill>
              </a:rPr>
              <a:t>Versorgungs-sicherheit</a:t>
            </a:r>
            <a:r>
              <a:rPr lang="en-US" dirty="0" smtClean="0">
                <a:solidFill>
                  <a:srgbClr val="FFFFFF"/>
                </a:solidFill>
              </a:rPr>
              <a:t>.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 bwMode="ltGray">
          <a:xfrm>
            <a:off x="6709587" y="3249170"/>
            <a:ext cx="2519362" cy="2519362"/>
          </a:xfrm>
          <a:prstGeom prst="rect">
            <a:avLst/>
          </a:prstGeom>
          <a:solidFill>
            <a:srgbClr val="233746">
              <a:alpha val="65097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432000" rIns="144000" bIns="216000" anchor="b"/>
          <a:lstStyle/>
          <a:p>
            <a:r>
              <a:rPr lang="en-US" dirty="0" err="1" smtClean="0">
                <a:solidFill>
                  <a:srgbClr val="FFFFFF"/>
                </a:solidFill>
              </a:rPr>
              <a:t>Daten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aus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automatisierten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Verteilnetzen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Grundlage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fü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Optimierung</a:t>
            </a:r>
            <a:r>
              <a:rPr lang="en-US" dirty="0" smtClean="0">
                <a:solidFill>
                  <a:srgbClr val="FFFFFF"/>
                </a:solidFill>
              </a:rPr>
              <a:t> des </a:t>
            </a:r>
            <a:r>
              <a:rPr lang="en-US" dirty="0" err="1" smtClean="0">
                <a:solidFill>
                  <a:srgbClr val="FFFFFF"/>
                </a:solidFill>
              </a:rPr>
              <a:t>Gesamtsystems</a:t>
            </a:r>
            <a:r>
              <a:rPr lang="en-US" dirty="0" smtClean="0">
                <a:solidFill>
                  <a:srgbClr val="FFFFFF"/>
                </a:solidFill>
              </a:rPr>
              <a:t>.</a:t>
            </a:r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euerbarkeit der Netze und Kapazitätsmanagement verbessern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757803" y="1495239"/>
            <a:ext cx="3426289" cy="4598057"/>
            <a:chOff x="728670" y="1495239"/>
            <a:chExt cx="3426289" cy="4598057"/>
          </a:xfrm>
        </p:grpSpPr>
        <p:sp>
          <p:nvSpPr>
            <p:cNvPr id="6" name="Wolke 5"/>
            <p:cNvSpPr/>
            <p:nvPr/>
          </p:nvSpPr>
          <p:spPr bwMode="auto">
            <a:xfrm>
              <a:off x="795732" y="3709156"/>
              <a:ext cx="1991076" cy="1113272"/>
            </a:xfrm>
            <a:prstGeom prst="cloud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Wolke 6"/>
            <p:cNvSpPr/>
            <p:nvPr/>
          </p:nvSpPr>
          <p:spPr bwMode="auto">
            <a:xfrm rot="11137390">
              <a:off x="2192615" y="3653054"/>
              <a:ext cx="1691755" cy="1182820"/>
            </a:xfrm>
            <a:prstGeom prst="cloud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804922" y="1495239"/>
              <a:ext cx="2845982" cy="4215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0"/>
                </a:spcBef>
              </a:pPr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779521" y="5532134"/>
              <a:ext cx="3066449" cy="5611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0"/>
                </a:spcBef>
              </a:pPr>
              <a:endParaRPr lang="en-US" sz="11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0" name="Gruppieren 162"/>
            <p:cNvGrpSpPr/>
            <p:nvPr/>
          </p:nvGrpSpPr>
          <p:grpSpPr>
            <a:xfrm>
              <a:off x="1037658" y="2518563"/>
              <a:ext cx="2613245" cy="478389"/>
              <a:chOff x="1037658" y="2518563"/>
              <a:chExt cx="2613245" cy="478389"/>
            </a:xfrm>
          </p:grpSpPr>
          <p:cxnSp>
            <p:nvCxnSpPr>
              <p:cNvPr id="44" name="Gerade Verbindung 43"/>
              <p:cNvCxnSpPr/>
              <p:nvPr/>
            </p:nvCxnSpPr>
            <p:spPr bwMode="auto">
              <a:xfrm>
                <a:off x="1037658" y="2636912"/>
                <a:ext cx="2613245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5" name="Gerade Verbindung 44"/>
              <p:cNvCxnSpPr/>
              <p:nvPr/>
            </p:nvCxnSpPr>
            <p:spPr bwMode="auto">
              <a:xfrm>
                <a:off x="2354759" y="2636912"/>
                <a:ext cx="0" cy="36004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6" name="Gerade Verbindung 45"/>
              <p:cNvCxnSpPr/>
              <p:nvPr/>
            </p:nvCxnSpPr>
            <p:spPr bwMode="auto">
              <a:xfrm>
                <a:off x="1037658" y="2518563"/>
                <a:ext cx="0" cy="118349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7" name="Gerade Verbindung 46"/>
              <p:cNvCxnSpPr/>
              <p:nvPr/>
            </p:nvCxnSpPr>
            <p:spPr bwMode="auto">
              <a:xfrm>
                <a:off x="1945708" y="2518563"/>
                <a:ext cx="0" cy="118349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8" name="Gerade Verbindung 47"/>
              <p:cNvCxnSpPr/>
              <p:nvPr/>
            </p:nvCxnSpPr>
            <p:spPr bwMode="auto">
              <a:xfrm>
                <a:off x="2783908" y="2518563"/>
                <a:ext cx="0" cy="118349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9" name="Gerade Verbindung 48"/>
              <p:cNvCxnSpPr/>
              <p:nvPr/>
            </p:nvCxnSpPr>
            <p:spPr bwMode="auto">
              <a:xfrm>
                <a:off x="3650903" y="2518563"/>
                <a:ext cx="0" cy="118349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11" name="Picture 1222" descr="PV Mini000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316785" y="2243566"/>
              <a:ext cx="838174" cy="3016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1221" descr="Wind Land mini0000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451860" y="1988840"/>
              <a:ext cx="818470" cy="5564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108" descr="Siedlung0000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544828" y="2106268"/>
              <a:ext cx="954522" cy="438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9" descr="Solarhaus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28670" y="2113175"/>
              <a:ext cx="763249" cy="4320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echteck 14"/>
            <p:cNvSpPr/>
            <p:nvPr/>
          </p:nvSpPr>
          <p:spPr bwMode="auto">
            <a:xfrm>
              <a:off x="3131102" y="2836409"/>
              <a:ext cx="972000" cy="61546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wrap="square" lIns="90000" tIns="54000" rIns="90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r>
                <a:rPr lang="en-US" sz="1200" dirty="0" err="1" smtClean="0">
                  <a:solidFill>
                    <a:schemeClr val="bg1"/>
                  </a:solidFill>
                </a:rPr>
                <a:t>Energie-markt</a:t>
              </a:r>
              <a:endParaRPr lang="en-US" sz="1200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16" name="Gruppieren 166"/>
            <p:cNvGrpSpPr/>
            <p:nvPr/>
          </p:nvGrpSpPr>
          <p:grpSpPr>
            <a:xfrm rot="10800000">
              <a:off x="1491920" y="3451870"/>
              <a:ext cx="1778410" cy="553194"/>
              <a:chOff x="1418231" y="2518562"/>
              <a:chExt cx="1778410" cy="553194"/>
            </a:xfrm>
          </p:grpSpPr>
          <p:cxnSp>
            <p:nvCxnSpPr>
              <p:cNvPr id="40" name="Gerade Verbindung 39"/>
              <p:cNvCxnSpPr/>
              <p:nvPr/>
            </p:nvCxnSpPr>
            <p:spPr bwMode="auto">
              <a:xfrm rot="10800000" flipH="1">
                <a:off x="1418231" y="2636912"/>
                <a:ext cx="1778410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1" name="Gerade Verbindung 40"/>
              <p:cNvCxnSpPr/>
              <p:nvPr/>
            </p:nvCxnSpPr>
            <p:spPr bwMode="auto">
              <a:xfrm rot="10800000" flipV="1">
                <a:off x="2327380" y="2518562"/>
                <a:ext cx="0" cy="553194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2" name="Gerade Verbindung 41"/>
              <p:cNvCxnSpPr/>
              <p:nvPr/>
            </p:nvCxnSpPr>
            <p:spPr bwMode="auto">
              <a:xfrm>
                <a:off x="1418231" y="2518563"/>
                <a:ext cx="0" cy="118349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3" name="Gerade Verbindung 42"/>
              <p:cNvCxnSpPr/>
              <p:nvPr/>
            </p:nvCxnSpPr>
            <p:spPr bwMode="auto">
              <a:xfrm>
                <a:off x="3196641" y="2518563"/>
                <a:ext cx="0" cy="118349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7" name="Rechteck 16"/>
            <p:cNvSpPr/>
            <p:nvPr/>
          </p:nvSpPr>
          <p:spPr bwMode="auto">
            <a:xfrm>
              <a:off x="1827465" y="2774586"/>
              <a:ext cx="1033630" cy="8704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square" lIns="90000" tIns="54000" rIns="90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r>
                <a:rPr lang="en-US" sz="1200" b="1" dirty="0" err="1" smtClean="0">
                  <a:solidFill>
                    <a:schemeClr val="bg1"/>
                  </a:solidFill>
                </a:rPr>
                <a:t>Virtuelles</a:t>
              </a:r>
              <a:r>
                <a:rPr lang="en-US" sz="12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200" b="1" dirty="0" err="1" smtClean="0">
                  <a:solidFill>
                    <a:schemeClr val="bg1"/>
                  </a:solidFill>
                </a:rPr>
                <a:t>Kraftwerk</a:t>
              </a:r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18" name="Gruppieren 182"/>
            <p:cNvGrpSpPr/>
            <p:nvPr/>
          </p:nvGrpSpPr>
          <p:grpSpPr>
            <a:xfrm rot="10800000">
              <a:off x="1060450" y="4396740"/>
              <a:ext cx="2819400" cy="800100"/>
              <a:chOff x="808711" y="2334899"/>
              <a:chExt cx="2819400" cy="800100"/>
            </a:xfrm>
          </p:grpSpPr>
          <p:cxnSp>
            <p:nvCxnSpPr>
              <p:cNvPr id="30" name="Gerade Verbindung 29"/>
              <p:cNvCxnSpPr/>
              <p:nvPr/>
            </p:nvCxnSpPr>
            <p:spPr bwMode="auto">
              <a:xfrm rot="10800000" flipH="1">
                <a:off x="808711" y="2636912"/>
                <a:ext cx="2819400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" name="Gerade Verbindung 30"/>
              <p:cNvCxnSpPr/>
              <p:nvPr/>
            </p:nvCxnSpPr>
            <p:spPr bwMode="auto">
              <a:xfrm rot="10800000" flipV="1">
                <a:off x="2323009" y="2636912"/>
                <a:ext cx="0" cy="498087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" name="Gerade Verbindung 31"/>
              <p:cNvCxnSpPr/>
              <p:nvPr/>
            </p:nvCxnSpPr>
            <p:spPr bwMode="auto">
              <a:xfrm rot="10800000" flipV="1">
                <a:off x="808711" y="2337439"/>
                <a:ext cx="0" cy="299472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3" name="Gerade Verbindung 32"/>
              <p:cNvCxnSpPr/>
              <p:nvPr/>
            </p:nvCxnSpPr>
            <p:spPr bwMode="auto">
              <a:xfrm>
                <a:off x="1945708" y="2518563"/>
                <a:ext cx="0" cy="118349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4" name="Gerade Verbindung 33"/>
              <p:cNvCxnSpPr/>
              <p:nvPr/>
            </p:nvCxnSpPr>
            <p:spPr bwMode="auto">
              <a:xfrm rot="10800000" flipV="1">
                <a:off x="3625503" y="2334899"/>
                <a:ext cx="0" cy="302012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5" name="Gerade Verbindung 34"/>
              <p:cNvCxnSpPr/>
              <p:nvPr/>
            </p:nvCxnSpPr>
            <p:spPr bwMode="auto">
              <a:xfrm rot="10800000" flipV="1">
                <a:off x="3033683" y="2334899"/>
                <a:ext cx="0" cy="302012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" name="Gerade Verbindung 35"/>
              <p:cNvCxnSpPr/>
              <p:nvPr/>
            </p:nvCxnSpPr>
            <p:spPr bwMode="auto">
              <a:xfrm rot="10800000" flipV="1">
                <a:off x="2446943" y="2334899"/>
                <a:ext cx="0" cy="302012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7" name="Gerade Verbindung 36"/>
              <p:cNvCxnSpPr/>
              <p:nvPr/>
            </p:nvCxnSpPr>
            <p:spPr bwMode="auto">
              <a:xfrm rot="10800000" flipV="1">
                <a:off x="1349663" y="2334899"/>
                <a:ext cx="0" cy="302012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8" name="Gerade Verbindung 37"/>
              <p:cNvCxnSpPr/>
              <p:nvPr/>
            </p:nvCxnSpPr>
            <p:spPr bwMode="auto">
              <a:xfrm rot="10800000" flipV="1">
                <a:off x="3175179" y="2636912"/>
                <a:ext cx="0" cy="498087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9" name="Gerade Verbindung 38"/>
              <p:cNvCxnSpPr/>
              <p:nvPr/>
            </p:nvCxnSpPr>
            <p:spPr bwMode="auto">
              <a:xfrm rot="10800000" flipV="1">
                <a:off x="1404799" y="2636912"/>
                <a:ext cx="0" cy="498087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9" name="Gruppieren 163"/>
            <p:cNvGrpSpPr/>
            <p:nvPr/>
          </p:nvGrpSpPr>
          <p:grpSpPr>
            <a:xfrm>
              <a:off x="1130623" y="4005064"/>
              <a:ext cx="2469306" cy="483577"/>
              <a:chOff x="1130623" y="4027175"/>
              <a:chExt cx="2469306" cy="483577"/>
            </a:xfrm>
          </p:grpSpPr>
          <p:sp>
            <p:nvSpPr>
              <p:cNvPr id="27" name="Rechteck 26"/>
              <p:cNvSpPr/>
              <p:nvPr/>
            </p:nvSpPr>
            <p:spPr bwMode="auto">
              <a:xfrm>
                <a:off x="2905336" y="4027175"/>
                <a:ext cx="694593" cy="48357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  <a:extLst/>
            </p:spPr>
            <p:txBody>
              <a:bodyPr wrap="square" lIns="90000" tIns="54000" rIns="90000" bIns="54000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 smtClean="0">
                    <a:solidFill>
                      <a:schemeClr val="bg1"/>
                    </a:solidFill>
                  </a:rPr>
                  <a:t>…</a:t>
                </a:r>
              </a:p>
            </p:txBody>
          </p:sp>
          <p:sp>
            <p:nvSpPr>
              <p:cNvPr id="28" name="Rechteck 27"/>
              <p:cNvSpPr/>
              <p:nvPr/>
            </p:nvSpPr>
            <p:spPr bwMode="auto">
              <a:xfrm>
                <a:off x="2017980" y="4027175"/>
                <a:ext cx="694593" cy="48357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  <a:extLst/>
            </p:spPr>
            <p:txBody>
              <a:bodyPr wrap="square" lIns="90000" tIns="54000" rIns="90000" bIns="54000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 err="1" smtClean="0">
                    <a:solidFill>
                      <a:schemeClr val="bg1"/>
                    </a:solidFill>
                  </a:rPr>
                  <a:t>Aggre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-gator</a:t>
                </a:r>
              </a:p>
            </p:txBody>
          </p:sp>
          <p:sp>
            <p:nvSpPr>
              <p:cNvPr id="29" name="Rechteck 28"/>
              <p:cNvSpPr/>
              <p:nvPr/>
            </p:nvSpPr>
            <p:spPr bwMode="auto">
              <a:xfrm>
                <a:off x="1130623" y="4027175"/>
                <a:ext cx="694593" cy="48357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  <a:extLst/>
            </p:spPr>
            <p:txBody>
              <a:bodyPr wrap="square" lIns="90000" tIns="54000" rIns="90000" bIns="54000" numCol="1" spcCol="72000" rtlCol="0" anchor="ctr">
                <a:noAutofit/>
              </a:bodyPr>
              <a:lstStyle/>
              <a:p>
                <a:pPr algn="ctr"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1200" dirty="0" err="1" smtClean="0">
                    <a:solidFill>
                      <a:schemeClr val="bg1"/>
                    </a:solidFill>
                  </a:rPr>
                  <a:t>Stadt-werk</a:t>
                </a:r>
                <a:endParaRPr lang="en-US" sz="1200" dirty="0" smtClean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20" name="Picture 1222" descr="PV Mini000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536982" y="5128973"/>
              <a:ext cx="617977" cy="2224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" name="Picture 1221" descr="Wind Land mini0000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09323" y="4941168"/>
              <a:ext cx="603449" cy="410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" name="Picture 1222" descr="PV Mini000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98828" y="5128973"/>
              <a:ext cx="617977" cy="2224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Picture 1222" descr="PV Mini0000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28670" y="5128973"/>
              <a:ext cx="617977" cy="2224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108" descr="Siedlung0000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270858" y="5027745"/>
              <a:ext cx="703759" cy="323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" name="Picture 9" descr="Solarhaus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441016" y="4986779"/>
              <a:ext cx="644096" cy="3646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6" name="Gerade Verbindung mit Pfeil 25"/>
            <p:cNvCxnSpPr>
              <a:stCxn id="17" idx="3"/>
            </p:cNvCxnSpPr>
            <p:nvPr/>
          </p:nvCxnSpPr>
          <p:spPr bwMode="auto">
            <a:xfrm>
              <a:off x="2861095" y="3209805"/>
              <a:ext cx="270007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1" name="Picture 1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7963786" y="2027532"/>
            <a:ext cx="3930305" cy="3487667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Rechteck 51"/>
          <p:cNvSpPr/>
          <p:nvPr/>
        </p:nvSpPr>
        <p:spPr>
          <a:xfrm>
            <a:off x="4529883" y="1570892"/>
            <a:ext cx="3262313" cy="2136774"/>
          </a:xfrm>
          <a:prstGeom prst="rect">
            <a:avLst/>
          </a:prstGeom>
        </p:spPr>
        <p:txBody>
          <a:bodyPr wrap="square" lIns="0" tIns="0" rIns="0" bIns="360000" anchor="t">
            <a:noAutofit/>
          </a:bodyPr>
          <a:lstStyle/>
          <a:p>
            <a:pPr eaLnBrk="1" fontAlgn="auto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Bündelung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dezentraler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Erzeugung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verbesser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Vermarktbarkei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und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Steuerbarkei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.</a:t>
            </a:r>
            <a:endParaRPr lang="en-US" sz="2000" b="1" kern="0" dirty="0" smtClean="0">
              <a:solidFill>
                <a:srgbClr val="879BAA"/>
              </a:solidFill>
              <a:latin typeface="Siemens Slab" pitchFamily="2" charset="0"/>
            </a:endParaRPr>
          </a:p>
          <a:p>
            <a:pPr eaLnBrk="1" fontAlgn="auto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Lastmanagemen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hilf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übermäßige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Reservekapazität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in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Erzeugung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und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Netz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vermeiden</a:t>
            </a:r>
            <a:r>
              <a:rPr lang="en-US" sz="2000" b="1" dirty="0" smtClean="0">
                <a:solidFill>
                  <a:srgbClr val="55A0B9"/>
                </a:solidFill>
                <a:latin typeface="+mn-lt"/>
              </a:rPr>
              <a:t>.</a:t>
            </a:r>
          </a:p>
          <a:p>
            <a:pPr eaLnBrk="1" fontAlgn="auto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Neue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Marktrollen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entstehen</a:t>
            </a:r>
            <a:r>
              <a:rPr lang="en-US" sz="2000" b="1" dirty="0" smtClean="0">
                <a:solidFill>
                  <a:schemeClr val="accent1"/>
                </a:solidFill>
                <a:latin typeface="Siemens Slab" pitchFamily="2" charset="0"/>
                <a:ea typeface="+mn-ea"/>
                <a:cs typeface="Arial" pitchFamily="34" charset="0"/>
              </a:rPr>
              <a:t>.</a:t>
            </a:r>
          </a:p>
          <a:p>
            <a:pPr eaLnBrk="1" fontAlgn="auto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defRPr/>
            </a:pPr>
            <a:endParaRPr lang="en-US" sz="2000" b="1" kern="0" dirty="0" smtClean="0">
              <a:solidFill>
                <a:srgbClr val="879BAA"/>
              </a:solidFill>
              <a:latin typeface="Siemens Slab" pitchFamily="2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074" name="think-cell Folie" r:id="rId4" imgW="360" imgH="360" progId="TCLayout.ActiveDocument.1">
              <p:embed/>
            </p:oleObj>
          </a:graphicData>
        </a:graphic>
      </p:graphicFrame>
      <p:pic>
        <p:nvPicPr>
          <p:cNvPr id="57346" name="Picture 2" descr="aMeter300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921417" y="1828977"/>
            <a:ext cx="3829215" cy="3829215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1" indent="1588"/>
            <a:r>
              <a:rPr lang="en-US" dirty="0" err="1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Netzdienliche</a:t>
            </a:r>
            <a:r>
              <a:rPr lang="en-US" dirty="0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 Smart Meter: </a:t>
            </a:r>
            <a:r>
              <a:rPr lang="en-US" dirty="0" err="1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Größtes</a:t>
            </a:r>
            <a:r>
              <a:rPr lang="en-US" dirty="0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 Asset </a:t>
            </a:r>
            <a:r>
              <a:rPr lang="en-US" dirty="0" err="1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im</a:t>
            </a:r>
            <a:r>
              <a:rPr lang="en-US" dirty="0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en-US" dirty="0" err="1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intelligenten</a:t>
            </a:r>
            <a:r>
              <a:rPr lang="en-US" dirty="0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en-US" dirty="0" err="1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Energiesystem</a:t>
            </a:r>
            <a:r>
              <a:rPr lang="en-US" dirty="0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</a:p>
        </p:txBody>
      </p:sp>
      <p:sp>
        <p:nvSpPr>
          <p:cNvPr id="4" name="Ellipse 3"/>
          <p:cNvSpPr/>
          <p:nvPr/>
        </p:nvSpPr>
        <p:spPr bwMode="auto">
          <a:xfrm>
            <a:off x="9269784" y="1334995"/>
            <a:ext cx="2704761" cy="2704760"/>
          </a:xfrm>
          <a:prstGeom prst="ellipse">
            <a:avLst/>
          </a:prstGeom>
          <a:solidFill>
            <a:srgbClr val="55A0B9"/>
          </a:solidFill>
          <a:ln w="19050">
            <a:solidFill>
              <a:srgbClr val="55A0B9"/>
            </a:solidFill>
          </a:ln>
          <a:effectLst/>
          <a:extLst/>
        </p:spPr>
        <p:txBody>
          <a:bodyPr rot="0" spcFirstLastPara="0" vertOverflow="overflow" horzOverflow="overflow" vert="horz" wrap="none" lIns="0" tIns="144000" rIns="0" bIns="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80000"/>
              </a:lnSpc>
              <a:spcBef>
                <a:spcPts val="0"/>
              </a:spcBef>
            </a:pPr>
            <a:r>
              <a:rPr lang="de-DE" sz="7200" b="1" kern="100" spc="-150" dirty="0" smtClean="0">
                <a:solidFill>
                  <a:schemeClr val="bg1"/>
                </a:solidFill>
                <a:latin typeface="Siemens Slab" pitchFamily="2" charset="0"/>
              </a:rPr>
              <a:t>500 m</a:t>
            </a:r>
            <a:r>
              <a:rPr lang="de-DE" sz="5400" spc="-150" dirty="0" smtClean="0">
                <a:solidFill>
                  <a:schemeClr val="bg1"/>
                </a:solidFill>
                <a:latin typeface="Siemens Slab Black" pitchFamily="2" charset="0"/>
              </a:rPr>
              <a:t/>
            </a:r>
            <a:br>
              <a:rPr lang="de-DE" sz="5400" spc="-150" dirty="0" smtClean="0">
                <a:solidFill>
                  <a:schemeClr val="bg1"/>
                </a:solidFill>
                <a:latin typeface="Siemens Slab Black" pitchFamily="2" charset="0"/>
              </a:rPr>
            </a:br>
            <a:r>
              <a:rPr lang="en-US" sz="3200" b="1" dirty="0" smtClean="0">
                <a:solidFill>
                  <a:schemeClr val="bg1"/>
                </a:solidFill>
                <a:latin typeface="Siemens Slab" pitchFamily="2" charset="0"/>
              </a:rPr>
              <a:t>in 2020</a:t>
            </a:r>
            <a:endParaRPr lang="en-US" sz="3200" b="1" dirty="0">
              <a:solidFill>
                <a:schemeClr val="bg1"/>
              </a:solidFill>
              <a:latin typeface="Siemens Slab" pitchFamily="2" charset="0"/>
            </a:endParaRPr>
          </a:p>
        </p:txBody>
      </p:sp>
      <p:sp>
        <p:nvSpPr>
          <p:cNvPr id="5" name="Ellipse 4"/>
          <p:cNvSpPr/>
          <p:nvPr/>
        </p:nvSpPr>
        <p:spPr bwMode="auto">
          <a:xfrm>
            <a:off x="6679134" y="3860236"/>
            <a:ext cx="1637274" cy="1637274"/>
          </a:xfrm>
          <a:prstGeom prst="ellipse">
            <a:avLst/>
          </a:prstGeom>
          <a:solidFill>
            <a:schemeClr val="bg1"/>
          </a:solidFill>
          <a:ln w="19050">
            <a:solidFill>
              <a:srgbClr val="55A0B9"/>
            </a:solidFill>
          </a:ln>
          <a:effectLst/>
          <a:extLst/>
        </p:spPr>
        <p:txBody>
          <a:bodyPr rot="0" spcFirstLastPara="0" vertOverflow="overflow" horzOverflow="overflow" vert="horz" wrap="none" lIns="0" tIns="0" rIns="0" bIns="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0"/>
              </a:spcBef>
            </a:pPr>
            <a:r>
              <a:rPr lang="en-US" sz="4400" b="1" dirty="0" smtClean="0">
                <a:solidFill>
                  <a:srgbClr val="55A0B9"/>
                </a:solidFill>
                <a:latin typeface="Siemens Slab" pitchFamily="2" charset="0"/>
              </a:rPr>
              <a:t>130m</a:t>
            </a:r>
            <a:endParaRPr lang="en-US" sz="2000" b="1" dirty="0" smtClean="0">
              <a:solidFill>
                <a:srgbClr val="55A0B9"/>
              </a:solidFill>
              <a:latin typeface="Siemens Slab" pitchFamily="2" charset="0"/>
            </a:endParaRPr>
          </a:p>
          <a:p>
            <a:pPr lvl="0" algn="ctr">
              <a:spcBef>
                <a:spcPts val="0"/>
              </a:spcBef>
            </a:pPr>
            <a:r>
              <a:rPr lang="en-US" sz="2000" b="1" dirty="0" smtClean="0">
                <a:solidFill>
                  <a:srgbClr val="55A0B9"/>
                </a:solidFill>
                <a:latin typeface="Siemens Slab" pitchFamily="2" charset="0"/>
              </a:rPr>
              <a:t>in 2013</a:t>
            </a:r>
            <a:endParaRPr lang="en-US" sz="2000" b="1" dirty="0">
              <a:solidFill>
                <a:srgbClr val="55A0B9"/>
              </a:solidFill>
              <a:latin typeface="Siemens Slab" pitchFamily="2" charset="0"/>
            </a:endParaRPr>
          </a:p>
        </p:txBody>
      </p:sp>
      <p:sp>
        <p:nvSpPr>
          <p:cNvPr id="6" name="Freeform 6"/>
          <p:cNvSpPr>
            <a:spLocks/>
          </p:cNvSpPr>
          <p:nvPr/>
        </p:nvSpPr>
        <p:spPr bwMode="auto">
          <a:xfrm rot="3312833">
            <a:off x="8584780" y="3592329"/>
            <a:ext cx="458417" cy="893264"/>
          </a:xfrm>
          <a:custGeom>
            <a:avLst/>
            <a:gdLst>
              <a:gd name="T0" fmla="*/ 1108 w 2217"/>
              <a:gd name="T1" fmla="*/ 0 h 4320"/>
              <a:gd name="T2" fmla="*/ 2217 w 2217"/>
              <a:gd name="T3" fmla="*/ 2186 h 4320"/>
              <a:gd name="T4" fmla="*/ 1331 w 2217"/>
              <a:gd name="T5" fmla="*/ 2186 h 4320"/>
              <a:gd name="T6" fmla="*/ 1331 w 2217"/>
              <a:gd name="T7" fmla="*/ 4320 h 4320"/>
              <a:gd name="T8" fmla="*/ 882 w 2217"/>
              <a:gd name="T9" fmla="*/ 4320 h 4320"/>
              <a:gd name="T10" fmla="*/ 882 w 2217"/>
              <a:gd name="T11" fmla="*/ 2186 h 4320"/>
              <a:gd name="T12" fmla="*/ 0 w 2217"/>
              <a:gd name="T13" fmla="*/ 2186 h 4320"/>
              <a:gd name="T14" fmla="*/ 1108 w 2217"/>
              <a:gd name="T15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17" h="4320">
                <a:moveTo>
                  <a:pt x="1108" y="0"/>
                </a:moveTo>
                <a:lnTo>
                  <a:pt x="2217" y="2186"/>
                </a:lnTo>
                <a:lnTo>
                  <a:pt x="1331" y="2186"/>
                </a:lnTo>
                <a:lnTo>
                  <a:pt x="1331" y="4320"/>
                </a:lnTo>
                <a:lnTo>
                  <a:pt x="882" y="4320"/>
                </a:lnTo>
                <a:lnTo>
                  <a:pt x="882" y="2186"/>
                </a:lnTo>
                <a:lnTo>
                  <a:pt x="0" y="2186"/>
                </a:lnTo>
                <a:lnTo>
                  <a:pt x="110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600"/>
          </a:p>
        </p:txBody>
      </p:sp>
      <p:sp>
        <p:nvSpPr>
          <p:cNvPr id="17" name="Textfeld 16"/>
          <p:cNvSpPr txBox="1"/>
          <p:nvPr/>
        </p:nvSpPr>
        <p:spPr>
          <a:xfrm>
            <a:off x="9067627" y="6374607"/>
            <a:ext cx="2649711" cy="156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smtClean="0">
                <a:solidFill>
                  <a:schemeClr val="accent1"/>
                </a:solidFill>
              </a:rPr>
              <a:t>Source: Siemens market studies</a:t>
            </a:r>
          </a:p>
        </p:txBody>
      </p:sp>
      <p:sp>
        <p:nvSpPr>
          <p:cNvPr id="16" name="Inhaltsplatzhalter 4"/>
          <p:cNvSpPr>
            <a:spLocks noGrp="1"/>
          </p:cNvSpPr>
          <p:nvPr>
            <p:ph idx="1"/>
          </p:nvPr>
        </p:nvSpPr>
        <p:spPr>
          <a:xfrm>
            <a:off x="627063" y="1369656"/>
            <a:ext cx="4902199" cy="5170646"/>
          </a:xfrm>
        </p:spPr>
        <p:txBody>
          <a:bodyPr wrap="square">
            <a:spAutoFit/>
          </a:bodyPr>
          <a:lstStyle/>
          <a:p>
            <a:pPr marL="0" lvl="1" indent="0">
              <a:lnSpc>
                <a:spcPct val="100000"/>
              </a:lnSpc>
              <a:buNone/>
            </a:pP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Smart Meter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liefern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mehr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als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nur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Verbrauchsdaten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.</a:t>
            </a:r>
          </a:p>
          <a:p>
            <a:pPr marL="0" lvl="1" indent="0">
              <a:lnSpc>
                <a:spcPct val="100000"/>
              </a:lnSpc>
              <a:buNone/>
            </a:pPr>
            <a:endParaRPr lang="en-US" sz="2800" dirty="0" smtClean="0">
              <a:solidFill>
                <a:srgbClr val="233746"/>
              </a:solidFill>
              <a:latin typeface="+mn-lt"/>
            </a:endParaRPr>
          </a:p>
          <a:p>
            <a:pPr marL="0" lvl="1" indent="0">
              <a:lnSpc>
                <a:spcPct val="100000"/>
              </a:lnSpc>
              <a:buNone/>
            </a:pP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Netzdienlichkeit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Voraussetzung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für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wirtschaftlichen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Einsatz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.  </a:t>
            </a:r>
          </a:p>
          <a:p>
            <a:pPr marL="0" lvl="1" indent="0">
              <a:lnSpc>
                <a:spcPct val="100000"/>
              </a:lnSpc>
              <a:buNone/>
            </a:pPr>
            <a:endParaRPr lang="en-US" sz="2800" b="1" dirty="0" smtClean="0">
              <a:solidFill>
                <a:schemeClr val="accent1"/>
              </a:solidFill>
              <a:latin typeface="Siemens Slab" pitchFamily="2" charset="0"/>
            </a:endParaRPr>
          </a:p>
          <a:p>
            <a:pPr marL="0" lvl="1" indent="0">
              <a:lnSpc>
                <a:spcPct val="100000"/>
              </a:lnSpc>
              <a:buNone/>
            </a:pP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Vielzahl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an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Applikationen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:  </a:t>
            </a:r>
            <a:r>
              <a:rPr lang="en-US" sz="2800" b="1" kern="1200" dirty="0" err="1" smtClean="0">
                <a:solidFill>
                  <a:srgbClr val="55A0B9"/>
                </a:solidFill>
                <a:latin typeface="+mn-lt"/>
                <a:ea typeface="ＭＳ Ｐゴシック" charset="-128"/>
                <a:cs typeface="+mn-cs"/>
              </a:rPr>
              <a:t>Netzmanagement</a:t>
            </a:r>
            <a:r>
              <a:rPr lang="en-US" sz="2800" b="1" kern="1200" dirty="0" smtClean="0">
                <a:solidFill>
                  <a:srgbClr val="55A0B9"/>
                </a:solidFill>
                <a:latin typeface="+mn-lt"/>
                <a:ea typeface="ＭＳ Ｐゴシック" charset="-128"/>
                <a:cs typeface="+mn-cs"/>
              </a:rPr>
              <a:t>, Asset Management, Service- </a:t>
            </a:r>
            <a:r>
              <a:rPr lang="en-US" sz="2800" b="1" kern="1200" dirty="0" err="1" smtClean="0">
                <a:solidFill>
                  <a:srgbClr val="55A0B9"/>
                </a:solidFill>
                <a:latin typeface="+mn-lt"/>
                <a:ea typeface="ＭＳ Ｐゴシック" charset="-128"/>
                <a:cs typeface="+mn-cs"/>
              </a:rPr>
              <a:t>Steuerung</a:t>
            </a:r>
            <a:r>
              <a:rPr lang="en-US" sz="2800" b="1" kern="1200" dirty="0" smtClean="0">
                <a:solidFill>
                  <a:srgbClr val="55A0B9"/>
                </a:solidFill>
                <a:latin typeface="+mn-lt"/>
                <a:ea typeface="ＭＳ Ｐゴシック" charset="-128"/>
                <a:cs typeface="+mn-cs"/>
              </a:rPr>
              <a:t> 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und </a:t>
            </a:r>
            <a:r>
              <a:rPr lang="en-US" sz="2800" b="1" kern="1200" dirty="0" err="1" smtClean="0">
                <a:solidFill>
                  <a:srgbClr val="55A0B9"/>
                </a:solidFill>
                <a:latin typeface="+mn-lt"/>
                <a:ea typeface="ＭＳ Ｐゴシック" charset="-128"/>
                <a:cs typeface="+mn-cs"/>
              </a:rPr>
              <a:t>neue</a:t>
            </a:r>
            <a:r>
              <a:rPr lang="en-US" sz="2800" b="1" kern="1200" dirty="0" smtClean="0">
                <a:solidFill>
                  <a:srgbClr val="55A0B9"/>
                </a:solidFill>
                <a:latin typeface="+mn-lt"/>
                <a:ea typeface="ＭＳ Ｐゴシック" charset="-128"/>
                <a:cs typeface="+mn-cs"/>
              </a:rPr>
              <a:t> </a:t>
            </a:r>
            <a:r>
              <a:rPr lang="en-US" sz="2800" b="1" kern="1200" dirty="0" err="1" smtClean="0">
                <a:solidFill>
                  <a:srgbClr val="55A0B9"/>
                </a:solidFill>
                <a:latin typeface="+mn-lt"/>
                <a:ea typeface="ＭＳ Ｐゴシック" charset="-128"/>
                <a:cs typeface="+mn-cs"/>
              </a:rPr>
              <a:t>Geschäftsmodelle</a:t>
            </a:r>
            <a:r>
              <a:rPr lang="en-US" sz="2800" b="1" kern="1200" dirty="0" smtClean="0">
                <a:solidFill>
                  <a:srgbClr val="55A0B9"/>
                </a:solidFill>
                <a:latin typeface="+mn-lt"/>
                <a:ea typeface="ＭＳ Ｐゴシック" charset="-128"/>
                <a:cs typeface="+mn-cs"/>
              </a:rPr>
              <a:t>. </a:t>
            </a:r>
            <a:endParaRPr lang="en-US" sz="2800" b="1" kern="1200" dirty="0">
              <a:solidFill>
                <a:srgbClr val="55A0B9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144988" y="5618018"/>
            <a:ext cx="5930341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indent="1588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Weltweit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</a:t>
            </a:r>
            <a:r>
              <a:rPr lang="en-US" sz="2800" b="1" dirty="0" err="1" smtClean="0">
                <a:solidFill>
                  <a:schemeClr val="accent1"/>
                </a:solidFill>
                <a:latin typeface="Siemens Slab" pitchFamily="2" charset="0"/>
              </a:rPr>
              <a:t>installierte</a:t>
            </a:r>
            <a:r>
              <a:rPr lang="en-US" sz="2800" b="1" dirty="0" smtClean="0">
                <a:solidFill>
                  <a:schemeClr val="accent1"/>
                </a:solidFill>
                <a:latin typeface="Siemens Slab" pitchFamily="2" charset="0"/>
              </a:rPr>
              <a:t> Smart Meter</a:t>
            </a:r>
          </a:p>
        </p:txBody>
      </p:sp>
    </p:spTree>
    <p:extLst>
      <p:ext uri="{BB962C8B-B14F-4D97-AF65-F5344CB8AC3E}">
        <p14:creationId xmlns="" xmlns:p14="http://schemas.microsoft.com/office/powerpoint/2010/main" val="152545018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Inhaltsplatzhalter 4"/>
          <p:cNvSpPr txBox="1">
            <a:spLocks/>
          </p:cNvSpPr>
          <p:nvPr/>
        </p:nvSpPr>
        <p:spPr>
          <a:xfrm>
            <a:off x="6858004" y="1956391"/>
            <a:ext cx="4401875" cy="4534206"/>
          </a:xfrm>
          <a:prstGeom prst="rect">
            <a:avLst/>
          </a:prstGeom>
        </p:spPr>
        <p:txBody>
          <a:bodyPr bIns="0" anchor="t"/>
          <a:lstStyle/>
          <a:p>
            <a:pPr marL="0" marR="0" lvl="1" indent="1588" algn="l" defTabSz="914400" rtl="0" eaLnBrk="1" fontAlgn="base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endParaRPr kumimoji="0" lang="en-US" sz="40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emens Slab" pitchFamily="2" charset="0"/>
              <a:ea typeface="+mn-ea"/>
              <a:cs typeface="Arial" pitchFamily="34" charset="0"/>
            </a:endParaRPr>
          </a:p>
          <a:p>
            <a:pPr marL="0" marR="0" lvl="1" indent="1588" algn="l" defTabSz="914400" rtl="0" eaLnBrk="1" fontAlgn="base" latinLnBrk="0" hangingPunct="1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iemens Slab" pitchFamily="2" charset="0"/>
                <a:ea typeface="+mn-ea"/>
                <a:cs typeface="Arial" pitchFamily="34" charset="0"/>
              </a:rPr>
              <a:t> 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iemens Slab" pitchFamily="2" charset="0"/>
              <a:ea typeface="+mn-ea"/>
              <a:cs typeface="Arial" pitchFamily="34" charset="0"/>
            </a:endParaRPr>
          </a:p>
        </p:txBody>
      </p:sp>
      <p:pic>
        <p:nvPicPr>
          <p:cNvPr id="10" name="Pictur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96985" y="11503"/>
            <a:ext cx="12381273" cy="6915770"/>
          </a:xfrm>
          <a:prstGeom prst="rect">
            <a:avLst/>
          </a:prstGeom>
        </p:spPr>
      </p:pic>
      <p:sp>
        <p:nvSpPr>
          <p:cNvPr id="17" name="Rechteck 16"/>
          <p:cNvSpPr/>
          <p:nvPr/>
        </p:nvSpPr>
        <p:spPr bwMode="auto">
          <a:xfrm>
            <a:off x="-96985" y="0"/>
            <a:ext cx="12295333" cy="6858000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18" name="Titel 6"/>
          <p:cNvSpPr txBox="1">
            <a:spLocks/>
          </p:cNvSpPr>
          <p:nvPr/>
        </p:nvSpPr>
        <p:spPr bwMode="ltGray">
          <a:xfrm>
            <a:off x="1318437" y="1147839"/>
            <a:ext cx="10397313" cy="1144347"/>
          </a:xfrm>
          <a:prstGeom prst="rect">
            <a:avLst/>
          </a:prstGeom>
          <a:solidFill>
            <a:srgbClr val="233746">
              <a:alpha val="8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180000" tIns="36000" rIns="18000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ct val="0"/>
              </a:spcBef>
              <a:defRPr sz="7500" b="1" kern="0">
                <a:solidFill>
                  <a:schemeClr val="bg1"/>
                </a:solidFill>
                <a:ea typeface="+mj-ea"/>
                <a:cs typeface="Arial" pitchFamily="34" charset="0"/>
              </a:defRPr>
            </a:lvl1pPr>
            <a:lvl2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de-DE" sz="4000" dirty="0" err="1" smtClean="0"/>
              <a:t>Analytics</a:t>
            </a:r>
            <a:r>
              <a:rPr lang="de-DE" sz="4000" dirty="0" smtClean="0"/>
              <a:t>: Transparenz, Wissen, neue Ideen</a:t>
            </a:r>
            <a:endParaRPr lang="de-DE" sz="4000" dirty="0"/>
          </a:p>
        </p:txBody>
      </p:sp>
      <p:sp>
        <p:nvSpPr>
          <p:cNvPr id="19" name="Titel 1"/>
          <p:cNvSpPr txBox="1">
            <a:spLocks/>
          </p:cNvSpPr>
          <p:nvPr/>
        </p:nvSpPr>
        <p:spPr bwMode="ltGray">
          <a:xfrm>
            <a:off x="4004487" y="3247582"/>
            <a:ext cx="2519362" cy="2519363"/>
          </a:xfrm>
          <a:prstGeom prst="rect">
            <a:avLst/>
          </a:prstGeom>
          <a:solidFill>
            <a:srgbClr val="233746">
              <a:alpha val="65097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432000" rIns="144000" bIns="216000" anchor="b"/>
          <a:lstStyle/>
          <a:p>
            <a:r>
              <a:rPr lang="en-US" dirty="0" err="1" smtClean="0">
                <a:solidFill>
                  <a:srgbClr val="FFFFFF"/>
                </a:solidFill>
              </a:rPr>
              <a:t>Transparenz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übe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Zustand</a:t>
            </a:r>
            <a:r>
              <a:rPr lang="en-US" dirty="0" smtClean="0">
                <a:solidFill>
                  <a:srgbClr val="FFFFFF"/>
                </a:solidFill>
              </a:rPr>
              <a:t> und </a:t>
            </a:r>
            <a:r>
              <a:rPr lang="en-US" dirty="0" err="1" smtClean="0">
                <a:solidFill>
                  <a:srgbClr val="FFFFFF"/>
                </a:solidFill>
              </a:rPr>
              <a:t>Auslastung</a:t>
            </a:r>
            <a:r>
              <a:rPr lang="en-US" dirty="0" smtClean="0">
                <a:solidFill>
                  <a:srgbClr val="FFFFFF"/>
                </a:solidFill>
              </a:rPr>
              <a:t> der Assets – </a:t>
            </a:r>
            <a:r>
              <a:rPr lang="en-US" dirty="0" err="1" smtClean="0">
                <a:solidFill>
                  <a:srgbClr val="FFFFFF"/>
                </a:solidFill>
              </a:rPr>
              <a:t>optimiertes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Assetmanagement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effizienteres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Systemmanagement</a:t>
            </a:r>
            <a:r>
              <a:rPr lang="en-US" dirty="0" smtClean="0">
                <a:solidFill>
                  <a:srgbClr val="FFFFFF"/>
                </a:solidFill>
              </a:rPr>
              <a:t> .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itel 1"/>
          <p:cNvSpPr txBox="1">
            <a:spLocks/>
          </p:cNvSpPr>
          <p:nvPr/>
        </p:nvSpPr>
        <p:spPr bwMode="ltGray">
          <a:xfrm>
            <a:off x="1318437" y="3231707"/>
            <a:ext cx="2520950" cy="2519363"/>
          </a:xfrm>
          <a:prstGeom prst="rect">
            <a:avLst/>
          </a:prstGeom>
          <a:solidFill>
            <a:srgbClr val="233746">
              <a:alpha val="65097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432000" rIns="144000" bIns="216000" anchor="b"/>
          <a:lstStyle/>
          <a:p>
            <a:r>
              <a:rPr lang="en-US" dirty="0" err="1" smtClean="0">
                <a:solidFill>
                  <a:srgbClr val="FFFFFF"/>
                </a:solidFill>
              </a:rPr>
              <a:t>Transparenz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übe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Verbrauch</a:t>
            </a:r>
            <a:r>
              <a:rPr lang="en-US" dirty="0" smtClean="0">
                <a:solidFill>
                  <a:srgbClr val="FFFFFF"/>
                </a:solidFill>
              </a:rPr>
              <a:t> und </a:t>
            </a:r>
            <a:r>
              <a:rPr lang="en-US" dirty="0" err="1" smtClean="0">
                <a:solidFill>
                  <a:srgbClr val="FFFFFF"/>
                </a:solidFill>
              </a:rPr>
              <a:t>Kundenverhalten</a:t>
            </a:r>
            <a:r>
              <a:rPr lang="en-US" dirty="0" smtClean="0">
                <a:solidFill>
                  <a:srgbClr val="FFFFFF"/>
                </a:solidFill>
              </a:rPr>
              <a:t> – </a:t>
            </a:r>
            <a:r>
              <a:rPr lang="en-US" dirty="0" err="1" smtClean="0">
                <a:solidFill>
                  <a:srgbClr val="FFFFFF"/>
                </a:solidFill>
              </a:rPr>
              <a:t>Neue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Angebote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im</a:t>
            </a:r>
            <a:r>
              <a:rPr lang="en-US" dirty="0" smtClean="0">
                <a:solidFill>
                  <a:srgbClr val="FFFFFF"/>
                </a:solidFill>
              </a:rPr>
              <a:t> Retail und </a:t>
            </a:r>
            <a:r>
              <a:rPr lang="en-US" dirty="0" err="1" smtClean="0">
                <a:solidFill>
                  <a:srgbClr val="FFFFFF"/>
                </a:solidFill>
              </a:rPr>
              <a:t>besseres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Systemmanagement</a:t>
            </a:r>
            <a:r>
              <a:rPr lang="en-US" dirty="0" smtClean="0">
                <a:solidFill>
                  <a:srgbClr val="FFFFFF"/>
                </a:solidFill>
              </a:rPr>
              <a:t>.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Titel 1"/>
          <p:cNvSpPr txBox="1">
            <a:spLocks/>
          </p:cNvSpPr>
          <p:nvPr/>
        </p:nvSpPr>
        <p:spPr bwMode="ltGray">
          <a:xfrm>
            <a:off x="6709587" y="3249170"/>
            <a:ext cx="2519362" cy="2519362"/>
          </a:xfrm>
          <a:prstGeom prst="rect">
            <a:avLst/>
          </a:prstGeom>
          <a:solidFill>
            <a:srgbClr val="233746">
              <a:alpha val="65097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432000" rIns="144000" bIns="216000" anchor="b"/>
          <a:lstStyle/>
          <a:p>
            <a:r>
              <a:rPr lang="en-US" dirty="0" err="1" smtClean="0">
                <a:solidFill>
                  <a:srgbClr val="FFFFFF"/>
                </a:solidFill>
              </a:rPr>
              <a:t>Wissen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über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Fehler</a:t>
            </a:r>
            <a:r>
              <a:rPr lang="en-US" dirty="0" smtClean="0">
                <a:solidFill>
                  <a:srgbClr val="FFFFFF"/>
                </a:solidFill>
              </a:rPr>
              <a:t> und </a:t>
            </a:r>
            <a:r>
              <a:rPr lang="en-US" dirty="0" err="1" smtClean="0">
                <a:solidFill>
                  <a:srgbClr val="FFFFFF"/>
                </a:solidFill>
              </a:rPr>
              <a:t>Probleme</a:t>
            </a:r>
            <a:r>
              <a:rPr lang="en-US" dirty="0" smtClean="0">
                <a:solidFill>
                  <a:srgbClr val="FFFFFF"/>
                </a:solidFill>
              </a:rPr>
              <a:t> – </a:t>
            </a:r>
            <a:r>
              <a:rPr lang="en-US" dirty="0" err="1" smtClean="0">
                <a:solidFill>
                  <a:srgbClr val="FFFFFF"/>
                </a:solidFill>
              </a:rPr>
              <a:t>höhere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Stabilität</a:t>
            </a:r>
            <a:r>
              <a:rPr lang="en-US" dirty="0" smtClean="0">
                <a:solidFill>
                  <a:srgbClr val="FFFFFF"/>
                </a:solidFill>
              </a:rPr>
              <a:t> und </a:t>
            </a:r>
            <a:r>
              <a:rPr lang="en-US" dirty="0" err="1" smtClean="0">
                <a:solidFill>
                  <a:srgbClr val="FFFFFF"/>
                </a:solidFill>
              </a:rPr>
              <a:t>verbesserte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Problemvermeidung</a:t>
            </a:r>
            <a:r>
              <a:rPr lang="en-US" dirty="0" smtClean="0">
                <a:solidFill>
                  <a:srgbClr val="FFFFFF"/>
                </a:solidFill>
              </a:rPr>
              <a:t> und -</a:t>
            </a:r>
            <a:r>
              <a:rPr lang="en-US" dirty="0" err="1" smtClean="0">
                <a:solidFill>
                  <a:srgbClr val="FFFFFF"/>
                </a:solidFill>
              </a:rPr>
              <a:t>behebung</a:t>
            </a:r>
            <a:r>
              <a:rPr lang="en-US" dirty="0" smtClean="0">
                <a:solidFill>
                  <a:srgbClr val="FFFFFF"/>
                </a:solidFill>
              </a:rPr>
              <a:t>. </a:t>
            </a:r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3"/>
  <p:tag name="CDT_FONTSET" val="Arial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Sv8MrOH0qwqgC.Yi0S0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Sv8MrOH0qwqgC.Yi0S0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Sv8MrOH0qwqgC.Yi0S0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Sv8MrOH0qwqgC.Yi0S0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Sv8MrOH0qwqgC.Yi0S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326,7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TARGETSHAPE_NEW" val="3"/>
  <p:tag name="CDT_PROT" val="5"/>
  <p:tag name="CDT_PROT_TOP" val="326,7"/>
  <p:tag name="CDT_PROT_LEFT" val="26,62496"/>
  <p:tag name="CDT_PROT_WIDTH" val="933,8749"/>
  <p:tag name="CDT_PROT_HEIGHT" val="68,5050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496"/>
  <p:tag name="CDT_PROT_WIDTH" val="933,8749"/>
  <p:tag name="CDT_PROT_HEIGHT" val="30,9513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326,7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TARGETSHAPE_NEW" val="3"/>
  <p:tag name="CDT_PROT" val="5"/>
  <p:tag name="CDT_PROT_TOP" val="326,7"/>
  <p:tag name="CDT_PROT_LEFT" val="26,62496"/>
  <p:tag name="CDT_PROT_WIDTH" val="933,8749"/>
  <p:tag name="CDT_PROT_HEIGHT" val="68,5050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496"/>
  <p:tag name="CDT_PROT_WIDTH" val="933,8749"/>
  <p:tag name="CDT_PROT_HEIGHT" val="30,9513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406,0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406,08"/>
  <p:tag name="CDT_DELETE_ONEVENT_NEWPRES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337,575"/>
  <p:tag name="CDT_PROT_LEFT" val="26,62496"/>
  <p:tag name="CDT_PROT_WIDTH" val="933,8749"/>
  <p:tag name="CDT_PROT_HEIGHT" val="68,50504"/>
  <p:tag name="CDT_DELETE_ONEVENT_NEWPRES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DELETE_ONEVENT_NEWPRES" val="False"/>
  <p:tag name="CDT_PROT" val="2"/>
  <p:tag name="CDT_PROT_TOP" val="406,08"/>
  <p:tag name="CDT_PROT_LEFT" val="26,62496"/>
  <p:tag name="CDT_PROT_WIDTH" val="933,8749"/>
  <p:tag name="CDT_PROT_HEIGHT" val="30,9513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406,0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406,08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337,575"/>
  <p:tag name="CDT_PROT_LEFT" val="26,62496"/>
  <p:tag name="CDT_PROT_WIDTH" val="933,8749"/>
  <p:tag name="CDT_PROT_HEIGHT" val="68,50504"/>
  <p:tag name="CDT_DELETE_ONEVENT_NEWPRES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DELETE_ONEVENT_NEWPRES" val="False"/>
  <p:tag name="CDT_PROT" val="2"/>
  <p:tag name="CDT_PROT_TOP" val="406,08"/>
  <p:tag name="CDT_PROT_LEFT" val="26,62496"/>
  <p:tag name="CDT_PROT_WIDTH" val="933,8749"/>
  <p:tag name="CDT_PROT_HEIGHT" val="30,9513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PROT" val="5"/>
  <p:tag name="CDT_PROT_TOP" val="326,7"/>
  <p:tag name="CDT_PROT_LEFT" val="26,62504"/>
  <p:tag name="CDT_PROT_WIDTH" val="933,8749"/>
  <p:tag name="CDT_PROT_HEIGHT" val="68,50504"/>
  <p:tag name="CDT_DELETE_ONEVENT_NEWPRES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504"/>
  <p:tag name="CDT_PROT_WIDTH" val="933,8749"/>
  <p:tag name="CDT_PROT_HEIGHT" val="30,9513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249"/>
  <p:tag name="CDT_PROT_WIDTH" val="113,375"/>
  <p:tag name="CDT_PROT_HEIGHT" val="63,3750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DELETE_ONEVENT_NEWPRES" val="False"/>
  <p:tag name="CDT_PROT" val="2"/>
  <p:tag name="CDT_PROT_TOP" val="111,25"/>
  <p:tag name="CDT_PROT_LEFT" val="0"/>
  <p:tag name="CDT_PROT_WIDTH" val="355,51"/>
  <p:tag name="CDT_PROT_HEIGHT" val="374,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heme/theme1.xml><?xml version="1.0" encoding="utf-8"?>
<a:theme xmlns:a="http://schemas.openxmlformats.org/drawingml/2006/main" name="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 + Navigation</Name>
  <PpLayout>32</PpLayout>
  <Index>16</Index>
</p4ppTags>
</file>

<file path=customXml/item10.xml><?xml version="1.0" encoding="utf-8"?>
<p4ppTags>
  <Name>Chapter title (big bar up)</Name>
  <PpLayout>1</PpLayout>
  <Index>6</Index>
</p4ppTags>
</file>

<file path=customXml/item11.xml><?xml version="1.0" encoding="utf-8"?>
<p4ppTags>
  <Name>One object (small)</Name>
  <PpLayout>16</PpLayout>
  <Index>11</Index>
</p4ppTags>
</file>

<file path=customXml/item12.xml><?xml version="1.0" encoding="utf-8"?>
<p4ppTags>
  <Name>Chapter title (big bar up)</Name>
  <PpLayout>1</PpLayout>
  <Index>6</Index>
</p4ppTags>
</file>

<file path=customXml/item13.xml><?xml version="1.0" encoding="utf-8"?>
<p4ppTags>
  <Name>Two rows + Navigation</Name>
  <PpLayout>32</PpLayout>
  <Index>21</Index>
</p4ppTags>
</file>

<file path=customXml/item14.xml><?xml version="1.0" encoding="utf-8"?>
<p4ppTags>
  <Name>Chapter title (big bar up)</Name>
  <PpLayout>1</PpLayout>
  <Index>6</Index>
</p4ppTags>
</file>

<file path=customXml/item15.xml><?xml version="1.0" encoding="utf-8"?>
<p4ppTags>
  <Name>Text + Index</Name>
  <PpLayout>32</PpLayout>
  <Index>8</Index>
</p4ppTags>
</file>

<file path=customXml/item16.xml><?xml version="1.0" encoding="utf-8"?>
<p4ppTags>
  <Name>Two columns + Navigation</Name>
  <PpLayout>32</PpLayout>
  <Index>19</Index>
</p4ppTags>
</file>

<file path=customXml/item17.xml><?xml version="1.0" encoding="utf-8"?>
<p4ppTags>
  <Name>Free Content</Name>
  <PpLayout>11</PpLayout>
  <Index>9</Index>
</p4ppTags>
</file>

<file path=customXml/item18.xml><?xml version="1.0" encoding="utf-8"?>
<p4ppTags>
  <Name>Two columns</Name>
  <PpLayout>29</PpLayout>
  <Index>12</Index>
</p4ppTags>
</file>

<file path=customXml/item19.xml><?xml version="1.0" encoding="utf-8"?>
<p4ppTags/>
</file>

<file path=customXml/item2.xml><?xml version="1.0" encoding="utf-8"?>
<p4ppTags>
  <Name>Chapter title (big bar up)</Name>
  <PpLayout>1</PpLayout>
  <Index>6</Index>
</p4ppTags>
</file>

<file path=customXml/item20.xml><?xml version="1.0" encoding="utf-8"?>
<p4ppTags>
  <Name>Title fullscreen (big bar down)</Name>
  <PpLayout>1</PpLayout>
  <Index>3</Index>
</p4ppTags>
</file>

<file path=customXml/item21.xml><?xml version="1.0" encoding="utf-8"?>
<p4ppTags>
  <Name>Four objects</Name>
  <PpLayout>24</PpLayout>
  <Index>15</Index>
</p4ppTags>
</file>

<file path=customXml/item22.xml><?xml version="1.0" encoding="utf-8"?>
<p4ppTags>
  <Name>Title (big bar up)</Name>
  <PpLayout>1</PpLayout>
  <Index>2</Index>
</p4ppTags>
</file>

<file path=customXml/item23.xml><?xml version="1.0" encoding="utf-8"?>
<p4ppTags>
  <Name>Three columns + Navigation</Name>
  <PpLayout>32</PpLayout>
  <Index>20</Index>
</p4ppTags>
</file>

<file path=customXml/item24.xml><?xml version="1.0" encoding="utf-8"?>
<p4ppTags>
  <Name>Chapter title (big bar down)</Name>
  <PpLayout>1</PpLayout>
  <Index>5</Index>
</p4ppTags>
</file>

<file path=customXml/item25.xml><?xml version="1.0" encoding="utf-8"?>
<p4ppTags>
  <Name>One object (small) + Navigation</Name>
  <PpLayout>32</PpLayout>
  <Index>18</Index>
</p4ppTags>
</file>

<file path=customXml/item26.xml><?xml version="1.0" encoding="utf-8"?>
<p4ppTags>
  <Name>One object (large)</Name>
  <PpLayout>16</PpLayout>
  <Index>10</Index>
</p4ppTags>
</file>

<file path=customXml/item27.xml><?xml version="1.0" encoding="utf-8"?>
<p4ppTags>
  <Name>Chapter title (big bar up)</Name>
  <PpLayout>1</PpLayout>
  <Index>6</Index>
</p4ppTags>
</file>

<file path=customXml/item28.xml><?xml version="1.0" encoding="utf-8"?>
<p4ppTags>
  <Name>Title (big bar down)</Name>
  <PpLayout>1</PpLayout>
  <Index>1</Index>
</p4ppTags>
</file>

<file path=customXml/item29.xml><?xml version="1.0" encoding="utf-8"?>
<p4ppTags>
  <Name>Title fullscreen (big bar up)</Name>
  <PpLayout>1</PpLayout>
  <Index>4</Index>
</p4ppTags>
</file>

<file path=customXml/item3.xml><?xml version="1.0" encoding="utf-8"?>
<p4ppTags>
  <Name>Title fullscreen (big bar up)</Name>
  <PpLayout>1</PpLayout>
  <Index>4</Index>
</p4ppTags>
</file>

<file path=customXml/item30.xml><?xml version="1.0" encoding="utf-8"?>
<p4ppTags>
  <Name>Two rows</Name>
  <PpLayout>32</PpLayout>
  <Index>13</Index>
</p4ppTags>
</file>

<file path=customXml/item31.xml><?xml version="1.0" encoding="utf-8"?>
<p4ppTags>
  <Name>Title fullscreen (big bar up)</Name>
  <PpLayout>1</PpLayout>
  <Index>4</Index>
</p4ppTags>
</file>

<file path=customXml/item32.xml><?xml version="1.0" encoding="utf-8"?>
<p4ppTags>
  <Name>Three columns</Name>
  <PpLayout>32</PpLayout>
  <Index>14</Index>
</p4ppTags>
</file>

<file path=customXml/item33.xml><?xml version="1.0" encoding="utf-8"?>
<p4ppTags>
  <Name>Title fullscreen (big bar up)</Name>
  <PpLayout>1</PpLayout>
  <Index>4</Index>
</p4ppTags>
</file>

<file path=customXml/item34.xml><?xml version="1.0" encoding="utf-8"?>
<p4ppTags>
  <Name>Chapter title (big bar up)</Name>
  <PpLayout>1</PpLayout>
  <Index>6</Index>
</p4ppTags>
</file>

<file path=customXml/item35.xml><?xml version="1.0" encoding="utf-8"?>
<p4ppTags>
  <Name>Chapter title (big bar up)</Name>
  <PpLayout>1</PpLayout>
  <Index>6</Index>
</p4ppTags>
</file>

<file path=customXml/item36.xml><?xml version="1.0" encoding="utf-8"?>
<p4ppTags>
  <Name>Chapter title (big bar up)</Name>
  <PpLayout>1</PpLayout>
  <Index>6</Index>
</p4ppTags>
</file>

<file path=customXml/item37.xml><?xml version="1.0" encoding="utf-8"?>
<p4ppTags>
  <Name>Image + Index/Contact</Name>
  <PpLayout>32</PpLayout>
  <Index>7</Index>
</p4ppTags>
</file>

<file path=customXml/item4.xml><?xml version="1.0" encoding="utf-8"?>
<p4ppTags>
  <Name>Four objects + Navigation</Name>
  <PpLayout>32</PpLayout>
  <Index>22</Index>
</p4ppTags>
</file>

<file path=customXml/item5.xml><?xml version="1.0" encoding="utf-8"?>
<p4ppTags>
  <Name>Chapter title (big bar up)</Name>
  <PpLayout>1</PpLayout>
  <Index>6</Index>
</p4ppTags>
</file>

<file path=customXml/item6.xml><?xml version="1.0" encoding="utf-8"?>
<p4ppTags>
  <Name>Title (big bar down)</Name>
  <PpLayout>1</PpLayout>
  <Index>1</Index>
</p4ppTags>
</file>

<file path=customXml/item7.xml><?xml version="1.0" encoding="utf-8"?>
<p4ppTags>
  <Name>Title (big bar up)</Name>
  <PpLayout>1</PpLayout>
  <Index>2</Index>
</p4ppTags>
</file>

<file path=customXml/item8.xml><?xml version="1.0" encoding="utf-8"?>
<p4ppTags>
  <Name>One object (large) + Navigation</Name>
  <PpLayout>32</PpLayout>
  <Index>17</Index>
</p4ppTags>
</file>

<file path=customXml/item9.xml><?xml version="1.0" encoding="utf-8"?>
<p4ppTags>
  <Name>Title fullscreen (big bar up)</Name>
  <PpLayout>1</PpLayout>
  <Index>4</Index>
</p4ppTags>
</file>

<file path=customXml/itemProps1.xml><?xml version="1.0" encoding="utf-8"?>
<ds:datastoreItem xmlns:ds="http://schemas.openxmlformats.org/officeDocument/2006/customXml" ds:itemID="{7CC5F709-E74B-4E5F-A728-923D5062EBEF}">
  <ds:schemaRefs/>
</ds:datastoreItem>
</file>

<file path=customXml/itemProps10.xml><?xml version="1.0" encoding="utf-8"?>
<ds:datastoreItem xmlns:ds="http://schemas.openxmlformats.org/officeDocument/2006/customXml" ds:itemID="{B4DC8DB4-4B21-4634-8239-B5C53127540A}">
  <ds:schemaRefs/>
</ds:datastoreItem>
</file>

<file path=customXml/itemProps11.xml><?xml version="1.0" encoding="utf-8"?>
<ds:datastoreItem xmlns:ds="http://schemas.openxmlformats.org/officeDocument/2006/customXml" ds:itemID="{1618AA06-B22E-4D19-9680-0D7830426729}">
  <ds:schemaRefs/>
</ds:datastoreItem>
</file>

<file path=customXml/itemProps12.xml><?xml version="1.0" encoding="utf-8"?>
<ds:datastoreItem xmlns:ds="http://schemas.openxmlformats.org/officeDocument/2006/customXml" ds:itemID="{28DBF167-0416-4913-9CE7-070DCC19A2B2}">
  <ds:schemaRefs/>
</ds:datastoreItem>
</file>

<file path=customXml/itemProps13.xml><?xml version="1.0" encoding="utf-8"?>
<ds:datastoreItem xmlns:ds="http://schemas.openxmlformats.org/officeDocument/2006/customXml" ds:itemID="{6C79E4F8-DCFB-483C-880A-AEEC6AAFC838}">
  <ds:schemaRefs/>
</ds:datastoreItem>
</file>

<file path=customXml/itemProps14.xml><?xml version="1.0" encoding="utf-8"?>
<ds:datastoreItem xmlns:ds="http://schemas.openxmlformats.org/officeDocument/2006/customXml" ds:itemID="{B331FDA1-8722-4D49-842F-D384A00FE19B}">
  <ds:schemaRefs/>
</ds:datastoreItem>
</file>

<file path=customXml/itemProps15.xml><?xml version="1.0" encoding="utf-8"?>
<ds:datastoreItem xmlns:ds="http://schemas.openxmlformats.org/officeDocument/2006/customXml" ds:itemID="{7E35FEDB-1F0E-4D67-A313-4AC59C26FF29}">
  <ds:schemaRefs/>
</ds:datastoreItem>
</file>

<file path=customXml/itemProps16.xml><?xml version="1.0" encoding="utf-8"?>
<ds:datastoreItem xmlns:ds="http://schemas.openxmlformats.org/officeDocument/2006/customXml" ds:itemID="{D7BABA95-BFFE-422B-8591-3271669EEA88}">
  <ds:schemaRefs/>
</ds:datastoreItem>
</file>

<file path=customXml/itemProps17.xml><?xml version="1.0" encoding="utf-8"?>
<ds:datastoreItem xmlns:ds="http://schemas.openxmlformats.org/officeDocument/2006/customXml" ds:itemID="{D8097D0C-BE3E-4AEC-9593-65CFCCB19297}">
  <ds:schemaRefs/>
</ds:datastoreItem>
</file>

<file path=customXml/itemProps18.xml><?xml version="1.0" encoding="utf-8"?>
<ds:datastoreItem xmlns:ds="http://schemas.openxmlformats.org/officeDocument/2006/customXml" ds:itemID="{1666F4C2-68F5-4840-A44A-1A646C0925A1}">
  <ds:schemaRefs/>
</ds:datastoreItem>
</file>

<file path=customXml/itemProps19.xml><?xml version="1.0" encoding="utf-8"?>
<ds:datastoreItem xmlns:ds="http://schemas.openxmlformats.org/officeDocument/2006/customXml" ds:itemID="{572FBA73-6DBF-45DA-8282-9342320CFAB0}">
  <ds:schemaRefs/>
</ds:datastoreItem>
</file>

<file path=customXml/itemProps2.xml><?xml version="1.0" encoding="utf-8"?>
<ds:datastoreItem xmlns:ds="http://schemas.openxmlformats.org/officeDocument/2006/customXml" ds:itemID="{F0D32D62-F16D-41E9-A11D-FC8705C261B2}">
  <ds:schemaRefs/>
</ds:datastoreItem>
</file>

<file path=customXml/itemProps20.xml><?xml version="1.0" encoding="utf-8"?>
<ds:datastoreItem xmlns:ds="http://schemas.openxmlformats.org/officeDocument/2006/customXml" ds:itemID="{ACF78F0D-713B-46D3-8FAD-6E70E92EC862}">
  <ds:schemaRefs/>
</ds:datastoreItem>
</file>

<file path=customXml/itemProps21.xml><?xml version="1.0" encoding="utf-8"?>
<ds:datastoreItem xmlns:ds="http://schemas.openxmlformats.org/officeDocument/2006/customXml" ds:itemID="{1581BFFB-B4CE-47A8-BE77-DC1339B1E5A7}">
  <ds:schemaRefs/>
</ds:datastoreItem>
</file>

<file path=customXml/itemProps22.xml><?xml version="1.0" encoding="utf-8"?>
<ds:datastoreItem xmlns:ds="http://schemas.openxmlformats.org/officeDocument/2006/customXml" ds:itemID="{24FB42A3-066F-4411-BFBA-1529897D3ADE}">
  <ds:schemaRefs/>
</ds:datastoreItem>
</file>

<file path=customXml/itemProps23.xml><?xml version="1.0" encoding="utf-8"?>
<ds:datastoreItem xmlns:ds="http://schemas.openxmlformats.org/officeDocument/2006/customXml" ds:itemID="{85D77EE6-52B7-48BE-9EDB-748F1EBB53DE}">
  <ds:schemaRefs/>
</ds:datastoreItem>
</file>

<file path=customXml/itemProps24.xml><?xml version="1.0" encoding="utf-8"?>
<ds:datastoreItem xmlns:ds="http://schemas.openxmlformats.org/officeDocument/2006/customXml" ds:itemID="{AB7EE923-C3FC-4B3A-A4A4-5156CA0884C8}">
  <ds:schemaRefs/>
</ds:datastoreItem>
</file>

<file path=customXml/itemProps25.xml><?xml version="1.0" encoding="utf-8"?>
<ds:datastoreItem xmlns:ds="http://schemas.openxmlformats.org/officeDocument/2006/customXml" ds:itemID="{D9FE249F-833E-4CF0-BECB-552D01D7DC9E}">
  <ds:schemaRefs/>
</ds:datastoreItem>
</file>

<file path=customXml/itemProps26.xml><?xml version="1.0" encoding="utf-8"?>
<ds:datastoreItem xmlns:ds="http://schemas.openxmlformats.org/officeDocument/2006/customXml" ds:itemID="{80661B8B-A327-44F9-823B-4D9EE0B3EC78}">
  <ds:schemaRefs/>
</ds:datastoreItem>
</file>

<file path=customXml/itemProps27.xml><?xml version="1.0" encoding="utf-8"?>
<ds:datastoreItem xmlns:ds="http://schemas.openxmlformats.org/officeDocument/2006/customXml" ds:itemID="{66195143-93BC-4B06-9565-BC4C589D40C9}">
  <ds:schemaRefs/>
</ds:datastoreItem>
</file>

<file path=customXml/itemProps28.xml><?xml version="1.0" encoding="utf-8"?>
<ds:datastoreItem xmlns:ds="http://schemas.openxmlformats.org/officeDocument/2006/customXml" ds:itemID="{127E6BAF-936F-4264-ABFD-08FF377322FF}">
  <ds:schemaRefs/>
</ds:datastoreItem>
</file>

<file path=customXml/itemProps29.xml><?xml version="1.0" encoding="utf-8"?>
<ds:datastoreItem xmlns:ds="http://schemas.openxmlformats.org/officeDocument/2006/customXml" ds:itemID="{0C4CDC54-A6AB-4C75-BFFC-582A6CC90695}">
  <ds:schemaRefs/>
</ds:datastoreItem>
</file>

<file path=customXml/itemProps3.xml><?xml version="1.0" encoding="utf-8"?>
<ds:datastoreItem xmlns:ds="http://schemas.openxmlformats.org/officeDocument/2006/customXml" ds:itemID="{4E860B4B-C468-4F74-9571-0448D7A2D20E}">
  <ds:schemaRefs/>
</ds:datastoreItem>
</file>

<file path=customXml/itemProps30.xml><?xml version="1.0" encoding="utf-8"?>
<ds:datastoreItem xmlns:ds="http://schemas.openxmlformats.org/officeDocument/2006/customXml" ds:itemID="{38AB8DE4-FD9B-4166-BEC3-3F1753596133}">
  <ds:schemaRefs/>
</ds:datastoreItem>
</file>

<file path=customXml/itemProps31.xml><?xml version="1.0" encoding="utf-8"?>
<ds:datastoreItem xmlns:ds="http://schemas.openxmlformats.org/officeDocument/2006/customXml" ds:itemID="{5BC22A60-C0AD-4D52-8959-760F0772AFDD}">
  <ds:schemaRefs/>
</ds:datastoreItem>
</file>

<file path=customXml/itemProps32.xml><?xml version="1.0" encoding="utf-8"?>
<ds:datastoreItem xmlns:ds="http://schemas.openxmlformats.org/officeDocument/2006/customXml" ds:itemID="{15CF3461-70D1-4B54-AFAB-DAFDA0A238CD}">
  <ds:schemaRefs/>
</ds:datastoreItem>
</file>

<file path=customXml/itemProps33.xml><?xml version="1.0" encoding="utf-8"?>
<ds:datastoreItem xmlns:ds="http://schemas.openxmlformats.org/officeDocument/2006/customXml" ds:itemID="{C7E2BC0E-7ABE-4385-938F-156C357A3B5C}">
  <ds:schemaRefs/>
</ds:datastoreItem>
</file>

<file path=customXml/itemProps34.xml><?xml version="1.0" encoding="utf-8"?>
<ds:datastoreItem xmlns:ds="http://schemas.openxmlformats.org/officeDocument/2006/customXml" ds:itemID="{A52A96C1-C7FA-42F2-A50F-9086F2547CDF}">
  <ds:schemaRefs/>
</ds:datastoreItem>
</file>

<file path=customXml/itemProps35.xml><?xml version="1.0" encoding="utf-8"?>
<ds:datastoreItem xmlns:ds="http://schemas.openxmlformats.org/officeDocument/2006/customXml" ds:itemID="{7065D0BF-462B-496A-96F5-5D4EB4F34BD9}">
  <ds:schemaRefs/>
</ds:datastoreItem>
</file>

<file path=customXml/itemProps36.xml><?xml version="1.0" encoding="utf-8"?>
<ds:datastoreItem xmlns:ds="http://schemas.openxmlformats.org/officeDocument/2006/customXml" ds:itemID="{D76F8F9A-BBBD-45A2-B13D-1862EA2C7F0A}">
  <ds:schemaRefs/>
</ds:datastoreItem>
</file>

<file path=customXml/itemProps37.xml><?xml version="1.0" encoding="utf-8"?>
<ds:datastoreItem xmlns:ds="http://schemas.openxmlformats.org/officeDocument/2006/customXml" ds:itemID="{17E2436E-C9A9-41F0-BD4E-B0231726090B}">
  <ds:schemaRefs/>
</ds:datastoreItem>
</file>

<file path=customXml/itemProps4.xml><?xml version="1.0" encoding="utf-8"?>
<ds:datastoreItem xmlns:ds="http://schemas.openxmlformats.org/officeDocument/2006/customXml" ds:itemID="{EAB520BC-C6EC-457E-8AB5-55DB67C86858}">
  <ds:schemaRefs/>
</ds:datastoreItem>
</file>

<file path=customXml/itemProps5.xml><?xml version="1.0" encoding="utf-8"?>
<ds:datastoreItem xmlns:ds="http://schemas.openxmlformats.org/officeDocument/2006/customXml" ds:itemID="{74F27A75-EF87-487A-890A-637E50787D24}">
  <ds:schemaRefs/>
</ds:datastoreItem>
</file>

<file path=customXml/itemProps6.xml><?xml version="1.0" encoding="utf-8"?>
<ds:datastoreItem xmlns:ds="http://schemas.openxmlformats.org/officeDocument/2006/customXml" ds:itemID="{069821C5-FEB9-4169-B699-20CAA164E52E}">
  <ds:schemaRefs/>
</ds:datastoreItem>
</file>

<file path=customXml/itemProps7.xml><?xml version="1.0" encoding="utf-8"?>
<ds:datastoreItem xmlns:ds="http://schemas.openxmlformats.org/officeDocument/2006/customXml" ds:itemID="{B893464B-AF76-49EA-968D-6744BB7C6C36}">
  <ds:schemaRefs/>
</ds:datastoreItem>
</file>

<file path=customXml/itemProps8.xml><?xml version="1.0" encoding="utf-8"?>
<ds:datastoreItem xmlns:ds="http://schemas.openxmlformats.org/officeDocument/2006/customXml" ds:itemID="{B27F640E-84DF-4F97-BC70-D045F1E6594F}">
  <ds:schemaRefs/>
</ds:datastoreItem>
</file>

<file path=customXml/itemProps9.xml><?xml version="1.0" encoding="utf-8"?>
<ds:datastoreItem xmlns:ds="http://schemas.openxmlformats.org/officeDocument/2006/customXml" ds:itemID="{2FD849E3-0B03-457E-8CC8-4901C8E2201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527</Words>
  <Application>Microsoft Office PowerPoint</Application>
  <PresentationFormat>Benutzerdefiniert</PresentationFormat>
  <Paragraphs>148</Paragraphs>
  <Slides>13</Slides>
  <Notes>13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5" baseType="lpstr">
      <vt:lpstr>Siemens 2013 – 16:9</vt:lpstr>
      <vt:lpstr>think-cell Folie</vt:lpstr>
      <vt:lpstr>Die Energiewelt unterliegt einem großangelegten Wandel</vt:lpstr>
      <vt:lpstr>Die Energiewende ist Fakt</vt:lpstr>
      <vt:lpstr>Das Energiesystem wird komplexer</vt:lpstr>
      <vt:lpstr>Kernherausforderungen für Versorger und Netzbetreiber </vt:lpstr>
      <vt:lpstr>Datenmengen im Energiesystem steigen erheblich</vt:lpstr>
      <vt:lpstr>Folie 6</vt:lpstr>
      <vt:lpstr>Steuerbarkeit der Netze und Kapazitätsmanagement verbessern</vt:lpstr>
      <vt:lpstr>Netzdienliche Smart Meter: Größtes Asset im intelligenten Energiesystem </vt:lpstr>
      <vt:lpstr>Folie 9</vt:lpstr>
      <vt:lpstr>Kostenoptimierung und Stabilität durch querverbundoptimierte Microgrids</vt:lpstr>
      <vt:lpstr>Die Zukunft: Zellulare Strukturen?</vt:lpstr>
      <vt:lpstr>Folie 12</vt:lpstr>
      <vt:lpstr>Kernaussagen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Rainer Win</dc:creator>
  <cp:lastModifiedBy>z002py4p</cp:lastModifiedBy>
  <cp:revision>211</cp:revision>
  <cp:lastPrinted>2014-03-27T17:06:27Z</cp:lastPrinted>
  <dcterms:created xsi:type="dcterms:W3CDTF">2006-04-07T10:01:45Z</dcterms:created>
  <dcterms:modified xsi:type="dcterms:W3CDTF">2014-05-13T06:57:09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March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0</vt:lpwstr>
  </property>
  <property fmtid="{D5CDD505-2E9C-101B-9397-08002B2CF9AE}" pid="6" name="_AdHocReviewCycleID">
    <vt:i4>-608037808</vt:i4>
  </property>
  <property fmtid="{D5CDD505-2E9C-101B-9397-08002B2CF9AE}" pid="7" name="_NewReviewCycle">
    <vt:lpwstr/>
  </property>
  <property fmtid="{D5CDD505-2E9C-101B-9397-08002B2CF9AE}" pid="8" name="_EmailSubject">
    <vt:lpwstr>Präsentation Th Zimmermann</vt:lpwstr>
  </property>
  <property fmtid="{D5CDD505-2E9C-101B-9397-08002B2CF9AE}" pid="9" name="_AuthorEmail">
    <vt:lpwstr>martin.ledwon@siemens.com</vt:lpwstr>
  </property>
  <property fmtid="{D5CDD505-2E9C-101B-9397-08002B2CF9AE}" pid="10" name="_AuthorEmailDisplayName">
    <vt:lpwstr>Ledwon, Martin David</vt:lpwstr>
  </property>
</Properties>
</file>